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98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99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2" r:id="rId1"/>
    <p:sldMasterId id="2147483651" r:id="rId2"/>
    <p:sldMasterId id="2147483649" r:id="rId3"/>
    <p:sldMasterId id="2147483757" r:id="rId4"/>
    <p:sldMasterId id="2147483764" r:id="rId5"/>
    <p:sldMasterId id="2147483776" r:id="rId6"/>
  </p:sldMasterIdLst>
  <p:notesMasterIdLst>
    <p:notesMasterId r:id="rId22"/>
  </p:notesMasterIdLst>
  <p:handoutMasterIdLst>
    <p:handoutMasterId r:id="rId23"/>
  </p:handoutMasterIdLst>
  <p:sldIdLst>
    <p:sldId id="344" r:id="rId7"/>
    <p:sldId id="358" r:id="rId8"/>
    <p:sldId id="339" r:id="rId9"/>
    <p:sldId id="333" r:id="rId10"/>
    <p:sldId id="340" r:id="rId11"/>
    <p:sldId id="345" r:id="rId12"/>
    <p:sldId id="354" r:id="rId13"/>
    <p:sldId id="331" r:id="rId14"/>
    <p:sldId id="302" r:id="rId15"/>
    <p:sldId id="337" r:id="rId16"/>
    <p:sldId id="336" r:id="rId17"/>
    <p:sldId id="359" r:id="rId18"/>
    <p:sldId id="361" r:id="rId19"/>
    <p:sldId id="362" r:id="rId20"/>
    <p:sldId id="360" r:id="rId21"/>
  </p:sldIdLst>
  <p:sldSz cx="9144000" cy="6858000" type="screen4x3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8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8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8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8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8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8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8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8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8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78E25"/>
    <a:srgbClr val="EEBC2E"/>
    <a:srgbClr val="7AAFE0"/>
    <a:srgbClr val="E7564B"/>
    <a:srgbClr val="AFDC7E"/>
    <a:srgbClr val="E7F3F4"/>
    <a:srgbClr val="CECEEF"/>
    <a:srgbClr val="FEDB44"/>
    <a:srgbClr val="FFD85B"/>
    <a:srgbClr val="DBEEF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257" autoAdjust="0"/>
    <p:restoredTop sz="94652" autoAdjust="0"/>
  </p:normalViewPr>
  <p:slideViewPr>
    <p:cSldViewPr>
      <p:cViewPr>
        <p:scale>
          <a:sx n="125" d="100"/>
          <a:sy n="125" d="100"/>
        </p:scale>
        <p:origin x="-1788" y="-2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3912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akorjukina\Desktop\&#1048;&#1085;&#1092;&#1086;&#1088;&#1084;&#1072;&#1094;&#1080;&#1103;%20&#1087;&#1086;%20&#1089;&#1086;&#1082;&#1088;&#1072;&#1097;&#1077;&#1085;&#1080;&#1102;%20&#1082;&#1086;&#1083;&#1080;&#1095;&#1077;&#1089;&#1090;&#1074;&#1072;%20&#1089;&#1083;&#1080;&#1087;&#1086;&#1074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pieChart>
        <c:varyColors val="1"/>
        <c:ser>
          <c:idx val="0"/>
          <c:order val="0"/>
          <c:dPt>
            <c:idx val="0"/>
            <c:spPr>
              <a:solidFill>
                <a:srgbClr val="FFC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626-46F3-A0D2-582119A2F698}"/>
              </c:ext>
            </c:extLst>
          </c:dPt>
          <c:dPt>
            <c:idx val="1"/>
            <c:spPr>
              <a:solidFill>
                <a:srgbClr val="AFDC7E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626-46F3-A0D2-582119A2F698}"/>
              </c:ext>
            </c:extLst>
          </c:dPt>
          <c:dPt>
            <c:idx val="2"/>
            <c:spPr>
              <a:solidFill>
                <a:srgbClr val="E7564B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9626-46F3-A0D2-582119A2F698}"/>
              </c:ext>
            </c:extLst>
          </c:dPt>
          <c:dPt>
            <c:idx val="3"/>
            <c:spPr>
              <a:solidFill>
                <a:srgbClr val="7AAFE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9626-46F3-A0D2-582119A2F698}"/>
              </c:ext>
            </c:extLst>
          </c:dPt>
          <c:dPt>
            <c:idx val="4"/>
            <c:spPr>
              <a:solidFill>
                <a:schemeClr val="bg1">
                  <a:lumMod val="8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9626-46F3-A0D2-582119A2F698}"/>
              </c:ext>
            </c:extLst>
          </c:dPt>
          <c:dLbls>
            <c:dLbl>
              <c:idx val="0"/>
              <c:layout>
                <c:manualLayout>
                  <c:x val="-0.14546783625731002"/>
                  <c:y val="-0.11311862058909306"/>
                </c:manualLayout>
              </c:layout>
              <c:showCatName val="1"/>
              <c:showPercent val="1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31067251461988304"/>
                      <c:h val="0.261574074074074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626-46F3-A0D2-582119A2F698}"/>
                </c:ext>
              </c:extLst>
            </c:dLbl>
            <c:dLbl>
              <c:idx val="1"/>
              <c:layout>
                <c:manualLayout>
                  <c:x val="6.7842004955043972E-2"/>
                  <c:y val="2.0454214056576138E-3"/>
                </c:manualLayout>
              </c:layout>
              <c:showCatName val="1"/>
              <c:showPercent val="1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6122807017543859"/>
                      <c:h val="0.2374999999999999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626-46F3-A0D2-582119A2F698}"/>
                </c:ext>
              </c:extLst>
            </c:dLbl>
            <c:dLbl>
              <c:idx val="2"/>
              <c:layout>
                <c:manualLayout>
                  <c:x val="2.7347233193527392E-3"/>
                  <c:y val="6.1558398950131273E-2"/>
                </c:manualLayout>
              </c:layout>
              <c:showCatName val="1"/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626-46F3-A0D2-582119A2F698}"/>
                </c:ext>
              </c:extLst>
            </c:dLbl>
            <c:dLbl>
              <c:idx val="3"/>
              <c:layout>
                <c:manualLayout>
                  <c:x val="7.9513975226780914E-2"/>
                  <c:y val="5.6363918051910211E-2"/>
                </c:manualLayout>
              </c:layout>
              <c:showCatName val="1"/>
              <c:showPercent val="1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33728070175438596"/>
                      <c:h val="0.2374999999999999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9626-46F3-A0D2-582119A2F698}"/>
                </c:ext>
              </c:extLst>
            </c:dLbl>
            <c:dLbl>
              <c:idx val="4"/>
              <c:layout>
                <c:manualLayout>
                  <c:x val="0.14883800709121886"/>
                  <c:y val="1.9675925925925927E-2"/>
                </c:manualLayout>
              </c:layout>
              <c:showCatName val="1"/>
              <c:showPercent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626-46F3-A0D2-582119A2F6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latin typeface="+mn-lt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CatName val="1"/>
            <c:showPercent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розница!$O$5:$O$9</c:f>
              <c:strCache>
                <c:ptCount val="5"/>
                <c:pt idx="0">
                  <c:v>РН-КурганНП</c:v>
                </c:pt>
                <c:pt idx="1">
                  <c:v>Башнефть</c:v>
                </c:pt>
                <c:pt idx="2">
                  <c:v>Лукойл</c:v>
                </c:pt>
                <c:pt idx="3">
                  <c:v>Газпромнефть</c:v>
                </c:pt>
                <c:pt idx="4">
                  <c:v>Прочие</c:v>
                </c:pt>
              </c:strCache>
            </c:strRef>
          </c:cat>
          <c:val>
            <c:numRef>
              <c:f>розница!$P$5:$P$9</c:f>
              <c:numCache>
                <c:formatCode>0.0</c:formatCode>
                <c:ptCount val="5"/>
                <c:pt idx="0">
                  <c:v>62.5</c:v>
                </c:pt>
                <c:pt idx="1">
                  <c:v>11.3</c:v>
                </c:pt>
                <c:pt idx="2">
                  <c:v>11.2</c:v>
                </c:pt>
                <c:pt idx="3">
                  <c:v>3.7</c:v>
                </c:pt>
                <c:pt idx="4">
                  <c:v>11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9626-46F3-A0D2-582119A2F698}"/>
            </c:ext>
          </c:extLst>
        </c:ser>
        <c:dLbls>
          <c:showCatName val="1"/>
          <c:showPercent val="1"/>
        </c:dLbls>
        <c:firstSliceAng val="0"/>
      </c:pieChart>
    </c:plotArea>
    <c:plotVisOnly val="1"/>
    <c:dispBlanksAs val="zero"/>
  </c:chart>
  <c:spPr>
    <a:ln>
      <a:noFill/>
    </a:ln>
  </c:sp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/>
      <c:barChart>
        <c:barDir val="col"/>
        <c:grouping val="clustered"/>
        <c:ser>
          <c:idx val="0"/>
          <c:order val="0"/>
          <c:spPr>
            <a:solidFill>
              <a:srgbClr val="FFC000"/>
            </a:solidFill>
          </c:spPr>
          <c:dPt>
            <c:idx val="1"/>
            <c:spPr>
              <a:solidFill>
                <a:srgbClr val="AFDC7E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175-456F-A794-40F99697ADFF}"/>
              </c:ext>
            </c:extLst>
          </c:dPt>
          <c:dPt>
            <c:idx val="2"/>
            <c:spPr>
              <a:solidFill>
                <a:srgbClr val="E7564B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175-456F-A794-40F99697ADFF}"/>
              </c:ext>
            </c:extLst>
          </c:dPt>
          <c:dPt>
            <c:idx val="3"/>
            <c:spPr>
              <a:solidFill>
                <a:srgbClr val="7AAFE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175-456F-A794-40F99697ADFF}"/>
              </c:ext>
            </c:extLst>
          </c:dPt>
          <c:dPt>
            <c:idx val="4"/>
            <c:spPr>
              <a:solidFill>
                <a:schemeClr val="bg1">
                  <a:lumMod val="8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4175-456F-A794-40F99697ADF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H$19:$H$23</c:f>
              <c:strCache>
                <c:ptCount val="5"/>
                <c:pt idx="0">
                  <c:v>РН-КурганНП</c:v>
                </c:pt>
                <c:pt idx="1">
                  <c:v>Башнефть</c:v>
                </c:pt>
                <c:pt idx="2">
                  <c:v>Лукойл</c:v>
                </c:pt>
                <c:pt idx="3">
                  <c:v>Газпромнефть</c:v>
                </c:pt>
                <c:pt idx="4">
                  <c:v>Прочие</c:v>
                </c:pt>
              </c:strCache>
            </c:strRef>
          </c:cat>
          <c:val>
            <c:numRef>
              <c:f>Лист1!$I$19:$I$23</c:f>
              <c:numCache>
                <c:formatCode>General</c:formatCode>
                <c:ptCount val="5"/>
                <c:pt idx="0">
                  <c:v>44</c:v>
                </c:pt>
                <c:pt idx="1">
                  <c:v>16</c:v>
                </c:pt>
                <c:pt idx="2">
                  <c:v>6</c:v>
                </c:pt>
                <c:pt idx="3">
                  <c:v>6</c:v>
                </c:pt>
                <c:pt idx="4">
                  <c:v>6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175-456F-A794-40F99697ADFF}"/>
            </c:ext>
          </c:extLst>
        </c:ser>
        <c:dLbls>
          <c:showVal val="1"/>
        </c:dLbls>
        <c:axId val="137081216"/>
        <c:axId val="137082752"/>
      </c:barChart>
      <c:catAx>
        <c:axId val="137081216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sz="1200">
                <a:latin typeface="+mn-lt"/>
              </a:defRPr>
            </a:pPr>
            <a:endParaRPr lang="ru-RU"/>
          </a:p>
        </c:txPr>
        <c:crossAx val="137082752"/>
        <c:crosses val="autoZero"/>
        <c:auto val="1"/>
        <c:lblAlgn val="ctr"/>
        <c:lblOffset val="100"/>
      </c:catAx>
      <c:valAx>
        <c:axId val="137082752"/>
        <c:scaling>
          <c:orientation val="minMax"/>
        </c:scaling>
        <c:delete val="1"/>
        <c:axPos val="l"/>
        <c:majorGridlines/>
        <c:numFmt formatCode="General" sourceLinked="1"/>
        <c:tickLblPos val="none"/>
        <c:crossAx val="137081216"/>
        <c:crosses val="autoZero"/>
        <c:crossBetween val="between"/>
      </c:valAx>
    </c:plotArea>
    <c:plotVisOnly val="1"/>
    <c:dispBlanksAs val="gap"/>
  </c:chart>
  <c:spPr>
    <a:ln>
      <a:noFill/>
    </a:ln>
  </c:sp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242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242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21B8B63-C6DA-4C1D-AC3A-176B47E59D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903492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6DDCDE3-186F-4A00-8CCF-728A7DFA0123}" type="datetimeFigureOut">
              <a:rPr lang="ru-RU"/>
              <a:pPr>
                <a:defRPr/>
              </a:pPr>
              <a:t>15.1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4122"/>
            <a:ext cx="5438775" cy="44680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4298A17-8473-4B00-9E57-330A691F7EE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134222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1FA3807-D72E-445D-BF41-D559588698CA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Grp="1" noChangeArrowheads="1"/>
          </p:cNvSpPr>
          <p:nvPr>
            <p:ph type="dt" sz="quarter" idx="1"/>
          </p:nvPr>
        </p:nvSpPr>
        <p:spPr/>
        <p:txBody>
          <a:bodyPr/>
          <a:lstStyle/>
          <a:p>
            <a:pPr defTabSz="938117">
              <a:defRPr/>
            </a:pPr>
            <a:fld id="{F6D9E90F-EF18-4D01-B814-4241359ECC6C}" type="datetime8">
              <a:rPr lang="ru-RU" sz="800">
                <a:solidFill>
                  <a:prstClr val="black"/>
                </a:solidFill>
              </a:rPr>
              <a:pPr defTabSz="938117">
                <a:defRPr/>
              </a:pPr>
              <a:t>15.12.2022 17:21</a:t>
            </a:fld>
            <a:endParaRPr lang="en-GB" sz="800" dirty="0">
              <a:solidFill>
                <a:prstClr val="black"/>
              </a:solidFill>
            </a:endParaRPr>
          </a:p>
        </p:txBody>
      </p:sp>
      <p:sp>
        <p:nvSpPr>
          <p:cNvPr id="19459" name="Rectangle 6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 defTabSz="938117">
              <a:defRPr/>
            </a:pPr>
            <a:r>
              <a:rPr lang="en-GB" sz="800" dirty="0">
                <a:solidFill>
                  <a:prstClr val="black"/>
                </a:solidFill>
              </a:rPr>
              <a:t>© THK-BP presentation name</a:t>
            </a:r>
          </a:p>
        </p:txBody>
      </p:sp>
      <p:sp>
        <p:nvSpPr>
          <p:cNvPr id="1946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defTabSz="938117">
              <a:defRPr/>
            </a:pPr>
            <a:fld id="{5829D700-42F5-4FCE-BCC4-B8AE37DA2DD5}" type="slidenum">
              <a:rPr lang="en-GB" sz="800">
                <a:solidFill>
                  <a:prstClr val="black"/>
                </a:solidFill>
              </a:rPr>
              <a:pPr defTabSz="938117">
                <a:defRPr/>
              </a:pPr>
              <a:t>12</a:t>
            </a:fld>
            <a:endParaRPr lang="en-GB" sz="800" dirty="0">
              <a:solidFill>
                <a:prstClr val="black"/>
              </a:solidFill>
            </a:endParaRPr>
          </a:p>
        </p:txBody>
      </p:sp>
      <p:sp>
        <p:nvSpPr>
          <p:cNvPr id="5837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9163" y="744538"/>
            <a:ext cx="4965700" cy="37258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837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6463" y="4716463"/>
            <a:ext cx="4984750" cy="446563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980" tIns="45989" rIns="91980" bIns="45989" numCol="1" anchor="t" anchorCtr="0" compatLnSpc="1">
            <a:prstTxWarp prst="textNoShape">
              <a:avLst/>
            </a:prstTxWarp>
          </a:bodyPr>
          <a:lstStyle/>
          <a:p>
            <a:endParaRPr lang="ru-RU" altLang="en-GB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1FA3807-D72E-445D-BF41-D559588698CA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3"/>
          <p:cNvSpPr>
            <a:spLocks noGrp="1" noChangeArrowheads="1"/>
          </p:cNvSpPr>
          <p:nvPr>
            <p:ph type="dt" sz="quarter" idx="1"/>
          </p:nvPr>
        </p:nvSpPr>
        <p:spPr/>
        <p:txBody>
          <a:bodyPr/>
          <a:lstStyle/>
          <a:p>
            <a:pPr defTabSz="938213">
              <a:defRPr/>
            </a:pPr>
            <a:fld id="{D3C235AC-EEA0-433A-8A78-E21797D38ED2}" type="datetime8">
              <a:rPr lang="ru-RU" sz="800" smtClean="0"/>
              <a:pPr defTabSz="938213">
                <a:defRPr/>
              </a:pPr>
              <a:t>15.12.2022 17:21</a:t>
            </a:fld>
            <a:endParaRPr lang="en-GB" sz="800"/>
          </a:p>
        </p:txBody>
      </p:sp>
      <p:sp>
        <p:nvSpPr>
          <p:cNvPr id="18435" name="Rectangle 6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 defTabSz="938213">
              <a:defRPr/>
            </a:pPr>
            <a:r>
              <a:rPr lang="en-GB" sz="800"/>
              <a:t>© THK-BP presentation name</a:t>
            </a:r>
          </a:p>
        </p:txBody>
      </p:sp>
      <p:sp>
        <p:nvSpPr>
          <p:cNvPr id="18436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defTabSz="938213">
              <a:defRPr/>
            </a:pPr>
            <a:fld id="{D90B05A4-CA25-4D1F-A88B-1609C5AE8E9E}" type="slidenum">
              <a:rPr lang="en-GB" sz="800" smtClean="0"/>
              <a:pPr defTabSz="938213">
                <a:defRPr/>
              </a:pPr>
              <a:t>3</a:t>
            </a:fld>
            <a:endParaRPr lang="en-GB" sz="800"/>
          </a:p>
        </p:txBody>
      </p:sp>
      <p:sp>
        <p:nvSpPr>
          <p:cNvPr id="3789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9163" y="744538"/>
            <a:ext cx="4965700" cy="37258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789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6463" y="4715710"/>
            <a:ext cx="4984750" cy="4466511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989" tIns="45994" rIns="91989" bIns="45994" numCol="1" anchor="t" anchorCtr="0" compatLnSpc="1">
            <a:prstTxWarp prst="textNoShape">
              <a:avLst/>
            </a:prstTxWarp>
          </a:bodyPr>
          <a:lstStyle/>
          <a:p>
            <a:endParaRPr lang="ru-RU" altLang="en-GB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981648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1FA3807-D72E-445D-BF41-D559588698CA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1FA3807-D72E-445D-BF41-D559588698CA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7837221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1FA3807-D72E-445D-BF41-D559588698CA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1FA3807-D72E-445D-BF41-D559588698CA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Grp="1" noChangeArrowheads="1"/>
          </p:cNvSpPr>
          <p:nvPr>
            <p:ph type="dt" sz="quarter" idx="1"/>
          </p:nvPr>
        </p:nvSpPr>
        <p:spPr/>
        <p:txBody>
          <a:bodyPr/>
          <a:lstStyle/>
          <a:p>
            <a:pPr defTabSz="938117">
              <a:defRPr/>
            </a:pPr>
            <a:fld id="{F6D9E90F-EF18-4D01-B814-4241359ECC6C}" type="datetime8">
              <a:rPr lang="ru-RU" sz="800">
                <a:solidFill>
                  <a:prstClr val="black"/>
                </a:solidFill>
              </a:rPr>
              <a:pPr defTabSz="938117">
                <a:defRPr/>
              </a:pPr>
              <a:t>15.12.2022 17:21</a:t>
            </a:fld>
            <a:endParaRPr lang="en-GB" sz="800" dirty="0">
              <a:solidFill>
                <a:prstClr val="black"/>
              </a:solidFill>
            </a:endParaRPr>
          </a:p>
        </p:txBody>
      </p:sp>
      <p:sp>
        <p:nvSpPr>
          <p:cNvPr id="19459" name="Rectangle 6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 defTabSz="938117">
              <a:defRPr/>
            </a:pPr>
            <a:r>
              <a:rPr lang="en-GB" sz="800" dirty="0">
                <a:solidFill>
                  <a:prstClr val="black"/>
                </a:solidFill>
              </a:rPr>
              <a:t>© THK-BP presentation name</a:t>
            </a:r>
          </a:p>
        </p:txBody>
      </p:sp>
      <p:sp>
        <p:nvSpPr>
          <p:cNvPr id="1946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defTabSz="938117">
              <a:defRPr/>
            </a:pPr>
            <a:fld id="{5829D700-42F5-4FCE-BCC4-B8AE37DA2DD5}" type="slidenum">
              <a:rPr lang="en-GB" sz="800">
                <a:solidFill>
                  <a:prstClr val="black"/>
                </a:solidFill>
              </a:rPr>
              <a:pPr defTabSz="938117">
                <a:defRPr/>
              </a:pPr>
              <a:t>10</a:t>
            </a:fld>
            <a:endParaRPr lang="en-GB" sz="800" dirty="0">
              <a:solidFill>
                <a:prstClr val="black"/>
              </a:solidFill>
            </a:endParaRPr>
          </a:p>
        </p:txBody>
      </p:sp>
      <p:sp>
        <p:nvSpPr>
          <p:cNvPr id="5837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9163" y="744538"/>
            <a:ext cx="4965700" cy="37258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837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6463" y="4716463"/>
            <a:ext cx="4984750" cy="4465637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980" tIns="45989" rIns="91980" bIns="45989" numCol="1" anchor="t" anchorCtr="0" compatLnSpc="1">
            <a:prstTxWarp prst="textNoShape">
              <a:avLst/>
            </a:prstTxWarp>
          </a:bodyPr>
          <a:lstStyle/>
          <a:p>
            <a:endParaRPr lang="ru-RU" altLang="en-GB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23556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A1812C0-97B1-49B6-81EC-590D5CAC4428}" type="slidenum">
              <a:rPr lang="ru-RU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4853359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1984917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37354" y="765175"/>
            <a:ext cx="2092325" cy="53609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765175"/>
            <a:ext cx="6127750" cy="53609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40813486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5427386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1730126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7720634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88" y="1196975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2" y="1196975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941363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4825478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6455010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5924425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519243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230948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3936355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3185996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3"/>
            <a:ext cx="2178050" cy="597693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88" y="188913"/>
            <a:ext cx="6383337" cy="597693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3042163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4888586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8323437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3602212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41575787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4818516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41599400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2907109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3334568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7463322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509680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9655926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600204"/>
            <a:ext cx="2057400" cy="452596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6089409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en-US" dirty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C1639-53A2-462C-9024-C2CB3FFCC09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D146A7-256C-49F9-B4EF-C3D0672ED38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43347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6902" y="1304761"/>
            <a:ext cx="4043428" cy="482156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3670" y="1304761"/>
            <a:ext cx="4043428" cy="482156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65CDEB-F8FD-4EEB-AE1B-0D33C2A7775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6367DC-A72E-404B-B996-9A4CEB3D18F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80457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902" y="1172091"/>
            <a:ext cx="4040442" cy="464677"/>
          </a:xfrm>
          <a:solidFill>
            <a:srgbClr val="6B6B6B"/>
          </a:solidFill>
        </p:spPr>
        <p:txBody>
          <a:bodyPr anchor="ctr" anchorCtr="1">
            <a:norm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6902" y="1835822"/>
            <a:ext cx="4040442" cy="429050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164" y="1171997"/>
            <a:ext cx="4041934" cy="464676"/>
          </a:xfrm>
          <a:solidFill>
            <a:srgbClr val="6B6B6B"/>
          </a:solidFill>
        </p:spPr>
        <p:txBody>
          <a:bodyPr rtlCol="0" anchor="ctr" anchorCtr="1">
            <a:normAutofit/>
          </a:bodyPr>
          <a:lstStyle>
            <a:lvl1pPr marL="0" indent="0">
              <a:buNone/>
              <a:defRPr lang="ru-RU" sz="1400" b="0" kern="1200" smtClean="0">
                <a:solidFill>
                  <a:schemeClr val="bg1"/>
                </a:solidFill>
                <a:latin typeface="Europe" pitchFamily="50" charset="-52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164" y="1835822"/>
            <a:ext cx="4041934" cy="4290502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6BF96D-3B35-40B6-826D-419D8A91132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6B7DB6-019F-480D-96E1-7F0656BD095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41994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6910" y="176262"/>
            <a:ext cx="7743459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996BE-E6C8-463C-872F-4D5C435CBC7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1EFF20-9F65-4795-92B7-B2A74530243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31652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D464A"/>
                </a:solidFill>
                <a:effectLst/>
                <a:uLnTx/>
                <a:uFillTx/>
                <a:latin typeface="Europe" pitchFamily="50" charset="-52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914400" rtl="0" eaLnBrk="1" latinLnBrk="0" hangingPunct="1">
              <a:spcBef>
                <a:spcPct val="20000"/>
              </a:spcBef>
              <a:defRPr lang="ru-RU" sz="1200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C41B85-2829-4127-9BBD-8229E77A620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3BEEE0-1B09-418F-BBE3-BDA42DF059B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07335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848548-C86E-4DE2-9521-A687683726D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9241FC-620E-4B9F-AC82-898CE14FC30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659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40982225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0565519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1358608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48171444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88" y="1196975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88" y="1196975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0765098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44762570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6760336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968657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991366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40755313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7010113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5480302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3"/>
            <a:ext cx="2178050" cy="597693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88" y="188913"/>
            <a:ext cx="6383337" cy="597693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9054122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18096996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7420604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2683888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48378374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1310661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4040235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18880552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9063694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0513452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40981677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44270977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37354" y="765175"/>
            <a:ext cx="2092325" cy="53609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765175"/>
            <a:ext cx="6127750" cy="53609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6470259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290506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4386595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31156539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36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image" Target="../media/image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97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596188" y="6381750"/>
            <a:ext cx="1414462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  <p:sp>
        <p:nvSpPr>
          <p:cNvPr id="2051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643442" y="765175"/>
            <a:ext cx="4186237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Заголовок презентации</a:t>
            </a:r>
            <a:br>
              <a:rPr lang="ru-RU" altLang="ru-RU"/>
            </a:br>
            <a:r>
              <a:rPr lang="ru-RU" altLang="ru-RU"/>
              <a:t>шрифт </a:t>
            </a:r>
            <a:r>
              <a:rPr lang="en-US" altLang="ru-RU"/>
              <a:t>Arial</a:t>
            </a:r>
            <a:r>
              <a:rPr lang="ru-RU" altLang="ru-RU"/>
              <a:t> (20</a:t>
            </a:r>
            <a:r>
              <a:rPr lang="en-US" altLang="ru-RU"/>
              <a:t> pt)</a:t>
            </a:r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92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сновной текст </a:t>
            </a:r>
            <a:r>
              <a:rPr lang="en-US" altLang="ru-RU"/>
              <a:t> - </a:t>
            </a:r>
            <a:r>
              <a:rPr lang="ru-RU" altLang="ru-RU"/>
              <a:t>шрифт </a:t>
            </a:r>
            <a:r>
              <a:rPr lang="en-US" altLang="ru-RU"/>
              <a:t>Arial (12 pt)</a:t>
            </a:r>
          </a:p>
          <a:p>
            <a:pPr lvl="0"/>
            <a:endParaRPr lang="ru-RU" altLang="ru-RU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Заголовок раздела</a:t>
            </a:r>
            <a:br>
              <a:rPr lang="ru-RU" altLang="ru-RU"/>
            </a:br>
            <a:r>
              <a:rPr lang="ru-RU" altLang="ru-RU"/>
              <a:t>шрифт </a:t>
            </a:r>
            <a:r>
              <a:rPr lang="en-US" altLang="ru-RU"/>
              <a:t>Arial</a:t>
            </a:r>
            <a:r>
              <a:rPr lang="ru-RU" altLang="ru-RU"/>
              <a:t> (</a:t>
            </a:r>
            <a:r>
              <a:rPr lang="en-US" altLang="ru-RU"/>
              <a:t>18pt)</a:t>
            </a:r>
            <a:endParaRPr lang="ru-RU" altLang="ru-RU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96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96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900" indent="-76200" algn="l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96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21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684213" y="4510088"/>
            <a:ext cx="4186237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Почтовый адрес:</a:t>
            </a:r>
            <a:br>
              <a:rPr lang="ru-RU" altLang="ru-RU"/>
            </a:br>
            <a:r>
              <a:rPr lang="ru-RU" altLang="ru-RU"/>
              <a:t>117997, г. Москва, Софийская наб., 26/1</a:t>
            </a:r>
            <a:br>
              <a:rPr lang="ru-RU" altLang="ru-RU"/>
            </a:br>
            <a:r>
              <a:rPr lang="ru-RU" altLang="ru-RU"/>
              <a:t>Телефон для справок:+7 (495) 777-44-22</a:t>
            </a:r>
            <a:br>
              <a:rPr lang="ru-RU" altLang="ru-RU"/>
            </a:br>
            <a:r>
              <a:rPr lang="ru-RU" altLang="ru-RU"/>
              <a:t>Факс:+7 (495) 777-44-44</a:t>
            </a:r>
            <a:br>
              <a:rPr lang="ru-RU" altLang="ru-RU"/>
            </a:br>
            <a:r>
              <a:rPr lang="ru-RU" altLang="ru-RU"/>
              <a:t>E-mail:  </a:t>
            </a:r>
            <a:r>
              <a:rPr lang="en-US" altLang="ru-RU"/>
              <a:t>post@rosneft.ru</a:t>
            </a:r>
            <a:endParaRPr lang="ru-RU" altLang="ru-RU"/>
          </a:p>
        </p:txBody>
      </p:sp>
      <p:sp>
        <p:nvSpPr>
          <p:cNvPr id="36873" name="Rectangle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77050" y="6453196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Дата/время шрифт Arial (10 pt)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176213"/>
            <a:ext cx="7743092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  <a:r>
              <a:rPr lang="en-US"/>
              <a:t/>
            </a:r>
            <a:br>
              <a:rPr lang="en-US"/>
            </a:br>
            <a:r>
              <a:rPr lang="ru-RU"/>
              <a:t>презентации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38253"/>
            <a:ext cx="8229600" cy="488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44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Europe" pitchFamily="50" charset="-52"/>
                <a:cs typeface="+mn-cs"/>
              </a:defRPr>
            </a:lvl1pPr>
          </a:lstStyle>
          <a:p>
            <a:pPr>
              <a:defRPr/>
            </a:pPr>
            <a:fld id="{956FAC67-2878-4E8B-A0D2-AA6F533D00D3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44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Europe" pitchFamily="50" charset="-52"/>
                <a:cs typeface="+mn-cs"/>
              </a:defRPr>
            </a:lvl1pPr>
          </a:lstStyle>
          <a:p>
            <a:pPr>
              <a:defRPr/>
            </a:pPr>
            <a:fld id="{54B471EF-1928-48DE-A04F-FCDB823EC21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7632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kern="1200">
          <a:solidFill>
            <a:srgbClr val="3D464A"/>
          </a:solidFill>
          <a:latin typeface="Europe" pitchFamily="50" charset="-52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9"/>
        </a:buBlip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120000"/>
        <a:buFont typeface="Arial" charset="0"/>
        <a:buChar char="•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96000"/>
        <a:buFont typeface="Wingdings" pitchFamily="2" charset="2"/>
        <a:buChar char="§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defRPr sz="1200" kern="1200">
          <a:solidFill>
            <a:srgbClr val="3D464A"/>
          </a:solidFill>
          <a:latin typeface="Europe" pitchFamily="50" charset="-52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сновной текст </a:t>
            </a:r>
            <a:r>
              <a:rPr lang="en-US" altLang="ru-RU"/>
              <a:t> - </a:t>
            </a:r>
            <a:r>
              <a:rPr lang="ru-RU" altLang="ru-RU"/>
              <a:t>шрифт </a:t>
            </a:r>
            <a:r>
              <a:rPr lang="en-US" altLang="ru-RU"/>
              <a:t>Arial (12 pt)</a:t>
            </a:r>
          </a:p>
          <a:p>
            <a:pPr lvl="0"/>
            <a:endParaRPr lang="ru-RU" altLang="ru-RU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Заголовок раздела</a:t>
            </a:r>
            <a:br>
              <a:rPr lang="ru-RU" altLang="ru-RU"/>
            </a:br>
            <a:r>
              <a:rPr lang="ru-RU" altLang="ru-RU"/>
              <a:t>шрифт </a:t>
            </a:r>
            <a:r>
              <a:rPr lang="en-US" altLang="ru-RU"/>
              <a:t>Arial</a:t>
            </a:r>
            <a:r>
              <a:rPr lang="ru-RU" altLang="ru-RU"/>
              <a:t> (</a:t>
            </a:r>
            <a:r>
              <a:rPr lang="en-US" altLang="ru-RU"/>
              <a:t>18pt)</a:t>
            </a:r>
            <a:endParaRPr lang="ru-RU" altLang="ru-RU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>
                <a:solidFill>
                  <a:srgbClr val="808080"/>
                </a:solidFill>
              </a:rPr>
              <a:t>Дата/время шрифт Arial (10 pt)</a:t>
            </a:r>
          </a:p>
        </p:txBody>
      </p:sp>
    </p:spTree>
    <p:extLst>
      <p:ext uri="{BB962C8B-B14F-4D97-AF65-F5344CB8AC3E}">
        <p14:creationId xmlns:p14="http://schemas.microsoft.com/office/powerpoint/2010/main" xmlns="" val="2021594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900" indent="-76200" algn="l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975" name="Rectangle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596188" y="6381750"/>
            <a:ext cx="1414462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>
                <a:solidFill>
                  <a:srgbClr val="FFFFFF"/>
                </a:solidFill>
              </a:rPr>
              <a:t>Дата/время шрифт Arial (10 pt)</a:t>
            </a:r>
          </a:p>
        </p:txBody>
      </p:sp>
      <p:sp>
        <p:nvSpPr>
          <p:cNvPr id="2051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643442" y="765175"/>
            <a:ext cx="4186237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Заголовок презентации</a:t>
            </a:r>
            <a:br>
              <a:rPr lang="ru-RU" altLang="ru-RU"/>
            </a:br>
            <a:r>
              <a:rPr lang="ru-RU" altLang="ru-RU"/>
              <a:t>шрифт </a:t>
            </a:r>
            <a:r>
              <a:rPr lang="en-US" altLang="ru-RU"/>
              <a:t>Arial</a:t>
            </a:r>
            <a:r>
              <a:rPr lang="ru-RU" altLang="ru-RU"/>
              <a:t> (20</a:t>
            </a:r>
            <a:r>
              <a:rPr lang="en-US" altLang="ru-RU"/>
              <a:t> pt)</a:t>
            </a: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2566265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87" Type="http://schemas.openxmlformats.org/officeDocument/2006/relationships/tags" Target="../tags/tag87.xml"/><Relationship Id="rId102" Type="http://schemas.openxmlformats.org/officeDocument/2006/relationships/image" Target="../media/image3.jpeg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100" Type="http://schemas.openxmlformats.org/officeDocument/2006/relationships/slideLayout" Target="../slideLayouts/slideLayout13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103" Type="http://schemas.openxmlformats.org/officeDocument/2006/relationships/image" Target="../media/image33.pn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notesSlide" Target="../notesSlides/notesSlide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jpe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EBC2E">
            <a:alpha val="9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одзаголовок 2"/>
          <p:cNvSpPr>
            <a:spLocks noGrp="1"/>
          </p:cNvSpPr>
          <p:nvPr/>
        </p:nvSpPr>
        <p:spPr>
          <a:xfrm>
            <a:off x="5652120" y="4764113"/>
            <a:ext cx="3418982" cy="147320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2000" kern="1200" cap="none">
                <a:solidFill>
                  <a:schemeClr val="bg2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8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6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1400" kern="1200" cap="none">
                <a:solidFill>
                  <a:schemeClr val="tx1">
                    <a:tint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algn="r" defTabSz="449263">
              <a:spcBef>
                <a:spcPts val="300"/>
              </a:spcBef>
              <a:spcAft>
                <a:spcPts val="300"/>
              </a:spcAft>
              <a:tabLst>
                <a:tab pos="0" algn="l"/>
                <a:tab pos="447675" algn="l"/>
                <a:tab pos="895350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С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лушатель: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algn="r" defTabSz="449263">
              <a:spcBef>
                <a:spcPts val="300"/>
              </a:spcBef>
              <a:spcAft>
                <a:spcPts val="300"/>
              </a:spcAft>
              <a:tabLst>
                <a:tab pos="0" algn="l"/>
                <a:tab pos="447675" algn="l"/>
                <a:tab pos="895350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орюкина </a:t>
            </a: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Анна Александровна</a:t>
            </a:r>
          </a:p>
          <a:p>
            <a:pPr algn="r" defTabSz="449263">
              <a:spcBef>
                <a:spcPts val="300"/>
              </a:spcBef>
              <a:spcAft>
                <a:spcPts val="300"/>
              </a:spcAft>
              <a:tabLst>
                <a:tab pos="0" algn="l"/>
                <a:tab pos="447675" algn="l"/>
                <a:tab pos="895350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уководитель: </a:t>
            </a:r>
          </a:p>
          <a:p>
            <a:pPr algn="r" defTabSz="449263">
              <a:spcBef>
                <a:spcPts val="300"/>
              </a:spcBef>
              <a:spcAft>
                <a:spcPts val="300"/>
              </a:spcAft>
              <a:tabLst>
                <a:tab pos="0" algn="l"/>
                <a:tab pos="447675" algn="l"/>
                <a:tab pos="895350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офессор</a:t>
            </a: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, д.э.н. </a:t>
            </a:r>
          </a:p>
          <a:p>
            <a:pPr algn="r" defTabSz="449263">
              <a:spcBef>
                <a:spcPts val="300"/>
              </a:spcBef>
              <a:spcAft>
                <a:spcPts val="300"/>
              </a:spcAft>
              <a:tabLst>
                <a:tab pos="0" algn="l"/>
                <a:tab pos="447675" algn="l"/>
                <a:tab pos="895350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4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                   Васильева Ольга Евгеньевна</a:t>
            </a:r>
          </a:p>
          <a:p>
            <a:pPr defTabSz="449263">
              <a:tabLst>
                <a:tab pos="0" algn="l"/>
                <a:tab pos="447675" algn="l"/>
                <a:tab pos="895350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ru-RU" dirty="0">
              <a:solidFill>
                <a:schemeClr val="tx1"/>
              </a:solidFill>
              <a:ea typeface="Arial Unicode MS" pitchFamily="34" charset="-128"/>
              <a:cs typeface="Times New Roman" pitchFamily="18" charset="0"/>
            </a:endParaRPr>
          </a:p>
        </p:txBody>
      </p:sp>
      <p:sp>
        <p:nvSpPr>
          <p:cNvPr id="9" name="Rectangle 30"/>
          <p:cNvSpPr txBox="1">
            <a:spLocks noChangeArrowheads="1"/>
          </p:cNvSpPr>
          <p:nvPr/>
        </p:nvSpPr>
        <p:spPr bwMode="auto">
          <a:xfrm>
            <a:off x="928662" y="404664"/>
            <a:ext cx="7344816" cy="684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spcBef>
                <a:spcPts val="1250"/>
              </a:spcBef>
              <a:defRPr/>
            </a:pPr>
            <a:r>
              <a:rPr lang="ru-RU" sz="1050" kern="0" cap="all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Times New Roman" panose="02020603050405020304" pitchFamily="18" charset="0"/>
              </a:rPr>
              <a:t>Министерство образования и науки российской федерации</a:t>
            </a:r>
            <a:br>
              <a:rPr lang="ru-RU" sz="1050" kern="0" cap="all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Times New Roman" panose="02020603050405020304" pitchFamily="18" charset="0"/>
              </a:rPr>
            </a:br>
            <a:r>
              <a:rPr lang="ru-RU" sz="1050" kern="0" dirty="0" smtClean="0">
                <a:solidFill>
                  <a:schemeClr val="tx1"/>
                </a:solidFill>
                <a:latin typeface="+mn-lt"/>
                <a:cs typeface="Times New Roman" pitchFamily="18" charset="0"/>
              </a:rPr>
              <a:t>федеральное государственное бюджетное образовательное учреждение </a:t>
            </a:r>
            <a:r>
              <a:rPr lang="ru-RU" sz="1050" kern="0" dirty="0" smtClean="0">
                <a:solidFill>
                  <a:schemeClr val="tx1"/>
                </a:solidFill>
                <a:latin typeface="+mn-lt"/>
                <a:ea typeface="Calibri" pitchFamily="34" charset="0"/>
                <a:cs typeface="Times New Roman" pitchFamily="18" charset="0"/>
              </a:rPr>
              <a:t/>
            </a:r>
            <a:br>
              <a:rPr lang="ru-RU" sz="1050" kern="0" dirty="0" smtClean="0">
                <a:solidFill>
                  <a:schemeClr val="tx1"/>
                </a:solidFill>
                <a:latin typeface="+mn-lt"/>
                <a:ea typeface="Calibri" pitchFamily="34" charset="0"/>
                <a:cs typeface="Times New Roman" pitchFamily="18" charset="0"/>
              </a:rPr>
            </a:br>
            <a:r>
              <a:rPr lang="ru-RU" sz="1050" kern="0" dirty="0" smtClean="0">
                <a:solidFill>
                  <a:schemeClr val="tx1"/>
                </a:solidFill>
                <a:latin typeface="+mn-lt"/>
                <a:cs typeface="Times New Roman" pitchFamily="18" charset="0"/>
              </a:rPr>
              <a:t>высшего образования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ганский государственный университет» (КГУ)</a:t>
            </a:r>
            <a:b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федра «Менеджмент и </a:t>
            </a:r>
            <a:r>
              <a:rPr lang="ru-RU" sz="105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кетинг</a:t>
            </a:r>
            <a:r>
              <a:rPr lang="ru-RU" sz="10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050" kern="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pic>
        <p:nvPicPr>
          <p:cNvPr id="1028" name="Picture 4" descr="www.rosneft-azs.ru/media/frontend/img/og-image-...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2069" y="3233211"/>
            <a:ext cx="5722100" cy="3004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Соединительная линия уступом 3"/>
          <p:cNvCxnSpPr/>
          <p:nvPr/>
        </p:nvCxnSpPr>
        <p:spPr bwMode="auto">
          <a:xfrm>
            <a:off x="179512" y="4005064"/>
            <a:ext cx="914400" cy="914400"/>
          </a:xfrm>
          <a:prstGeom prst="bentConnector3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Прямая соединительная линия 18"/>
          <p:cNvCxnSpPr/>
          <p:nvPr/>
        </p:nvCxnSpPr>
        <p:spPr bwMode="auto">
          <a:xfrm>
            <a:off x="251520" y="4293096"/>
            <a:ext cx="0" cy="2088232"/>
          </a:xfrm>
          <a:prstGeom prst="line">
            <a:avLst/>
          </a:prstGeom>
          <a:noFill/>
          <a:ln w="41275" cap="flat" cmpd="sng" algn="ctr">
            <a:solidFill>
              <a:srgbClr val="EEBC2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Прямая соединительная линия 20"/>
          <p:cNvCxnSpPr/>
          <p:nvPr/>
        </p:nvCxnSpPr>
        <p:spPr bwMode="auto">
          <a:xfrm>
            <a:off x="6156176" y="3140968"/>
            <a:ext cx="0" cy="2016224"/>
          </a:xfrm>
          <a:prstGeom prst="line">
            <a:avLst/>
          </a:prstGeom>
          <a:noFill/>
          <a:ln w="41275" cap="flat" cmpd="sng" algn="ctr">
            <a:solidFill>
              <a:srgbClr val="EEBC2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995936" y="3140968"/>
            <a:ext cx="2160240" cy="0"/>
          </a:xfrm>
          <a:prstGeom prst="line">
            <a:avLst/>
          </a:prstGeom>
          <a:noFill/>
          <a:ln w="41275" cap="flat" cmpd="sng" algn="ctr">
            <a:solidFill>
              <a:srgbClr val="EEBC2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51520" y="6381328"/>
            <a:ext cx="2160240" cy="0"/>
          </a:xfrm>
          <a:prstGeom prst="line">
            <a:avLst/>
          </a:prstGeom>
          <a:noFill/>
          <a:ln w="41275" cap="flat" cmpd="sng" algn="ctr">
            <a:solidFill>
              <a:srgbClr val="EEBC2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Заголовок 1">
            <a:extLst>
              <a:ext uri="{FF2B5EF4-FFF2-40B4-BE49-F238E27FC236}">
                <a16:creationId xmlns="" xmlns:a16="http://schemas.microsoft.com/office/drawing/2014/main" id="{EBA59CE7-74A5-476F-9E50-B49389744E9F}"/>
              </a:ext>
            </a:extLst>
          </p:cNvPr>
          <p:cNvSpPr txBox="1">
            <a:spLocks/>
          </p:cNvSpPr>
          <p:nvPr/>
        </p:nvSpPr>
        <p:spPr>
          <a:xfrm>
            <a:off x="642910" y="1643050"/>
            <a:ext cx="7929618" cy="1271582"/>
          </a:xfrm>
          <a:prstGeom prst="rect">
            <a:avLst/>
          </a:prstGeom>
        </p:spPr>
        <p:txBody>
          <a:bodyPr>
            <a:normAutofit fontScale="67500" lnSpcReduction="20000"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50800" marR="635000" indent="304800" algn="ctr">
              <a:lnSpc>
                <a:spcPct val="116000"/>
              </a:lnSpc>
              <a:spcAft>
                <a:spcPts val="0"/>
              </a:spcAft>
            </a:pPr>
            <a:endParaRPr lang="ru-RU" sz="1800" b="1" dirty="0">
              <a:effectLst/>
              <a:ea typeface="Times New Roman" panose="02020603050405020304" pitchFamily="18" charset="0"/>
            </a:endParaRPr>
          </a:p>
          <a:p>
            <a:pPr marL="50800" marR="635000" indent="304800" algn="ctr">
              <a:lnSpc>
                <a:spcPct val="116000"/>
              </a:lnSpc>
              <a:spcAft>
                <a:spcPts val="0"/>
              </a:spcAft>
            </a:pPr>
            <a:r>
              <a:rPr lang="ru-RU" sz="2500" b="1" cap="all" dirty="0">
                <a:effectLst/>
                <a:ea typeface="Times New Roman" panose="02020603050405020304" pitchFamily="18" charset="0"/>
              </a:rPr>
              <a:t>проект </a:t>
            </a:r>
            <a:r>
              <a:rPr lang="ru-RU" sz="2500" b="1" cap="all" dirty="0" smtClean="0">
                <a:effectLst/>
                <a:ea typeface="Times New Roman" panose="02020603050405020304" pitchFamily="18" charset="0"/>
              </a:rPr>
              <a:t>развития розничной сети компании</a:t>
            </a:r>
            <a:endParaRPr lang="ru-RU" sz="2500" b="1" dirty="0">
              <a:ea typeface="Times New Roman" panose="02020603050405020304" pitchFamily="18" charset="0"/>
            </a:endParaRPr>
          </a:p>
          <a:p>
            <a:pPr marL="50800" marR="635000" indent="304800" algn="ctr">
              <a:lnSpc>
                <a:spcPct val="116000"/>
              </a:lnSpc>
              <a:spcAft>
                <a:spcPts val="0"/>
              </a:spcAft>
            </a:pPr>
            <a:endParaRPr lang="ru-RU" sz="1800" b="1" dirty="0">
              <a:effectLst/>
              <a:ea typeface="Times New Roman" panose="02020603050405020304" pitchFamily="18" charset="0"/>
            </a:endParaRPr>
          </a:p>
          <a:p>
            <a:pPr marL="50800" marR="635000" indent="304800" algn="ctr">
              <a:lnSpc>
                <a:spcPct val="116000"/>
              </a:lnSpc>
              <a:spcAft>
                <a:spcPts val="0"/>
              </a:spcAft>
            </a:pPr>
            <a:r>
              <a:rPr lang="ru-RU" sz="1800" dirty="0">
                <a:effectLst/>
                <a:ea typeface="Times New Roman" panose="02020603050405020304" pitchFamily="18" charset="0"/>
              </a:rPr>
              <a:t>ГРАФИЧЕСКАЯ </a:t>
            </a:r>
            <a:r>
              <a:rPr lang="ru-RU" sz="1800" dirty="0" smtClean="0">
                <a:effectLst/>
                <a:ea typeface="Times New Roman" panose="02020603050405020304" pitchFamily="18" charset="0"/>
              </a:rPr>
              <a:t>ЧАСТЬ</a:t>
            </a:r>
          </a:p>
          <a:p>
            <a:pPr marL="50800" marR="635000" indent="304800" algn="ctr">
              <a:lnSpc>
                <a:spcPct val="116000"/>
              </a:lnSpc>
              <a:spcAft>
                <a:spcPts val="0"/>
              </a:spcAft>
            </a:pPr>
            <a:r>
              <a:rPr lang="ru-RU" sz="1800" dirty="0" smtClean="0">
                <a:effectLst/>
                <a:ea typeface="Times New Roman" panose="02020603050405020304" pitchFamily="18" charset="0"/>
              </a:rPr>
              <a:t>(демонстрационная часть)</a:t>
            </a:r>
          </a:p>
          <a:p>
            <a:pPr marL="50800" marR="635000" indent="304800" algn="ctr">
              <a:lnSpc>
                <a:spcPct val="116000"/>
              </a:lnSpc>
              <a:spcAft>
                <a:spcPts val="0"/>
              </a:spcAft>
            </a:pPr>
            <a:r>
              <a:rPr lang="ru-RU" sz="1800" dirty="0" smtClean="0">
                <a:effectLst/>
                <a:ea typeface="Times New Roman" panose="02020603050405020304" pitchFamily="18" charset="0"/>
              </a:rPr>
              <a:t>К </a:t>
            </a:r>
            <a:r>
              <a:rPr lang="ru-RU" sz="1800" dirty="0">
                <a:effectLst/>
                <a:ea typeface="Times New Roman" panose="02020603050405020304" pitchFamily="18" charset="0"/>
              </a:rPr>
              <a:t>АТТЕСТАЦИОННОЙ РАБОТЕ</a:t>
            </a:r>
            <a:endParaRPr lang="ru-RU" sz="1300" kern="0" dirty="0">
              <a:solidFill>
                <a:sysClr val="windowText" lastClr="000000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696327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6" name="Заголовок 15"/>
          <p:cNvSpPr>
            <a:spLocks noGrp="1"/>
          </p:cNvSpPr>
          <p:nvPr>
            <p:ph type="title"/>
          </p:nvPr>
        </p:nvSpPr>
        <p:spPr>
          <a:xfrm>
            <a:off x="377613" y="260648"/>
            <a:ext cx="8100742" cy="453708"/>
          </a:xfrm>
        </p:spPr>
        <p:txBody>
          <a:bodyPr/>
          <a:lstStyle/>
          <a:p>
            <a:r>
              <a:rPr lang="ru-RU" altLang="ru-RU" sz="2000" dirty="0" smtClean="0"/>
              <a:t>Анализ сетей АЗС НГСС и АЗС Новый поток</a:t>
            </a:r>
            <a:r>
              <a:rPr lang="ru-RU" sz="2000" dirty="0">
                <a:solidFill>
                  <a:srgbClr val="000000"/>
                </a:solidFill>
              </a:rPr>
              <a:t/>
            </a:r>
            <a:br>
              <a:rPr lang="ru-RU" sz="2000" dirty="0">
                <a:solidFill>
                  <a:srgbClr val="000000"/>
                </a:solidFill>
              </a:rPr>
            </a:br>
            <a:endParaRPr lang="ru-RU" altLang="ru-RU" sz="2000" dirty="0"/>
          </a:p>
        </p:txBody>
      </p:sp>
      <p:cxnSp>
        <p:nvCxnSpPr>
          <p:cNvPr id="33830" name="Прямая со стрелкой 2"/>
          <p:cNvCxnSpPr>
            <a:cxnSpLocks noChangeShapeType="1"/>
          </p:cNvCxnSpPr>
          <p:nvPr/>
        </p:nvCxnSpPr>
        <p:spPr bwMode="auto">
          <a:xfrm>
            <a:off x="989013" y="3429000"/>
            <a:ext cx="914400" cy="914400"/>
          </a:xfrm>
          <a:prstGeom prst="straightConnector1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 type="arrow" w="med" len="med"/>
              </a14:hiddenLine>
            </a:ext>
          </a:extLst>
        </p:spPr>
      </p:cxnSp>
      <p:pic>
        <p:nvPicPr>
          <p:cNvPr id="45" name="Picture 1" descr="C:\Users\aakorjukina\Desktop\2018\Нефтегазстройсервис\Фото заправок (с проверки)\04 Молодежная, 82\IMG_389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03592" y="4036427"/>
            <a:ext cx="1956640" cy="1467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Прямоугольник 45"/>
          <p:cNvSpPr/>
          <p:nvPr/>
        </p:nvSpPr>
        <p:spPr>
          <a:xfrm>
            <a:off x="4703592" y="5590041"/>
            <a:ext cx="394630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C00000"/>
                </a:solidFill>
              </a:rPr>
              <a:t>Сеть  из 18 объектов АЗС/АЗК</a:t>
            </a:r>
            <a:endParaRPr lang="ru-RU" sz="14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13 </a:t>
            </a:r>
            <a:r>
              <a:rPr lang="ru-RU" sz="1400" dirty="0"/>
              <a:t>объектов в г. Тюмень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ru-RU" sz="1400" dirty="0"/>
              <a:t>4 объекта в г. Тобольск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ru-RU" sz="1400" dirty="0"/>
              <a:t>1 объект на ФАД Тюмень - Омск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36934" y="5702008"/>
            <a:ext cx="383100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C00000"/>
                </a:solidFill>
              </a:rPr>
              <a:t>Сеть  из 26 объектов АЗС/АЗК</a:t>
            </a:r>
            <a:endParaRPr lang="ru-RU" sz="1400" dirty="0"/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ru-RU" sz="1400" dirty="0"/>
              <a:t>10 объектов - город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ru-RU" sz="1400" dirty="0"/>
              <a:t>13 объектов - район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ru-RU" sz="1400" dirty="0"/>
              <a:t>3 объекта - трасса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076056" y="997312"/>
            <a:ext cx="3312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400" dirty="0">
                <a:solidFill>
                  <a:srgbClr val="000000"/>
                </a:solidFill>
              </a:rPr>
              <a:t>Сеть АЗС НГСС </a:t>
            </a:r>
            <a:r>
              <a:rPr lang="ru-RU" altLang="ru-RU" sz="1400" dirty="0" smtClean="0">
                <a:solidFill>
                  <a:srgbClr val="000000"/>
                </a:solidFill>
              </a:rPr>
              <a:t> (фр. </a:t>
            </a:r>
            <a:r>
              <a:rPr lang="ru-RU" altLang="ru-RU" sz="1400" dirty="0">
                <a:solidFill>
                  <a:srgbClr val="000000"/>
                </a:solidFill>
              </a:rPr>
              <a:t>Лукойл)</a:t>
            </a:r>
            <a:endParaRPr lang="ru-RU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539552" y="1019731"/>
            <a:ext cx="3312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400" dirty="0">
                <a:solidFill>
                  <a:srgbClr val="000000"/>
                </a:solidFill>
              </a:rPr>
              <a:t>Сеть АЗС Новый поток</a:t>
            </a:r>
            <a:endParaRPr lang="ru-RU" sz="1400" dirty="0"/>
          </a:p>
        </p:txBody>
      </p:sp>
      <p:sp>
        <p:nvSpPr>
          <p:cNvPr id="12" name="Номер слайда 5"/>
          <p:cNvSpPr txBox="1">
            <a:spLocks/>
          </p:cNvSpPr>
          <p:nvPr/>
        </p:nvSpPr>
        <p:spPr bwMode="auto">
          <a:xfrm>
            <a:off x="7858149" y="6429396"/>
            <a:ext cx="1071570" cy="255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</a:rPr>
              <a:t>Слайд 9</a:t>
            </a:r>
            <a:endParaRPr lang="en-GB" altLang="ru-RU" sz="1600" dirty="0">
              <a:solidFill>
                <a:schemeClr val="tx2"/>
              </a:solidFill>
            </a:endParaRPr>
          </a:p>
        </p:txBody>
      </p:sp>
      <p:pic>
        <p:nvPicPr>
          <p:cNvPr id="13" name="Рисунок 12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0346" y="1359587"/>
            <a:ext cx="4027638" cy="2517017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4" name="Picture 3" descr="C:\Users\aakorjukina\Desktop\Фото НОвый Поток\фото азс\азс 10\10-001-06 (3)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0346" y="4031785"/>
            <a:ext cx="2011414" cy="1472120"/>
          </a:xfrm>
          <a:prstGeom prst="rect">
            <a:avLst/>
          </a:prstGeom>
          <a:noFill/>
        </p:spPr>
      </p:pic>
      <p:pic>
        <p:nvPicPr>
          <p:cNvPr id="15" name="Picture 3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16016" y="1359587"/>
            <a:ext cx="3888432" cy="2517017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</p:pic>
      <p:grpSp>
        <p:nvGrpSpPr>
          <p:cNvPr id="3" name="Группа 2"/>
          <p:cNvGrpSpPr/>
          <p:nvPr/>
        </p:nvGrpSpPr>
        <p:grpSpPr>
          <a:xfrm>
            <a:off x="4954682" y="1613540"/>
            <a:ext cx="3432474" cy="2009109"/>
            <a:chOff x="4067943" y="1531177"/>
            <a:chExt cx="4450717" cy="2649855"/>
          </a:xfrm>
        </p:grpSpPr>
        <p:sp>
          <p:nvSpPr>
            <p:cNvPr id="17" name="Прямоугольная выноска 16"/>
            <p:cNvSpPr/>
            <p:nvPr/>
          </p:nvSpPr>
          <p:spPr>
            <a:xfrm>
              <a:off x="4067943" y="2635489"/>
              <a:ext cx="900342" cy="358110"/>
            </a:xfrm>
            <a:prstGeom prst="wedgeRectCallout">
              <a:avLst>
                <a:gd name="adj1" fmla="val -38967"/>
                <a:gd name="adj2" fmla="val 69329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0"/>
                </a:spcAft>
              </a:pPr>
              <a:r>
                <a:rPr lang="ru-RU" sz="600" kern="1200" dirty="0">
                  <a:solidFill>
                    <a:srgbClr val="000000"/>
                  </a:solidFill>
                  <a:effectLst/>
                  <a:latin typeface="Arial"/>
                  <a:ea typeface="Times New Roman"/>
                </a:rPr>
                <a:t>г. Тюмень</a:t>
              </a:r>
              <a:endParaRPr lang="ru-RU" sz="1100" dirty="0">
                <a:effectLst/>
                <a:latin typeface="Times New Roman"/>
                <a:ea typeface="Times New Roman"/>
              </a:endParaRPr>
            </a:p>
            <a:p>
              <a:pPr algn="ctr">
                <a:spcAft>
                  <a:spcPts val="0"/>
                </a:spcAft>
              </a:pPr>
              <a:r>
                <a:rPr lang="ru-RU" sz="600" kern="1200" dirty="0">
                  <a:solidFill>
                    <a:srgbClr val="000000"/>
                  </a:solidFill>
                  <a:effectLst/>
                  <a:latin typeface="Arial"/>
                  <a:ea typeface="Times New Roman"/>
                </a:rPr>
                <a:t>13 объектов</a:t>
              </a:r>
              <a:endParaRPr lang="ru-RU" sz="1100" dirty="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18" name="Прямоугольная выноска 17"/>
            <p:cNvSpPr/>
            <p:nvPr/>
          </p:nvSpPr>
          <p:spPr>
            <a:xfrm>
              <a:off x="7618318" y="1531177"/>
              <a:ext cx="900342" cy="358110"/>
            </a:xfrm>
            <a:prstGeom prst="wedgeRectCallout">
              <a:avLst>
                <a:gd name="adj1" fmla="val 51701"/>
                <a:gd name="adj2" fmla="val -83177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0"/>
                </a:spcAft>
              </a:pPr>
              <a:r>
                <a:rPr lang="ru-RU" sz="600" kern="1200">
                  <a:solidFill>
                    <a:srgbClr val="000000"/>
                  </a:solidFill>
                  <a:effectLst/>
                  <a:latin typeface="Arial"/>
                  <a:ea typeface="Times New Roman"/>
                </a:rPr>
                <a:t>г. Тобольск</a:t>
              </a:r>
              <a:endParaRPr lang="ru-RU" sz="1100">
                <a:effectLst/>
                <a:latin typeface="Times New Roman"/>
                <a:ea typeface="Times New Roman"/>
              </a:endParaRPr>
            </a:p>
            <a:p>
              <a:pPr algn="ctr">
                <a:spcAft>
                  <a:spcPts val="0"/>
                </a:spcAft>
              </a:pPr>
              <a:r>
                <a:rPr lang="ru-RU" sz="600" kern="1200">
                  <a:solidFill>
                    <a:srgbClr val="000000"/>
                  </a:solidFill>
                  <a:effectLst/>
                  <a:latin typeface="Arial"/>
                  <a:ea typeface="Times New Roman"/>
                </a:rPr>
                <a:t>4 объекта</a:t>
              </a:r>
              <a:endParaRPr lang="ru-RU" sz="1100">
                <a:effectLst/>
                <a:latin typeface="Times New Roman"/>
                <a:ea typeface="Times New Roman"/>
              </a:endParaRPr>
            </a:p>
          </p:txBody>
        </p:sp>
        <p:sp>
          <p:nvSpPr>
            <p:cNvPr id="19" name="Прямоугольная выноска 18"/>
            <p:cNvSpPr/>
            <p:nvPr/>
          </p:nvSpPr>
          <p:spPr>
            <a:xfrm>
              <a:off x="7511450" y="3727927"/>
              <a:ext cx="1007210" cy="453105"/>
            </a:xfrm>
            <a:prstGeom prst="wedgeRectCallout">
              <a:avLst>
                <a:gd name="adj1" fmla="val -49847"/>
                <a:gd name="adj2" fmla="val 80710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spcAft>
                  <a:spcPts val="0"/>
                </a:spcAft>
              </a:pPr>
              <a:r>
                <a:rPr lang="ru-RU" sz="600" kern="1200">
                  <a:solidFill>
                    <a:srgbClr val="000000"/>
                  </a:solidFill>
                  <a:effectLst/>
                  <a:latin typeface="Arial"/>
                  <a:ea typeface="Times New Roman"/>
                </a:rPr>
                <a:t>Тюменская обл., Омутинский р-н</a:t>
              </a:r>
              <a:endParaRPr lang="ru-RU" sz="1100">
                <a:effectLst/>
                <a:latin typeface="Times New Roman"/>
                <a:ea typeface="Times New Roman"/>
              </a:endParaRPr>
            </a:p>
            <a:p>
              <a:pPr algn="ctr">
                <a:spcAft>
                  <a:spcPts val="0"/>
                </a:spcAft>
              </a:pPr>
              <a:r>
                <a:rPr lang="ru-RU" sz="600" kern="1200">
                  <a:solidFill>
                    <a:srgbClr val="000000"/>
                  </a:solidFill>
                  <a:effectLst/>
                  <a:latin typeface="Arial"/>
                  <a:ea typeface="Times New Roman"/>
                </a:rPr>
                <a:t>1 объект</a:t>
              </a:r>
              <a:endParaRPr lang="ru-RU" sz="1100">
                <a:effectLst/>
                <a:latin typeface="Times New Roman"/>
                <a:ea typeface="Times New Roman"/>
              </a:endParaRPr>
            </a:p>
          </p:txBody>
        </p:sp>
      </p:grpSp>
      <p:pic>
        <p:nvPicPr>
          <p:cNvPr id="20" name="Picture 2" descr="C:\Users\aakorjukina\Desktop\Фото НОвый Поток\фото азс\азс 5\09-001-06 (3)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67774" y="4013500"/>
            <a:ext cx="1960210" cy="1490405"/>
          </a:xfrm>
          <a:prstGeom prst="rect">
            <a:avLst/>
          </a:prstGeom>
          <a:noFill/>
        </p:spPr>
      </p:pic>
      <p:pic>
        <p:nvPicPr>
          <p:cNvPr id="21" name="Picture 2" descr="C:\Users\aakorjukina\Desktop\2018\Нефтегазстройсервис\Фото заправок (с проверки)\17 тобольск 246км. +300м. тюмень хант\IMG_20180117_123148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32240" y="4013501"/>
            <a:ext cx="1879912" cy="149040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37916589"/>
      </p:ext>
    </p:extLst>
  </p:cSld>
  <p:clrMapOvr>
    <a:masterClrMapping/>
  </p:clrMapOvr>
  <p:transition spd="slow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ext Box 1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69013" y="3527425"/>
            <a:ext cx="188912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96" tIns="46648" rIns="93296" bIns="46648">
            <a:spAutoFit/>
          </a:bodyPr>
          <a:lstStyle>
            <a:lvl1pPr eaLnBrk="0" hangingPunct="0">
              <a:spcBef>
                <a:spcPct val="20000"/>
              </a:spcBef>
              <a:buBlip>
                <a:blip r:embed="rId102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ru-RU" altLang="ru-RU" sz="1800">
              <a:solidFill>
                <a:srgbClr val="000000"/>
              </a:solidFill>
              <a:cs typeface="+mn-cs"/>
            </a:endParaRPr>
          </a:p>
        </p:txBody>
      </p:sp>
      <p:sp>
        <p:nvSpPr>
          <p:cNvPr id="22533" name="Text Box 27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181975" y="4522788"/>
            <a:ext cx="188913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96" tIns="46648" rIns="93296" bIns="46648">
            <a:spAutoFit/>
          </a:bodyPr>
          <a:lstStyle>
            <a:lvl1pPr eaLnBrk="0" hangingPunct="0">
              <a:spcBef>
                <a:spcPct val="20000"/>
              </a:spcBef>
              <a:buBlip>
                <a:blip r:embed="rId102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ru-RU" altLang="ru-RU" sz="1800">
              <a:solidFill>
                <a:srgbClr val="000000"/>
              </a:solidFill>
              <a:cs typeface="+mn-cs"/>
            </a:endParaRPr>
          </a:p>
        </p:txBody>
      </p:sp>
      <p:sp>
        <p:nvSpPr>
          <p:cNvPr id="22534" name="Text Box 11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285038" y="4957763"/>
            <a:ext cx="188912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3296" tIns="46648" rIns="93296" bIns="46648">
            <a:spAutoFit/>
          </a:bodyPr>
          <a:lstStyle>
            <a:lvl1pPr eaLnBrk="0" hangingPunct="0">
              <a:spcBef>
                <a:spcPct val="20000"/>
              </a:spcBef>
              <a:buBlip>
                <a:blip r:embed="rId102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ru-RU" altLang="ru-RU" sz="1800">
              <a:solidFill>
                <a:srgbClr val="000000"/>
              </a:solidFill>
              <a:cs typeface="+mn-cs"/>
            </a:endParaRPr>
          </a:p>
        </p:txBody>
      </p:sp>
      <p:grpSp>
        <p:nvGrpSpPr>
          <p:cNvPr id="36870" name="Группа 6273"/>
          <p:cNvGrpSpPr>
            <a:grpSpLocks/>
          </p:cNvGrpSpPr>
          <p:nvPr/>
        </p:nvGrpSpPr>
        <p:grpSpPr bwMode="auto">
          <a:xfrm>
            <a:off x="219642" y="933450"/>
            <a:ext cx="4972050" cy="2406650"/>
            <a:chOff x="311150" y="1023054"/>
            <a:chExt cx="4972050" cy="2405946"/>
          </a:xfrm>
        </p:grpSpPr>
        <p:grpSp>
          <p:nvGrpSpPr>
            <p:cNvPr id="36880" name="Group 94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311150" y="1023054"/>
              <a:ext cx="4972050" cy="2405946"/>
              <a:chOff x="1050555" y="1119243"/>
              <a:chExt cx="7030829" cy="3529665"/>
            </a:xfrm>
          </p:grpSpPr>
          <p:sp>
            <p:nvSpPr>
              <p:cNvPr id="927" name="Freeform 59"/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 rot="-459984">
                <a:off x="2323378" y="2304336"/>
                <a:ext cx="374887" cy="433059"/>
              </a:xfrm>
              <a:custGeom>
                <a:avLst/>
                <a:gdLst>
                  <a:gd name="T0" fmla="*/ 2147483647 w 266"/>
                  <a:gd name="T1" fmla="*/ 2147483647 h 324"/>
                  <a:gd name="T2" fmla="*/ 2147483647 w 266"/>
                  <a:gd name="T3" fmla="*/ 2147483647 h 324"/>
                  <a:gd name="T4" fmla="*/ 2147483647 w 266"/>
                  <a:gd name="T5" fmla="*/ 2147483647 h 324"/>
                  <a:gd name="T6" fmla="*/ 2147483647 w 266"/>
                  <a:gd name="T7" fmla="*/ 2147483647 h 324"/>
                  <a:gd name="T8" fmla="*/ 2147483647 w 266"/>
                  <a:gd name="T9" fmla="*/ 2147483647 h 324"/>
                  <a:gd name="T10" fmla="*/ 2147483647 w 266"/>
                  <a:gd name="T11" fmla="*/ 2147483647 h 324"/>
                  <a:gd name="T12" fmla="*/ 2147483647 w 266"/>
                  <a:gd name="T13" fmla="*/ 2147483647 h 324"/>
                  <a:gd name="T14" fmla="*/ 2147483647 w 266"/>
                  <a:gd name="T15" fmla="*/ 2147483647 h 324"/>
                  <a:gd name="T16" fmla="*/ 2147483647 w 266"/>
                  <a:gd name="T17" fmla="*/ 2147483647 h 324"/>
                  <a:gd name="T18" fmla="*/ 2147483647 w 266"/>
                  <a:gd name="T19" fmla="*/ 2147483647 h 324"/>
                  <a:gd name="T20" fmla="*/ 2147483647 w 266"/>
                  <a:gd name="T21" fmla="*/ 2147483647 h 324"/>
                  <a:gd name="T22" fmla="*/ 2147483647 w 266"/>
                  <a:gd name="T23" fmla="*/ 2147483647 h 324"/>
                  <a:gd name="T24" fmla="*/ 2147483647 w 266"/>
                  <a:gd name="T25" fmla="*/ 2147483647 h 324"/>
                  <a:gd name="T26" fmla="*/ 2147483647 w 266"/>
                  <a:gd name="T27" fmla="*/ 2147483647 h 324"/>
                  <a:gd name="T28" fmla="*/ 2147483647 w 266"/>
                  <a:gd name="T29" fmla="*/ 2147483647 h 324"/>
                  <a:gd name="T30" fmla="*/ 2147483647 w 266"/>
                  <a:gd name="T31" fmla="*/ 2147483647 h 324"/>
                  <a:gd name="T32" fmla="*/ 2147483647 w 266"/>
                  <a:gd name="T33" fmla="*/ 2147483647 h 324"/>
                  <a:gd name="T34" fmla="*/ 2147483647 w 266"/>
                  <a:gd name="T35" fmla="*/ 2147483647 h 324"/>
                  <a:gd name="T36" fmla="*/ 2147483647 w 266"/>
                  <a:gd name="T37" fmla="*/ 2147483647 h 324"/>
                  <a:gd name="T38" fmla="*/ 2147483647 w 266"/>
                  <a:gd name="T39" fmla="*/ 2147483647 h 324"/>
                  <a:gd name="T40" fmla="*/ 2147483647 w 266"/>
                  <a:gd name="T41" fmla="*/ 2147483647 h 324"/>
                  <a:gd name="T42" fmla="*/ 2147483647 w 266"/>
                  <a:gd name="T43" fmla="*/ 2147483647 h 324"/>
                  <a:gd name="T44" fmla="*/ 2147483647 w 266"/>
                  <a:gd name="T45" fmla="*/ 2147483647 h 324"/>
                  <a:gd name="T46" fmla="*/ 2147483647 w 266"/>
                  <a:gd name="T47" fmla="*/ 2147483647 h 324"/>
                  <a:gd name="T48" fmla="*/ 2147483647 w 266"/>
                  <a:gd name="T49" fmla="*/ 2147483647 h 324"/>
                  <a:gd name="T50" fmla="*/ 2147483647 w 266"/>
                  <a:gd name="T51" fmla="*/ 2147483647 h 324"/>
                  <a:gd name="T52" fmla="*/ 2147483647 w 266"/>
                  <a:gd name="T53" fmla="*/ 2147483647 h 324"/>
                  <a:gd name="T54" fmla="*/ 2147483647 w 266"/>
                  <a:gd name="T55" fmla="*/ 2147483647 h 324"/>
                  <a:gd name="T56" fmla="*/ 2147483647 w 266"/>
                  <a:gd name="T57" fmla="*/ 2147483647 h 324"/>
                  <a:gd name="T58" fmla="*/ 2147483647 w 266"/>
                  <a:gd name="T59" fmla="*/ 2147483647 h 324"/>
                  <a:gd name="T60" fmla="*/ 2147483647 w 266"/>
                  <a:gd name="T61" fmla="*/ 2147483647 h 324"/>
                  <a:gd name="T62" fmla="*/ 2147483647 w 266"/>
                  <a:gd name="T63" fmla="*/ 2147483647 h 324"/>
                  <a:gd name="T64" fmla="*/ 2147483647 w 266"/>
                  <a:gd name="T65" fmla="*/ 2147483647 h 324"/>
                  <a:gd name="T66" fmla="*/ 2147483647 w 266"/>
                  <a:gd name="T67" fmla="*/ 2147483647 h 324"/>
                  <a:gd name="T68" fmla="*/ 2147483647 w 266"/>
                  <a:gd name="T69" fmla="*/ 2147483647 h 324"/>
                  <a:gd name="T70" fmla="*/ 2147483647 w 266"/>
                  <a:gd name="T71" fmla="*/ 2147483647 h 324"/>
                  <a:gd name="T72" fmla="*/ 2147483647 w 266"/>
                  <a:gd name="T73" fmla="*/ 2147483647 h 324"/>
                  <a:gd name="T74" fmla="*/ 2147483647 w 266"/>
                  <a:gd name="T75" fmla="*/ 2147483647 h 324"/>
                  <a:gd name="T76" fmla="*/ 2147483647 w 266"/>
                  <a:gd name="T77" fmla="*/ 2147483647 h 324"/>
                  <a:gd name="T78" fmla="*/ 2147483647 w 266"/>
                  <a:gd name="T79" fmla="*/ 2147483647 h 324"/>
                  <a:gd name="T80" fmla="*/ 2147483647 w 266"/>
                  <a:gd name="T81" fmla="*/ 2147483647 h 324"/>
                  <a:gd name="T82" fmla="*/ 2147483647 w 266"/>
                  <a:gd name="T83" fmla="*/ 2147483647 h 324"/>
                  <a:gd name="T84" fmla="*/ 2147483647 w 266"/>
                  <a:gd name="T85" fmla="*/ 2147483647 h 324"/>
                  <a:gd name="T86" fmla="*/ 2147483647 w 266"/>
                  <a:gd name="T87" fmla="*/ 2147483647 h 324"/>
                  <a:gd name="T88" fmla="*/ 2147483647 w 266"/>
                  <a:gd name="T89" fmla="*/ 2147483647 h 324"/>
                  <a:gd name="T90" fmla="*/ 2147483647 w 266"/>
                  <a:gd name="T91" fmla="*/ 2147483647 h 324"/>
                  <a:gd name="T92" fmla="*/ 2147483647 w 266"/>
                  <a:gd name="T93" fmla="*/ 2147483647 h 324"/>
                  <a:gd name="T94" fmla="*/ 2147483647 w 266"/>
                  <a:gd name="T95" fmla="*/ 2147483647 h 324"/>
                  <a:gd name="T96" fmla="*/ 2147483647 w 266"/>
                  <a:gd name="T97" fmla="*/ 2147483647 h 324"/>
                  <a:gd name="T98" fmla="*/ 2147483647 w 266"/>
                  <a:gd name="T99" fmla="*/ 2147483647 h 324"/>
                  <a:gd name="T100" fmla="*/ 2147483647 w 266"/>
                  <a:gd name="T101" fmla="*/ 2147483647 h 324"/>
                  <a:gd name="T102" fmla="*/ 2147483647 w 266"/>
                  <a:gd name="T103" fmla="*/ 2147483647 h 324"/>
                  <a:gd name="T104" fmla="*/ 2147483647 w 266"/>
                  <a:gd name="T105" fmla="*/ 2147483647 h 324"/>
                  <a:gd name="T106" fmla="*/ 2147483647 w 266"/>
                  <a:gd name="T107" fmla="*/ 2147483647 h 324"/>
                  <a:gd name="T108" fmla="*/ 2147483647 w 266"/>
                  <a:gd name="T109" fmla="*/ 2147483647 h 324"/>
                  <a:gd name="T110" fmla="*/ 2147483647 w 266"/>
                  <a:gd name="T111" fmla="*/ 2147483647 h 324"/>
                  <a:gd name="T112" fmla="*/ 2147483647 w 266"/>
                  <a:gd name="T113" fmla="*/ 2147483647 h 324"/>
                  <a:gd name="T114" fmla="*/ 2147483647 w 266"/>
                  <a:gd name="T115" fmla="*/ 2147483647 h 324"/>
                  <a:gd name="T116" fmla="*/ 2147483647 w 266"/>
                  <a:gd name="T117" fmla="*/ 2147483647 h 32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66"/>
                  <a:gd name="T178" fmla="*/ 0 h 324"/>
                  <a:gd name="T179" fmla="*/ 266 w 266"/>
                  <a:gd name="T180" fmla="*/ 324 h 32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66" h="324">
                    <a:moveTo>
                      <a:pt x="0" y="97"/>
                    </a:moveTo>
                    <a:lnTo>
                      <a:pt x="4" y="97"/>
                    </a:lnTo>
                    <a:lnTo>
                      <a:pt x="4" y="93"/>
                    </a:lnTo>
                    <a:lnTo>
                      <a:pt x="8" y="89"/>
                    </a:lnTo>
                    <a:lnTo>
                      <a:pt x="10" y="86"/>
                    </a:lnTo>
                    <a:lnTo>
                      <a:pt x="14" y="86"/>
                    </a:lnTo>
                    <a:lnTo>
                      <a:pt x="18" y="86"/>
                    </a:lnTo>
                    <a:lnTo>
                      <a:pt x="20" y="82"/>
                    </a:lnTo>
                    <a:lnTo>
                      <a:pt x="22" y="78"/>
                    </a:lnTo>
                    <a:lnTo>
                      <a:pt x="28" y="78"/>
                    </a:lnTo>
                    <a:lnTo>
                      <a:pt x="32" y="80"/>
                    </a:lnTo>
                    <a:lnTo>
                      <a:pt x="36" y="80"/>
                    </a:lnTo>
                    <a:lnTo>
                      <a:pt x="40" y="78"/>
                    </a:lnTo>
                    <a:lnTo>
                      <a:pt x="44" y="77"/>
                    </a:lnTo>
                    <a:lnTo>
                      <a:pt x="48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8"/>
                    </a:lnTo>
                    <a:lnTo>
                      <a:pt x="68" y="77"/>
                    </a:lnTo>
                    <a:lnTo>
                      <a:pt x="72" y="75"/>
                    </a:lnTo>
                    <a:lnTo>
                      <a:pt x="76" y="73"/>
                    </a:lnTo>
                    <a:lnTo>
                      <a:pt x="78" y="69"/>
                    </a:lnTo>
                    <a:lnTo>
                      <a:pt x="80" y="66"/>
                    </a:lnTo>
                    <a:lnTo>
                      <a:pt x="76" y="62"/>
                    </a:lnTo>
                    <a:lnTo>
                      <a:pt x="78" y="58"/>
                    </a:lnTo>
                    <a:lnTo>
                      <a:pt x="82" y="58"/>
                    </a:lnTo>
                    <a:lnTo>
                      <a:pt x="86" y="57"/>
                    </a:lnTo>
                    <a:lnTo>
                      <a:pt x="88" y="53"/>
                    </a:lnTo>
                    <a:lnTo>
                      <a:pt x="88" y="49"/>
                    </a:lnTo>
                    <a:lnTo>
                      <a:pt x="84" y="47"/>
                    </a:lnTo>
                    <a:lnTo>
                      <a:pt x="82" y="44"/>
                    </a:lnTo>
                    <a:lnTo>
                      <a:pt x="82" y="40"/>
                    </a:lnTo>
                    <a:lnTo>
                      <a:pt x="82" y="37"/>
                    </a:lnTo>
                    <a:lnTo>
                      <a:pt x="86" y="35"/>
                    </a:lnTo>
                    <a:lnTo>
                      <a:pt x="90" y="33"/>
                    </a:lnTo>
                    <a:lnTo>
                      <a:pt x="90" y="29"/>
                    </a:lnTo>
                    <a:lnTo>
                      <a:pt x="92" y="26"/>
                    </a:lnTo>
                    <a:lnTo>
                      <a:pt x="90" y="22"/>
                    </a:lnTo>
                    <a:lnTo>
                      <a:pt x="94" y="20"/>
                    </a:lnTo>
                    <a:lnTo>
                      <a:pt x="98" y="18"/>
                    </a:lnTo>
                    <a:lnTo>
                      <a:pt x="102" y="18"/>
                    </a:lnTo>
                    <a:lnTo>
                      <a:pt x="104" y="15"/>
                    </a:lnTo>
                    <a:lnTo>
                      <a:pt x="104" y="11"/>
                    </a:lnTo>
                    <a:lnTo>
                      <a:pt x="108" y="9"/>
                    </a:lnTo>
                    <a:lnTo>
                      <a:pt x="112" y="9"/>
                    </a:lnTo>
                    <a:lnTo>
                      <a:pt x="116" y="11"/>
                    </a:lnTo>
                    <a:lnTo>
                      <a:pt x="120" y="9"/>
                    </a:lnTo>
                    <a:lnTo>
                      <a:pt x="124" y="7"/>
                    </a:lnTo>
                    <a:lnTo>
                      <a:pt x="126" y="4"/>
                    </a:lnTo>
                    <a:lnTo>
                      <a:pt x="130" y="0"/>
                    </a:lnTo>
                    <a:lnTo>
                      <a:pt x="133" y="2"/>
                    </a:lnTo>
                    <a:lnTo>
                      <a:pt x="137" y="5"/>
                    </a:lnTo>
                    <a:lnTo>
                      <a:pt x="141" y="7"/>
                    </a:lnTo>
                    <a:lnTo>
                      <a:pt x="145" y="7"/>
                    </a:lnTo>
                    <a:lnTo>
                      <a:pt x="149" y="5"/>
                    </a:lnTo>
                    <a:lnTo>
                      <a:pt x="153" y="4"/>
                    </a:lnTo>
                    <a:lnTo>
                      <a:pt x="157" y="2"/>
                    </a:lnTo>
                    <a:lnTo>
                      <a:pt x="161" y="4"/>
                    </a:lnTo>
                    <a:lnTo>
                      <a:pt x="165" y="4"/>
                    </a:lnTo>
                    <a:lnTo>
                      <a:pt x="165" y="7"/>
                    </a:lnTo>
                    <a:lnTo>
                      <a:pt x="169" y="7"/>
                    </a:lnTo>
                    <a:lnTo>
                      <a:pt x="173" y="7"/>
                    </a:lnTo>
                    <a:lnTo>
                      <a:pt x="177" y="7"/>
                    </a:lnTo>
                    <a:lnTo>
                      <a:pt x="181" y="7"/>
                    </a:lnTo>
                    <a:lnTo>
                      <a:pt x="185" y="5"/>
                    </a:lnTo>
                    <a:lnTo>
                      <a:pt x="189" y="5"/>
                    </a:lnTo>
                    <a:lnTo>
                      <a:pt x="191" y="9"/>
                    </a:lnTo>
                    <a:lnTo>
                      <a:pt x="193" y="13"/>
                    </a:lnTo>
                    <a:lnTo>
                      <a:pt x="195" y="16"/>
                    </a:lnTo>
                    <a:lnTo>
                      <a:pt x="199" y="18"/>
                    </a:lnTo>
                    <a:lnTo>
                      <a:pt x="201" y="22"/>
                    </a:lnTo>
                    <a:lnTo>
                      <a:pt x="205" y="18"/>
                    </a:lnTo>
                    <a:lnTo>
                      <a:pt x="207" y="15"/>
                    </a:lnTo>
                    <a:lnTo>
                      <a:pt x="207" y="11"/>
                    </a:lnTo>
                    <a:lnTo>
                      <a:pt x="209" y="7"/>
                    </a:lnTo>
                    <a:lnTo>
                      <a:pt x="211" y="11"/>
                    </a:lnTo>
                    <a:lnTo>
                      <a:pt x="213" y="15"/>
                    </a:lnTo>
                    <a:lnTo>
                      <a:pt x="213" y="18"/>
                    </a:lnTo>
                    <a:lnTo>
                      <a:pt x="215" y="22"/>
                    </a:lnTo>
                    <a:lnTo>
                      <a:pt x="217" y="26"/>
                    </a:lnTo>
                    <a:lnTo>
                      <a:pt x="221" y="29"/>
                    </a:lnTo>
                    <a:lnTo>
                      <a:pt x="225" y="29"/>
                    </a:lnTo>
                    <a:lnTo>
                      <a:pt x="229" y="27"/>
                    </a:lnTo>
                    <a:lnTo>
                      <a:pt x="233" y="24"/>
                    </a:lnTo>
                    <a:lnTo>
                      <a:pt x="239" y="27"/>
                    </a:lnTo>
                    <a:lnTo>
                      <a:pt x="239" y="31"/>
                    </a:lnTo>
                    <a:lnTo>
                      <a:pt x="239" y="35"/>
                    </a:lnTo>
                    <a:lnTo>
                      <a:pt x="239" y="38"/>
                    </a:lnTo>
                    <a:lnTo>
                      <a:pt x="243" y="42"/>
                    </a:lnTo>
                    <a:lnTo>
                      <a:pt x="245" y="46"/>
                    </a:lnTo>
                    <a:lnTo>
                      <a:pt x="243" y="49"/>
                    </a:lnTo>
                    <a:lnTo>
                      <a:pt x="241" y="53"/>
                    </a:lnTo>
                    <a:lnTo>
                      <a:pt x="239" y="57"/>
                    </a:lnTo>
                    <a:lnTo>
                      <a:pt x="235" y="58"/>
                    </a:lnTo>
                    <a:lnTo>
                      <a:pt x="231" y="58"/>
                    </a:lnTo>
                    <a:lnTo>
                      <a:pt x="227" y="58"/>
                    </a:lnTo>
                    <a:lnTo>
                      <a:pt x="227" y="55"/>
                    </a:lnTo>
                    <a:lnTo>
                      <a:pt x="227" y="51"/>
                    </a:lnTo>
                    <a:lnTo>
                      <a:pt x="227" y="47"/>
                    </a:lnTo>
                    <a:lnTo>
                      <a:pt x="223" y="46"/>
                    </a:lnTo>
                    <a:lnTo>
                      <a:pt x="221" y="49"/>
                    </a:lnTo>
                    <a:lnTo>
                      <a:pt x="221" y="53"/>
                    </a:lnTo>
                    <a:lnTo>
                      <a:pt x="223" y="57"/>
                    </a:lnTo>
                    <a:lnTo>
                      <a:pt x="223" y="60"/>
                    </a:lnTo>
                    <a:lnTo>
                      <a:pt x="223" y="64"/>
                    </a:lnTo>
                    <a:lnTo>
                      <a:pt x="223" y="68"/>
                    </a:lnTo>
                    <a:lnTo>
                      <a:pt x="223" y="71"/>
                    </a:lnTo>
                    <a:lnTo>
                      <a:pt x="223" y="75"/>
                    </a:lnTo>
                    <a:lnTo>
                      <a:pt x="227" y="75"/>
                    </a:lnTo>
                    <a:lnTo>
                      <a:pt x="229" y="78"/>
                    </a:lnTo>
                    <a:lnTo>
                      <a:pt x="229" y="82"/>
                    </a:lnTo>
                    <a:lnTo>
                      <a:pt x="229" y="86"/>
                    </a:lnTo>
                    <a:lnTo>
                      <a:pt x="229" y="89"/>
                    </a:lnTo>
                    <a:lnTo>
                      <a:pt x="231" y="93"/>
                    </a:lnTo>
                    <a:lnTo>
                      <a:pt x="233" y="97"/>
                    </a:lnTo>
                    <a:lnTo>
                      <a:pt x="233" y="100"/>
                    </a:lnTo>
                    <a:lnTo>
                      <a:pt x="235" y="104"/>
                    </a:lnTo>
                    <a:lnTo>
                      <a:pt x="235" y="108"/>
                    </a:lnTo>
                    <a:lnTo>
                      <a:pt x="237" y="111"/>
                    </a:lnTo>
                    <a:lnTo>
                      <a:pt x="241" y="111"/>
                    </a:lnTo>
                    <a:lnTo>
                      <a:pt x="245" y="111"/>
                    </a:lnTo>
                    <a:lnTo>
                      <a:pt x="249" y="111"/>
                    </a:lnTo>
                    <a:lnTo>
                      <a:pt x="253" y="115"/>
                    </a:lnTo>
                    <a:lnTo>
                      <a:pt x="253" y="119"/>
                    </a:lnTo>
                    <a:lnTo>
                      <a:pt x="251" y="122"/>
                    </a:lnTo>
                    <a:lnTo>
                      <a:pt x="253" y="126"/>
                    </a:lnTo>
                    <a:lnTo>
                      <a:pt x="253" y="130"/>
                    </a:lnTo>
                    <a:lnTo>
                      <a:pt x="255" y="133"/>
                    </a:lnTo>
                    <a:lnTo>
                      <a:pt x="253" y="137"/>
                    </a:lnTo>
                    <a:lnTo>
                      <a:pt x="253" y="141"/>
                    </a:lnTo>
                    <a:lnTo>
                      <a:pt x="253" y="144"/>
                    </a:lnTo>
                    <a:lnTo>
                      <a:pt x="255" y="150"/>
                    </a:lnTo>
                    <a:lnTo>
                      <a:pt x="255" y="153"/>
                    </a:lnTo>
                    <a:lnTo>
                      <a:pt x="255" y="157"/>
                    </a:lnTo>
                    <a:lnTo>
                      <a:pt x="255" y="161"/>
                    </a:lnTo>
                    <a:lnTo>
                      <a:pt x="255" y="164"/>
                    </a:lnTo>
                    <a:lnTo>
                      <a:pt x="255" y="168"/>
                    </a:lnTo>
                    <a:lnTo>
                      <a:pt x="255" y="172"/>
                    </a:lnTo>
                    <a:lnTo>
                      <a:pt x="255" y="177"/>
                    </a:lnTo>
                    <a:lnTo>
                      <a:pt x="253" y="181"/>
                    </a:lnTo>
                    <a:lnTo>
                      <a:pt x="253" y="184"/>
                    </a:lnTo>
                    <a:lnTo>
                      <a:pt x="253" y="188"/>
                    </a:lnTo>
                    <a:lnTo>
                      <a:pt x="251" y="192"/>
                    </a:lnTo>
                    <a:lnTo>
                      <a:pt x="251" y="195"/>
                    </a:lnTo>
                    <a:lnTo>
                      <a:pt x="251" y="201"/>
                    </a:lnTo>
                    <a:lnTo>
                      <a:pt x="251" y="204"/>
                    </a:lnTo>
                    <a:lnTo>
                      <a:pt x="253" y="208"/>
                    </a:lnTo>
                    <a:lnTo>
                      <a:pt x="253" y="212"/>
                    </a:lnTo>
                    <a:lnTo>
                      <a:pt x="253" y="215"/>
                    </a:lnTo>
                    <a:lnTo>
                      <a:pt x="253" y="219"/>
                    </a:lnTo>
                    <a:lnTo>
                      <a:pt x="257" y="221"/>
                    </a:lnTo>
                    <a:lnTo>
                      <a:pt x="263" y="225"/>
                    </a:lnTo>
                    <a:lnTo>
                      <a:pt x="265" y="228"/>
                    </a:lnTo>
                    <a:lnTo>
                      <a:pt x="265" y="232"/>
                    </a:lnTo>
                    <a:lnTo>
                      <a:pt x="265" y="235"/>
                    </a:lnTo>
                    <a:lnTo>
                      <a:pt x="265" y="239"/>
                    </a:lnTo>
                    <a:lnTo>
                      <a:pt x="263" y="243"/>
                    </a:lnTo>
                    <a:lnTo>
                      <a:pt x="263" y="246"/>
                    </a:lnTo>
                    <a:lnTo>
                      <a:pt x="263" y="250"/>
                    </a:lnTo>
                    <a:lnTo>
                      <a:pt x="263" y="254"/>
                    </a:lnTo>
                    <a:lnTo>
                      <a:pt x="263" y="257"/>
                    </a:lnTo>
                    <a:lnTo>
                      <a:pt x="263" y="261"/>
                    </a:lnTo>
                    <a:lnTo>
                      <a:pt x="263" y="265"/>
                    </a:lnTo>
                    <a:lnTo>
                      <a:pt x="263" y="268"/>
                    </a:lnTo>
                    <a:lnTo>
                      <a:pt x="261" y="272"/>
                    </a:lnTo>
                    <a:lnTo>
                      <a:pt x="261" y="276"/>
                    </a:lnTo>
                    <a:lnTo>
                      <a:pt x="261" y="279"/>
                    </a:lnTo>
                    <a:lnTo>
                      <a:pt x="259" y="283"/>
                    </a:lnTo>
                    <a:lnTo>
                      <a:pt x="257" y="287"/>
                    </a:lnTo>
                    <a:lnTo>
                      <a:pt x="253" y="288"/>
                    </a:lnTo>
                    <a:lnTo>
                      <a:pt x="249" y="290"/>
                    </a:lnTo>
                    <a:lnTo>
                      <a:pt x="245" y="294"/>
                    </a:lnTo>
                    <a:lnTo>
                      <a:pt x="243" y="298"/>
                    </a:lnTo>
                    <a:lnTo>
                      <a:pt x="241" y="301"/>
                    </a:lnTo>
                    <a:lnTo>
                      <a:pt x="241" y="305"/>
                    </a:lnTo>
                    <a:lnTo>
                      <a:pt x="241" y="308"/>
                    </a:lnTo>
                    <a:lnTo>
                      <a:pt x="239" y="312"/>
                    </a:lnTo>
                    <a:lnTo>
                      <a:pt x="235" y="314"/>
                    </a:lnTo>
                    <a:lnTo>
                      <a:pt x="231" y="316"/>
                    </a:lnTo>
                    <a:lnTo>
                      <a:pt x="227" y="318"/>
                    </a:lnTo>
                    <a:lnTo>
                      <a:pt x="223" y="319"/>
                    </a:lnTo>
                    <a:lnTo>
                      <a:pt x="219" y="319"/>
                    </a:lnTo>
                    <a:lnTo>
                      <a:pt x="215" y="319"/>
                    </a:lnTo>
                    <a:lnTo>
                      <a:pt x="211" y="319"/>
                    </a:lnTo>
                    <a:lnTo>
                      <a:pt x="207" y="318"/>
                    </a:lnTo>
                    <a:lnTo>
                      <a:pt x="203" y="318"/>
                    </a:lnTo>
                    <a:lnTo>
                      <a:pt x="199" y="319"/>
                    </a:lnTo>
                    <a:lnTo>
                      <a:pt x="195" y="319"/>
                    </a:lnTo>
                    <a:lnTo>
                      <a:pt x="191" y="321"/>
                    </a:lnTo>
                    <a:lnTo>
                      <a:pt x="187" y="323"/>
                    </a:lnTo>
                    <a:lnTo>
                      <a:pt x="183" y="323"/>
                    </a:lnTo>
                    <a:lnTo>
                      <a:pt x="179" y="323"/>
                    </a:lnTo>
                    <a:lnTo>
                      <a:pt x="175" y="323"/>
                    </a:lnTo>
                    <a:lnTo>
                      <a:pt x="171" y="323"/>
                    </a:lnTo>
                    <a:lnTo>
                      <a:pt x="167" y="321"/>
                    </a:lnTo>
                    <a:lnTo>
                      <a:pt x="163" y="319"/>
                    </a:lnTo>
                    <a:lnTo>
                      <a:pt x="159" y="316"/>
                    </a:lnTo>
                    <a:lnTo>
                      <a:pt x="155" y="314"/>
                    </a:lnTo>
                    <a:lnTo>
                      <a:pt x="151" y="314"/>
                    </a:lnTo>
                    <a:lnTo>
                      <a:pt x="147" y="312"/>
                    </a:lnTo>
                    <a:lnTo>
                      <a:pt x="143" y="310"/>
                    </a:lnTo>
                    <a:lnTo>
                      <a:pt x="141" y="307"/>
                    </a:lnTo>
                    <a:lnTo>
                      <a:pt x="137" y="305"/>
                    </a:lnTo>
                    <a:lnTo>
                      <a:pt x="133" y="301"/>
                    </a:lnTo>
                    <a:lnTo>
                      <a:pt x="130" y="301"/>
                    </a:lnTo>
                    <a:lnTo>
                      <a:pt x="124" y="299"/>
                    </a:lnTo>
                    <a:lnTo>
                      <a:pt x="120" y="298"/>
                    </a:lnTo>
                    <a:lnTo>
                      <a:pt x="120" y="292"/>
                    </a:lnTo>
                    <a:lnTo>
                      <a:pt x="118" y="288"/>
                    </a:lnTo>
                    <a:lnTo>
                      <a:pt x="118" y="285"/>
                    </a:lnTo>
                    <a:lnTo>
                      <a:pt x="116" y="281"/>
                    </a:lnTo>
                    <a:lnTo>
                      <a:pt x="116" y="277"/>
                    </a:lnTo>
                    <a:lnTo>
                      <a:pt x="114" y="274"/>
                    </a:lnTo>
                    <a:lnTo>
                      <a:pt x="114" y="270"/>
                    </a:lnTo>
                    <a:lnTo>
                      <a:pt x="114" y="267"/>
                    </a:lnTo>
                    <a:lnTo>
                      <a:pt x="112" y="263"/>
                    </a:lnTo>
                    <a:lnTo>
                      <a:pt x="110" y="257"/>
                    </a:lnTo>
                    <a:lnTo>
                      <a:pt x="108" y="254"/>
                    </a:lnTo>
                    <a:lnTo>
                      <a:pt x="104" y="252"/>
                    </a:lnTo>
                    <a:lnTo>
                      <a:pt x="100" y="250"/>
                    </a:lnTo>
                    <a:lnTo>
                      <a:pt x="98" y="246"/>
                    </a:lnTo>
                    <a:lnTo>
                      <a:pt x="96" y="243"/>
                    </a:lnTo>
                    <a:lnTo>
                      <a:pt x="96" y="239"/>
                    </a:lnTo>
                    <a:lnTo>
                      <a:pt x="96" y="235"/>
                    </a:lnTo>
                    <a:lnTo>
                      <a:pt x="96" y="232"/>
                    </a:lnTo>
                    <a:lnTo>
                      <a:pt x="96" y="228"/>
                    </a:lnTo>
                    <a:lnTo>
                      <a:pt x="92" y="226"/>
                    </a:lnTo>
                    <a:lnTo>
                      <a:pt x="88" y="225"/>
                    </a:lnTo>
                    <a:lnTo>
                      <a:pt x="88" y="221"/>
                    </a:lnTo>
                    <a:lnTo>
                      <a:pt x="88" y="217"/>
                    </a:lnTo>
                    <a:lnTo>
                      <a:pt x="88" y="214"/>
                    </a:lnTo>
                    <a:lnTo>
                      <a:pt x="92" y="212"/>
                    </a:lnTo>
                    <a:lnTo>
                      <a:pt x="92" y="208"/>
                    </a:lnTo>
                    <a:lnTo>
                      <a:pt x="90" y="204"/>
                    </a:lnTo>
                    <a:lnTo>
                      <a:pt x="90" y="201"/>
                    </a:lnTo>
                    <a:lnTo>
                      <a:pt x="86" y="199"/>
                    </a:lnTo>
                    <a:lnTo>
                      <a:pt x="84" y="195"/>
                    </a:lnTo>
                    <a:lnTo>
                      <a:pt x="84" y="192"/>
                    </a:lnTo>
                    <a:lnTo>
                      <a:pt x="86" y="188"/>
                    </a:lnTo>
                    <a:lnTo>
                      <a:pt x="88" y="184"/>
                    </a:lnTo>
                    <a:lnTo>
                      <a:pt x="84" y="183"/>
                    </a:lnTo>
                    <a:lnTo>
                      <a:pt x="80" y="181"/>
                    </a:lnTo>
                    <a:lnTo>
                      <a:pt x="80" y="177"/>
                    </a:lnTo>
                    <a:lnTo>
                      <a:pt x="80" y="173"/>
                    </a:lnTo>
                    <a:lnTo>
                      <a:pt x="80" y="170"/>
                    </a:lnTo>
                    <a:lnTo>
                      <a:pt x="80" y="166"/>
                    </a:lnTo>
                    <a:lnTo>
                      <a:pt x="82" y="161"/>
                    </a:lnTo>
                    <a:lnTo>
                      <a:pt x="82" y="157"/>
                    </a:lnTo>
                    <a:lnTo>
                      <a:pt x="84" y="153"/>
                    </a:lnTo>
                    <a:lnTo>
                      <a:pt x="84" y="150"/>
                    </a:lnTo>
                    <a:lnTo>
                      <a:pt x="86" y="146"/>
                    </a:lnTo>
                    <a:lnTo>
                      <a:pt x="84" y="142"/>
                    </a:lnTo>
                    <a:lnTo>
                      <a:pt x="80" y="141"/>
                    </a:lnTo>
                    <a:lnTo>
                      <a:pt x="76" y="141"/>
                    </a:lnTo>
                    <a:lnTo>
                      <a:pt x="72" y="142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68" y="153"/>
                    </a:lnTo>
                    <a:lnTo>
                      <a:pt x="64" y="155"/>
                    </a:lnTo>
                    <a:lnTo>
                      <a:pt x="60" y="157"/>
                    </a:lnTo>
                    <a:lnTo>
                      <a:pt x="58" y="161"/>
                    </a:lnTo>
                    <a:lnTo>
                      <a:pt x="60" y="164"/>
                    </a:lnTo>
                    <a:lnTo>
                      <a:pt x="58" y="168"/>
                    </a:lnTo>
                    <a:lnTo>
                      <a:pt x="54" y="170"/>
                    </a:lnTo>
                    <a:lnTo>
                      <a:pt x="50" y="170"/>
                    </a:lnTo>
                    <a:lnTo>
                      <a:pt x="46" y="170"/>
                    </a:lnTo>
                    <a:lnTo>
                      <a:pt x="42" y="170"/>
                    </a:lnTo>
                    <a:lnTo>
                      <a:pt x="38" y="170"/>
                    </a:lnTo>
                    <a:lnTo>
                      <a:pt x="34" y="170"/>
                    </a:lnTo>
                    <a:lnTo>
                      <a:pt x="30" y="170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28" y="159"/>
                    </a:lnTo>
                    <a:lnTo>
                      <a:pt x="28" y="155"/>
                    </a:lnTo>
                    <a:lnTo>
                      <a:pt x="30" y="152"/>
                    </a:lnTo>
                    <a:lnTo>
                      <a:pt x="30" y="148"/>
                    </a:lnTo>
                    <a:lnTo>
                      <a:pt x="32" y="144"/>
                    </a:lnTo>
                    <a:lnTo>
                      <a:pt x="34" y="141"/>
                    </a:lnTo>
                    <a:lnTo>
                      <a:pt x="36" y="137"/>
                    </a:lnTo>
                    <a:lnTo>
                      <a:pt x="34" y="133"/>
                    </a:lnTo>
                    <a:lnTo>
                      <a:pt x="30" y="131"/>
                    </a:lnTo>
                    <a:lnTo>
                      <a:pt x="26" y="131"/>
                    </a:lnTo>
                    <a:lnTo>
                      <a:pt x="22" y="130"/>
                    </a:lnTo>
                    <a:lnTo>
                      <a:pt x="18" y="128"/>
                    </a:lnTo>
                    <a:lnTo>
                      <a:pt x="14" y="124"/>
                    </a:lnTo>
                    <a:lnTo>
                      <a:pt x="10" y="122"/>
                    </a:lnTo>
                    <a:lnTo>
                      <a:pt x="8" y="119"/>
                    </a:lnTo>
                    <a:lnTo>
                      <a:pt x="6" y="115"/>
                    </a:lnTo>
                    <a:lnTo>
                      <a:pt x="6" y="111"/>
                    </a:lnTo>
                    <a:lnTo>
                      <a:pt x="4" y="108"/>
                    </a:lnTo>
                    <a:lnTo>
                      <a:pt x="6" y="104"/>
                    </a:lnTo>
                    <a:lnTo>
                      <a:pt x="6" y="100"/>
                    </a:lnTo>
                    <a:lnTo>
                      <a:pt x="8" y="97"/>
                    </a:lnTo>
                    <a:lnTo>
                      <a:pt x="8" y="93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28" name="Freeform 35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074351" y="2180936"/>
                <a:ext cx="1149356" cy="2263083"/>
              </a:xfrm>
              <a:custGeom>
                <a:avLst/>
                <a:gdLst>
                  <a:gd name="T0" fmla="*/ 2147483647 w 928"/>
                  <a:gd name="T1" fmla="*/ 2147483647 h 1911"/>
                  <a:gd name="T2" fmla="*/ 2147483647 w 928"/>
                  <a:gd name="T3" fmla="*/ 2147483647 h 1911"/>
                  <a:gd name="T4" fmla="*/ 2147483647 w 928"/>
                  <a:gd name="T5" fmla="*/ 2147483647 h 1911"/>
                  <a:gd name="T6" fmla="*/ 2147483647 w 928"/>
                  <a:gd name="T7" fmla="*/ 2147483647 h 1911"/>
                  <a:gd name="T8" fmla="*/ 2147483647 w 928"/>
                  <a:gd name="T9" fmla="*/ 2147483647 h 1911"/>
                  <a:gd name="T10" fmla="*/ 2147483647 w 928"/>
                  <a:gd name="T11" fmla="*/ 2147483647 h 1911"/>
                  <a:gd name="T12" fmla="*/ 2147483647 w 928"/>
                  <a:gd name="T13" fmla="*/ 2147483647 h 1911"/>
                  <a:gd name="T14" fmla="*/ 2147483647 w 928"/>
                  <a:gd name="T15" fmla="*/ 2147483647 h 1911"/>
                  <a:gd name="T16" fmla="*/ 2147483647 w 928"/>
                  <a:gd name="T17" fmla="*/ 2147483647 h 1911"/>
                  <a:gd name="T18" fmla="*/ 2147483647 w 928"/>
                  <a:gd name="T19" fmla="*/ 2147483647 h 1911"/>
                  <a:gd name="T20" fmla="*/ 2147483647 w 928"/>
                  <a:gd name="T21" fmla="*/ 2147483647 h 1911"/>
                  <a:gd name="T22" fmla="*/ 2147483647 w 928"/>
                  <a:gd name="T23" fmla="*/ 2147483647 h 1911"/>
                  <a:gd name="T24" fmla="*/ 2147483647 w 928"/>
                  <a:gd name="T25" fmla="*/ 2147483647 h 1911"/>
                  <a:gd name="T26" fmla="*/ 2147483647 w 928"/>
                  <a:gd name="T27" fmla="*/ 2147483647 h 1911"/>
                  <a:gd name="T28" fmla="*/ 2147483647 w 928"/>
                  <a:gd name="T29" fmla="*/ 2147483647 h 1911"/>
                  <a:gd name="T30" fmla="*/ 2147483647 w 928"/>
                  <a:gd name="T31" fmla="*/ 2147483647 h 1911"/>
                  <a:gd name="T32" fmla="*/ 2147483647 w 928"/>
                  <a:gd name="T33" fmla="*/ 2147483647 h 1911"/>
                  <a:gd name="T34" fmla="*/ 2147483647 w 928"/>
                  <a:gd name="T35" fmla="*/ 2147483647 h 1911"/>
                  <a:gd name="T36" fmla="*/ 2147483647 w 928"/>
                  <a:gd name="T37" fmla="*/ 2147483647 h 1911"/>
                  <a:gd name="T38" fmla="*/ 2147483647 w 928"/>
                  <a:gd name="T39" fmla="*/ 2147483647 h 1911"/>
                  <a:gd name="T40" fmla="*/ 2147483647 w 928"/>
                  <a:gd name="T41" fmla="*/ 2147483647 h 1911"/>
                  <a:gd name="T42" fmla="*/ 2147483647 w 928"/>
                  <a:gd name="T43" fmla="*/ 2147483647 h 1911"/>
                  <a:gd name="T44" fmla="*/ 2147483647 w 928"/>
                  <a:gd name="T45" fmla="*/ 2147483647 h 1911"/>
                  <a:gd name="T46" fmla="*/ 2147483647 w 928"/>
                  <a:gd name="T47" fmla="*/ 2147483647 h 1911"/>
                  <a:gd name="T48" fmla="*/ 2147483647 w 928"/>
                  <a:gd name="T49" fmla="*/ 2147483647 h 1911"/>
                  <a:gd name="T50" fmla="*/ 2147483647 w 928"/>
                  <a:gd name="T51" fmla="*/ 2147483647 h 1911"/>
                  <a:gd name="T52" fmla="*/ 2147483647 w 928"/>
                  <a:gd name="T53" fmla="*/ 2147483647 h 1911"/>
                  <a:gd name="T54" fmla="*/ 2147483647 w 928"/>
                  <a:gd name="T55" fmla="*/ 2147483647 h 1911"/>
                  <a:gd name="T56" fmla="*/ 2147483647 w 928"/>
                  <a:gd name="T57" fmla="*/ 2147483647 h 1911"/>
                  <a:gd name="T58" fmla="*/ 2147483647 w 928"/>
                  <a:gd name="T59" fmla="*/ 2147483647 h 1911"/>
                  <a:gd name="T60" fmla="*/ 2147483647 w 928"/>
                  <a:gd name="T61" fmla="*/ 2147483647 h 1911"/>
                  <a:gd name="T62" fmla="*/ 2147483647 w 928"/>
                  <a:gd name="T63" fmla="*/ 2147483647 h 1911"/>
                  <a:gd name="T64" fmla="*/ 2147483647 w 928"/>
                  <a:gd name="T65" fmla="*/ 2147483647 h 1911"/>
                  <a:gd name="T66" fmla="*/ 2147483647 w 928"/>
                  <a:gd name="T67" fmla="*/ 2147483647 h 1911"/>
                  <a:gd name="T68" fmla="*/ 2147483647 w 928"/>
                  <a:gd name="T69" fmla="*/ 2147483647 h 1911"/>
                  <a:gd name="T70" fmla="*/ 2147483647 w 928"/>
                  <a:gd name="T71" fmla="*/ 2147483647 h 1911"/>
                  <a:gd name="T72" fmla="*/ 2147483647 w 928"/>
                  <a:gd name="T73" fmla="*/ 2147483647 h 1911"/>
                  <a:gd name="T74" fmla="*/ 2147483647 w 928"/>
                  <a:gd name="T75" fmla="*/ 2147483647 h 1911"/>
                  <a:gd name="T76" fmla="*/ 2147483647 w 928"/>
                  <a:gd name="T77" fmla="*/ 2147483647 h 1911"/>
                  <a:gd name="T78" fmla="*/ 2147483647 w 928"/>
                  <a:gd name="T79" fmla="*/ 2147483647 h 1911"/>
                  <a:gd name="T80" fmla="*/ 2147483647 w 928"/>
                  <a:gd name="T81" fmla="*/ 2147483647 h 1911"/>
                  <a:gd name="T82" fmla="*/ 2147483647 w 928"/>
                  <a:gd name="T83" fmla="*/ 2147483647 h 1911"/>
                  <a:gd name="T84" fmla="*/ 2147483647 w 928"/>
                  <a:gd name="T85" fmla="*/ 2147483647 h 1911"/>
                  <a:gd name="T86" fmla="*/ 2147483647 w 928"/>
                  <a:gd name="T87" fmla="*/ 2147483647 h 1911"/>
                  <a:gd name="T88" fmla="*/ 2147483647 w 928"/>
                  <a:gd name="T89" fmla="*/ 2147483647 h 1911"/>
                  <a:gd name="T90" fmla="*/ 2147483647 w 928"/>
                  <a:gd name="T91" fmla="*/ 2147483647 h 1911"/>
                  <a:gd name="T92" fmla="*/ 2147483647 w 928"/>
                  <a:gd name="T93" fmla="*/ 2147483647 h 1911"/>
                  <a:gd name="T94" fmla="*/ 2147483647 w 928"/>
                  <a:gd name="T95" fmla="*/ 2147483647 h 1911"/>
                  <a:gd name="T96" fmla="*/ 2147483647 w 928"/>
                  <a:gd name="T97" fmla="*/ 2147483647 h 1911"/>
                  <a:gd name="T98" fmla="*/ 2147483647 w 928"/>
                  <a:gd name="T99" fmla="*/ 2147483647 h 1911"/>
                  <a:gd name="T100" fmla="*/ 2147483647 w 928"/>
                  <a:gd name="T101" fmla="*/ 2147483647 h 1911"/>
                  <a:gd name="T102" fmla="*/ 2147483647 w 928"/>
                  <a:gd name="T103" fmla="*/ 2147483647 h 1911"/>
                  <a:gd name="T104" fmla="*/ 2147483647 w 928"/>
                  <a:gd name="T105" fmla="*/ 2147483647 h 1911"/>
                  <a:gd name="T106" fmla="*/ 2147483647 w 928"/>
                  <a:gd name="T107" fmla="*/ 2147483647 h 1911"/>
                  <a:gd name="T108" fmla="*/ 2147483647 w 928"/>
                  <a:gd name="T109" fmla="*/ 2147483647 h 1911"/>
                  <a:gd name="T110" fmla="*/ 2147483647 w 928"/>
                  <a:gd name="T111" fmla="*/ 2147483647 h 191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928"/>
                  <a:gd name="T169" fmla="*/ 0 h 1911"/>
                  <a:gd name="T170" fmla="*/ 928 w 928"/>
                  <a:gd name="T171" fmla="*/ 1911 h 191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928" h="1911">
                    <a:moveTo>
                      <a:pt x="348" y="1860"/>
                    </a:moveTo>
                    <a:lnTo>
                      <a:pt x="352" y="1836"/>
                    </a:lnTo>
                    <a:lnTo>
                      <a:pt x="384" y="1820"/>
                    </a:lnTo>
                    <a:lnTo>
                      <a:pt x="384" y="1808"/>
                    </a:lnTo>
                    <a:lnTo>
                      <a:pt x="396" y="1772"/>
                    </a:lnTo>
                    <a:lnTo>
                      <a:pt x="396" y="1736"/>
                    </a:lnTo>
                    <a:lnTo>
                      <a:pt x="376" y="1696"/>
                    </a:lnTo>
                    <a:lnTo>
                      <a:pt x="368" y="1660"/>
                    </a:lnTo>
                    <a:lnTo>
                      <a:pt x="344" y="1668"/>
                    </a:lnTo>
                    <a:lnTo>
                      <a:pt x="320" y="1660"/>
                    </a:lnTo>
                    <a:lnTo>
                      <a:pt x="280" y="1672"/>
                    </a:lnTo>
                    <a:lnTo>
                      <a:pt x="252" y="1668"/>
                    </a:lnTo>
                    <a:lnTo>
                      <a:pt x="244" y="1644"/>
                    </a:lnTo>
                    <a:lnTo>
                      <a:pt x="256" y="1620"/>
                    </a:lnTo>
                    <a:lnTo>
                      <a:pt x="288" y="1608"/>
                    </a:lnTo>
                    <a:lnTo>
                      <a:pt x="276" y="1564"/>
                    </a:lnTo>
                    <a:lnTo>
                      <a:pt x="248" y="1552"/>
                    </a:lnTo>
                    <a:lnTo>
                      <a:pt x="272" y="1532"/>
                    </a:lnTo>
                    <a:lnTo>
                      <a:pt x="284" y="1504"/>
                    </a:lnTo>
                    <a:lnTo>
                      <a:pt x="292" y="1480"/>
                    </a:lnTo>
                    <a:lnTo>
                      <a:pt x="268" y="1456"/>
                    </a:lnTo>
                    <a:lnTo>
                      <a:pt x="248" y="1428"/>
                    </a:lnTo>
                    <a:lnTo>
                      <a:pt x="236" y="1360"/>
                    </a:lnTo>
                    <a:lnTo>
                      <a:pt x="212" y="1336"/>
                    </a:lnTo>
                    <a:lnTo>
                      <a:pt x="152" y="1328"/>
                    </a:lnTo>
                    <a:lnTo>
                      <a:pt x="120" y="1328"/>
                    </a:lnTo>
                    <a:lnTo>
                      <a:pt x="120" y="1296"/>
                    </a:lnTo>
                    <a:lnTo>
                      <a:pt x="124" y="1264"/>
                    </a:lnTo>
                    <a:lnTo>
                      <a:pt x="112" y="1236"/>
                    </a:lnTo>
                    <a:lnTo>
                      <a:pt x="168" y="1212"/>
                    </a:lnTo>
                    <a:lnTo>
                      <a:pt x="152" y="1192"/>
                    </a:lnTo>
                    <a:lnTo>
                      <a:pt x="128" y="1180"/>
                    </a:lnTo>
                    <a:lnTo>
                      <a:pt x="124" y="1144"/>
                    </a:lnTo>
                    <a:lnTo>
                      <a:pt x="156" y="1124"/>
                    </a:lnTo>
                    <a:lnTo>
                      <a:pt x="144" y="1104"/>
                    </a:lnTo>
                    <a:lnTo>
                      <a:pt x="148" y="1080"/>
                    </a:lnTo>
                    <a:lnTo>
                      <a:pt x="164" y="1044"/>
                    </a:lnTo>
                    <a:lnTo>
                      <a:pt x="160" y="1036"/>
                    </a:lnTo>
                    <a:lnTo>
                      <a:pt x="168" y="1012"/>
                    </a:lnTo>
                    <a:lnTo>
                      <a:pt x="112" y="984"/>
                    </a:lnTo>
                    <a:lnTo>
                      <a:pt x="128" y="948"/>
                    </a:lnTo>
                    <a:lnTo>
                      <a:pt x="104" y="932"/>
                    </a:lnTo>
                    <a:lnTo>
                      <a:pt x="100" y="904"/>
                    </a:lnTo>
                    <a:lnTo>
                      <a:pt x="100" y="868"/>
                    </a:lnTo>
                    <a:lnTo>
                      <a:pt x="84" y="840"/>
                    </a:lnTo>
                    <a:lnTo>
                      <a:pt x="64" y="808"/>
                    </a:lnTo>
                    <a:lnTo>
                      <a:pt x="64" y="772"/>
                    </a:lnTo>
                    <a:lnTo>
                      <a:pt x="84" y="740"/>
                    </a:lnTo>
                    <a:lnTo>
                      <a:pt x="88" y="708"/>
                    </a:lnTo>
                    <a:lnTo>
                      <a:pt x="64" y="680"/>
                    </a:lnTo>
                    <a:lnTo>
                      <a:pt x="16" y="668"/>
                    </a:lnTo>
                    <a:lnTo>
                      <a:pt x="0" y="632"/>
                    </a:lnTo>
                    <a:lnTo>
                      <a:pt x="12" y="604"/>
                    </a:lnTo>
                    <a:lnTo>
                      <a:pt x="60" y="568"/>
                    </a:lnTo>
                    <a:lnTo>
                      <a:pt x="28" y="532"/>
                    </a:lnTo>
                    <a:lnTo>
                      <a:pt x="28" y="520"/>
                    </a:lnTo>
                    <a:lnTo>
                      <a:pt x="28" y="496"/>
                    </a:lnTo>
                    <a:lnTo>
                      <a:pt x="52" y="484"/>
                    </a:lnTo>
                    <a:lnTo>
                      <a:pt x="56" y="460"/>
                    </a:lnTo>
                    <a:lnTo>
                      <a:pt x="80" y="464"/>
                    </a:lnTo>
                    <a:lnTo>
                      <a:pt x="112" y="484"/>
                    </a:lnTo>
                    <a:lnTo>
                      <a:pt x="112" y="512"/>
                    </a:lnTo>
                    <a:lnTo>
                      <a:pt x="116" y="560"/>
                    </a:lnTo>
                    <a:lnTo>
                      <a:pt x="120" y="600"/>
                    </a:lnTo>
                    <a:lnTo>
                      <a:pt x="160" y="508"/>
                    </a:lnTo>
                    <a:lnTo>
                      <a:pt x="132" y="464"/>
                    </a:lnTo>
                    <a:lnTo>
                      <a:pt x="100" y="432"/>
                    </a:lnTo>
                    <a:lnTo>
                      <a:pt x="68" y="384"/>
                    </a:lnTo>
                    <a:lnTo>
                      <a:pt x="84" y="360"/>
                    </a:lnTo>
                    <a:lnTo>
                      <a:pt x="160" y="356"/>
                    </a:lnTo>
                    <a:lnTo>
                      <a:pt x="208" y="368"/>
                    </a:lnTo>
                    <a:lnTo>
                      <a:pt x="240" y="348"/>
                    </a:lnTo>
                    <a:lnTo>
                      <a:pt x="220" y="292"/>
                    </a:lnTo>
                    <a:lnTo>
                      <a:pt x="260" y="280"/>
                    </a:lnTo>
                    <a:lnTo>
                      <a:pt x="292" y="240"/>
                    </a:lnTo>
                    <a:lnTo>
                      <a:pt x="316" y="236"/>
                    </a:lnTo>
                    <a:lnTo>
                      <a:pt x="340" y="188"/>
                    </a:lnTo>
                    <a:lnTo>
                      <a:pt x="364" y="172"/>
                    </a:lnTo>
                    <a:lnTo>
                      <a:pt x="376" y="144"/>
                    </a:lnTo>
                    <a:lnTo>
                      <a:pt x="408" y="168"/>
                    </a:lnTo>
                    <a:lnTo>
                      <a:pt x="468" y="144"/>
                    </a:lnTo>
                    <a:lnTo>
                      <a:pt x="484" y="124"/>
                    </a:lnTo>
                    <a:lnTo>
                      <a:pt x="456" y="100"/>
                    </a:lnTo>
                    <a:lnTo>
                      <a:pt x="504" y="116"/>
                    </a:lnTo>
                    <a:lnTo>
                      <a:pt x="520" y="92"/>
                    </a:lnTo>
                    <a:lnTo>
                      <a:pt x="496" y="52"/>
                    </a:lnTo>
                    <a:lnTo>
                      <a:pt x="516" y="20"/>
                    </a:lnTo>
                    <a:lnTo>
                      <a:pt x="548" y="0"/>
                    </a:lnTo>
                    <a:lnTo>
                      <a:pt x="584" y="8"/>
                    </a:lnTo>
                    <a:lnTo>
                      <a:pt x="612" y="52"/>
                    </a:lnTo>
                    <a:lnTo>
                      <a:pt x="640" y="64"/>
                    </a:lnTo>
                    <a:lnTo>
                      <a:pt x="652" y="24"/>
                    </a:lnTo>
                    <a:lnTo>
                      <a:pt x="708" y="16"/>
                    </a:lnTo>
                    <a:lnTo>
                      <a:pt x="752" y="40"/>
                    </a:lnTo>
                    <a:lnTo>
                      <a:pt x="780" y="72"/>
                    </a:lnTo>
                    <a:lnTo>
                      <a:pt x="788" y="128"/>
                    </a:lnTo>
                    <a:lnTo>
                      <a:pt x="756" y="168"/>
                    </a:lnTo>
                    <a:lnTo>
                      <a:pt x="740" y="220"/>
                    </a:lnTo>
                    <a:lnTo>
                      <a:pt x="716" y="244"/>
                    </a:lnTo>
                    <a:lnTo>
                      <a:pt x="688" y="276"/>
                    </a:lnTo>
                    <a:lnTo>
                      <a:pt x="660" y="344"/>
                    </a:lnTo>
                    <a:lnTo>
                      <a:pt x="684" y="316"/>
                    </a:lnTo>
                    <a:lnTo>
                      <a:pt x="716" y="288"/>
                    </a:lnTo>
                    <a:lnTo>
                      <a:pt x="776" y="264"/>
                    </a:lnTo>
                    <a:lnTo>
                      <a:pt x="788" y="328"/>
                    </a:lnTo>
                    <a:lnTo>
                      <a:pt x="836" y="344"/>
                    </a:lnTo>
                    <a:lnTo>
                      <a:pt x="864" y="392"/>
                    </a:lnTo>
                    <a:lnTo>
                      <a:pt x="844" y="440"/>
                    </a:lnTo>
                    <a:lnTo>
                      <a:pt x="828" y="488"/>
                    </a:lnTo>
                    <a:lnTo>
                      <a:pt x="820" y="548"/>
                    </a:lnTo>
                    <a:lnTo>
                      <a:pt x="760" y="560"/>
                    </a:lnTo>
                    <a:lnTo>
                      <a:pt x="772" y="596"/>
                    </a:lnTo>
                    <a:lnTo>
                      <a:pt x="784" y="628"/>
                    </a:lnTo>
                    <a:lnTo>
                      <a:pt x="804" y="660"/>
                    </a:lnTo>
                    <a:lnTo>
                      <a:pt x="816" y="688"/>
                    </a:lnTo>
                    <a:lnTo>
                      <a:pt x="820" y="724"/>
                    </a:lnTo>
                    <a:lnTo>
                      <a:pt x="792" y="740"/>
                    </a:lnTo>
                    <a:lnTo>
                      <a:pt x="804" y="748"/>
                    </a:lnTo>
                    <a:lnTo>
                      <a:pt x="808" y="780"/>
                    </a:lnTo>
                    <a:lnTo>
                      <a:pt x="824" y="800"/>
                    </a:lnTo>
                    <a:lnTo>
                      <a:pt x="848" y="828"/>
                    </a:lnTo>
                    <a:lnTo>
                      <a:pt x="852" y="852"/>
                    </a:lnTo>
                    <a:lnTo>
                      <a:pt x="824" y="904"/>
                    </a:lnTo>
                    <a:lnTo>
                      <a:pt x="860" y="904"/>
                    </a:lnTo>
                    <a:lnTo>
                      <a:pt x="916" y="908"/>
                    </a:lnTo>
                    <a:lnTo>
                      <a:pt x="908" y="936"/>
                    </a:lnTo>
                    <a:lnTo>
                      <a:pt x="876" y="948"/>
                    </a:lnTo>
                    <a:lnTo>
                      <a:pt x="880" y="980"/>
                    </a:lnTo>
                    <a:lnTo>
                      <a:pt x="888" y="988"/>
                    </a:lnTo>
                    <a:lnTo>
                      <a:pt x="896" y="1008"/>
                    </a:lnTo>
                    <a:lnTo>
                      <a:pt x="896" y="1024"/>
                    </a:lnTo>
                    <a:lnTo>
                      <a:pt x="912" y="1044"/>
                    </a:lnTo>
                    <a:lnTo>
                      <a:pt x="916" y="1088"/>
                    </a:lnTo>
                    <a:lnTo>
                      <a:pt x="892" y="1112"/>
                    </a:lnTo>
                    <a:lnTo>
                      <a:pt x="864" y="1124"/>
                    </a:lnTo>
                    <a:lnTo>
                      <a:pt x="852" y="1160"/>
                    </a:lnTo>
                    <a:lnTo>
                      <a:pt x="868" y="1196"/>
                    </a:lnTo>
                    <a:lnTo>
                      <a:pt x="904" y="1196"/>
                    </a:lnTo>
                    <a:lnTo>
                      <a:pt x="928" y="1192"/>
                    </a:lnTo>
                    <a:lnTo>
                      <a:pt x="924" y="1240"/>
                    </a:lnTo>
                    <a:lnTo>
                      <a:pt x="928" y="1280"/>
                    </a:lnTo>
                    <a:lnTo>
                      <a:pt x="896" y="1328"/>
                    </a:lnTo>
                    <a:lnTo>
                      <a:pt x="856" y="1324"/>
                    </a:lnTo>
                    <a:lnTo>
                      <a:pt x="828" y="1284"/>
                    </a:lnTo>
                    <a:lnTo>
                      <a:pt x="796" y="1268"/>
                    </a:lnTo>
                    <a:lnTo>
                      <a:pt x="824" y="1316"/>
                    </a:lnTo>
                    <a:lnTo>
                      <a:pt x="816" y="1352"/>
                    </a:lnTo>
                    <a:lnTo>
                      <a:pt x="780" y="1364"/>
                    </a:lnTo>
                    <a:lnTo>
                      <a:pt x="748" y="1392"/>
                    </a:lnTo>
                    <a:lnTo>
                      <a:pt x="760" y="1420"/>
                    </a:lnTo>
                    <a:lnTo>
                      <a:pt x="732" y="1428"/>
                    </a:lnTo>
                    <a:lnTo>
                      <a:pt x="720" y="1404"/>
                    </a:lnTo>
                    <a:lnTo>
                      <a:pt x="688" y="1404"/>
                    </a:lnTo>
                    <a:lnTo>
                      <a:pt x="664" y="1424"/>
                    </a:lnTo>
                    <a:lnTo>
                      <a:pt x="624" y="1436"/>
                    </a:lnTo>
                    <a:lnTo>
                      <a:pt x="632" y="1464"/>
                    </a:lnTo>
                    <a:lnTo>
                      <a:pt x="608" y="1472"/>
                    </a:lnTo>
                    <a:lnTo>
                      <a:pt x="652" y="1528"/>
                    </a:lnTo>
                    <a:lnTo>
                      <a:pt x="604" y="1552"/>
                    </a:lnTo>
                    <a:lnTo>
                      <a:pt x="628" y="1580"/>
                    </a:lnTo>
                    <a:lnTo>
                      <a:pt x="604" y="1640"/>
                    </a:lnTo>
                    <a:lnTo>
                      <a:pt x="588" y="1692"/>
                    </a:lnTo>
                    <a:lnTo>
                      <a:pt x="576" y="1720"/>
                    </a:lnTo>
                    <a:lnTo>
                      <a:pt x="580" y="1736"/>
                    </a:lnTo>
                    <a:lnTo>
                      <a:pt x="556" y="1768"/>
                    </a:lnTo>
                    <a:lnTo>
                      <a:pt x="532" y="1816"/>
                    </a:lnTo>
                    <a:lnTo>
                      <a:pt x="484" y="1880"/>
                    </a:lnTo>
                    <a:cubicBezTo>
                      <a:pt x="472" y="1911"/>
                      <a:pt x="424" y="1887"/>
                      <a:pt x="404" y="1888"/>
                    </a:cubicBezTo>
                    <a:lnTo>
                      <a:pt x="348" y="1860"/>
                    </a:lnTo>
                    <a:close/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29" name="Freeform 36"/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6925294" y="1696655"/>
                <a:ext cx="1048338" cy="1124558"/>
              </a:xfrm>
              <a:custGeom>
                <a:avLst/>
                <a:gdLst>
                  <a:gd name="T0" fmla="*/ 2147483647 w 845"/>
                  <a:gd name="T1" fmla="*/ 2147483647 h 951"/>
                  <a:gd name="T2" fmla="*/ 2147483647 w 845"/>
                  <a:gd name="T3" fmla="*/ 2147483647 h 951"/>
                  <a:gd name="T4" fmla="*/ 2147483647 w 845"/>
                  <a:gd name="T5" fmla="*/ 2147483647 h 951"/>
                  <a:gd name="T6" fmla="*/ 2147483647 w 845"/>
                  <a:gd name="T7" fmla="*/ 2147483647 h 951"/>
                  <a:gd name="T8" fmla="*/ 2147483647 w 845"/>
                  <a:gd name="T9" fmla="*/ 2147483647 h 951"/>
                  <a:gd name="T10" fmla="*/ 2147483647 w 845"/>
                  <a:gd name="T11" fmla="*/ 2147483647 h 951"/>
                  <a:gd name="T12" fmla="*/ 2147483647 w 845"/>
                  <a:gd name="T13" fmla="*/ 2147483647 h 951"/>
                  <a:gd name="T14" fmla="*/ 2147483647 w 845"/>
                  <a:gd name="T15" fmla="*/ 2147483647 h 951"/>
                  <a:gd name="T16" fmla="*/ 2147483647 w 845"/>
                  <a:gd name="T17" fmla="*/ 2147483647 h 951"/>
                  <a:gd name="T18" fmla="*/ 2147483647 w 845"/>
                  <a:gd name="T19" fmla="*/ 2147483647 h 951"/>
                  <a:gd name="T20" fmla="*/ 2147483647 w 845"/>
                  <a:gd name="T21" fmla="*/ 2147483647 h 951"/>
                  <a:gd name="T22" fmla="*/ 2147483647 w 845"/>
                  <a:gd name="T23" fmla="*/ 2147483647 h 951"/>
                  <a:gd name="T24" fmla="*/ 2147483647 w 845"/>
                  <a:gd name="T25" fmla="*/ 2147483647 h 951"/>
                  <a:gd name="T26" fmla="*/ 2147483647 w 845"/>
                  <a:gd name="T27" fmla="*/ 2147483647 h 951"/>
                  <a:gd name="T28" fmla="*/ 2147483647 w 845"/>
                  <a:gd name="T29" fmla="*/ 2147483647 h 951"/>
                  <a:gd name="T30" fmla="*/ 2147483647 w 845"/>
                  <a:gd name="T31" fmla="*/ 2147483647 h 951"/>
                  <a:gd name="T32" fmla="*/ 2147483647 w 845"/>
                  <a:gd name="T33" fmla="*/ 2147483647 h 951"/>
                  <a:gd name="T34" fmla="*/ 2147483647 w 845"/>
                  <a:gd name="T35" fmla="*/ 2147483647 h 951"/>
                  <a:gd name="T36" fmla="*/ 2147483647 w 845"/>
                  <a:gd name="T37" fmla="*/ 2147483647 h 951"/>
                  <a:gd name="T38" fmla="*/ 2147483647 w 845"/>
                  <a:gd name="T39" fmla="*/ 2147483647 h 951"/>
                  <a:gd name="T40" fmla="*/ 2147483647 w 845"/>
                  <a:gd name="T41" fmla="*/ 2147483647 h 951"/>
                  <a:gd name="T42" fmla="*/ 2147483647 w 845"/>
                  <a:gd name="T43" fmla="*/ 2147483647 h 951"/>
                  <a:gd name="T44" fmla="*/ 2147483647 w 845"/>
                  <a:gd name="T45" fmla="*/ 2147483647 h 951"/>
                  <a:gd name="T46" fmla="*/ 2147483647 w 845"/>
                  <a:gd name="T47" fmla="*/ 2147483647 h 951"/>
                  <a:gd name="T48" fmla="*/ 2147483647 w 845"/>
                  <a:gd name="T49" fmla="*/ 2147483647 h 951"/>
                  <a:gd name="T50" fmla="*/ 2147483647 w 845"/>
                  <a:gd name="T51" fmla="*/ 2147483647 h 951"/>
                  <a:gd name="T52" fmla="*/ 2147483647 w 845"/>
                  <a:gd name="T53" fmla="*/ 2147483647 h 951"/>
                  <a:gd name="T54" fmla="*/ 2147483647 w 845"/>
                  <a:gd name="T55" fmla="*/ 2147483647 h 951"/>
                  <a:gd name="T56" fmla="*/ 2147483647 w 845"/>
                  <a:gd name="T57" fmla="*/ 2147483647 h 951"/>
                  <a:gd name="T58" fmla="*/ 2147483647 w 845"/>
                  <a:gd name="T59" fmla="*/ 2147483647 h 951"/>
                  <a:gd name="T60" fmla="*/ 2147483647 w 845"/>
                  <a:gd name="T61" fmla="*/ 2147483647 h 951"/>
                  <a:gd name="T62" fmla="*/ 2147483647 w 845"/>
                  <a:gd name="T63" fmla="*/ 2147483647 h 951"/>
                  <a:gd name="T64" fmla="*/ 2147483647 w 845"/>
                  <a:gd name="T65" fmla="*/ 2147483647 h 951"/>
                  <a:gd name="T66" fmla="*/ 2147483647 w 845"/>
                  <a:gd name="T67" fmla="*/ 2147483647 h 951"/>
                  <a:gd name="T68" fmla="*/ 2147483647 w 845"/>
                  <a:gd name="T69" fmla="*/ 2147483647 h 951"/>
                  <a:gd name="T70" fmla="*/ 2147483647 w 845"/>
                  <a:gd name="T71" fmla="*/ 2147483647 h 951"/>
                  <a:gd name="T72" fmla="*/ 2147483647 w 845"/>
                  <a:gd name="T73" fmla="*/ 2147483647 h 951"/>
                  <a:gd name="T74" fmla="*/ 2147483647 w 845"/>
                  <a:gd name="T75" fmla="*/ 2147483647 h 951"/>
                  <a:gd name="T76" fmla="*/ 2147483647 w 845"/>
                  <a:gd name="T77" fmla="*/ 2147483647 h 951"/>
                  <a:gd name="T78" fmla="*/ 2147483647 w 845"/>
                  <a:gd name="T79" fmla="*/ 2147483647 h 951"/>
                  <a:gd name="T80" fmla="*/ 2147483647 w 845"/>
                  <a:gd name="T81" fmla="*/ 2147483647 h 951"/>
                  <a:gd name="T82" fmla="*/ 2147483647 w 845"/>
                  <a:gd name="T83" fmla="*/ 2147483647 h 951"/>
                  <a:gd name="T84" fmla="*/ 2147483647 w 845"/>
                  <a:gd name="T85" fmla="*/ 2147483647 h 951"/>
                  <a:gd name="T86" fmla="*/ 2147483647 w 845"/>
                  <a:gd name="T87" fmla="*/ 2147483647 h 951"/>
                  <a:gd name="T88" fmla="*/ 2147483647 w 845"/>
                  <a:gd name="T89" fmla="*/ 2147483647 h 951"/>
                  <a:gd name="T90" fmla="*/ 2147483647 w 845"/>
                  <a:gd name="T91" fmla="*/ 2147483647 h 951"/>
                  <a:gd name="T92" fmla="*/ 2147483647 w 845"/>
                  <a:gd name="T93" fmla="*/ 2147483647 h 951"/>
                  <a:gd name="T94" fmla="*/ 2147483647 w 845"/>
                  <a:gd name="T95" fmla="*/ 2147483647 h 951"/>
                  <a:gd name="T96" fmla="*/ 2147483647 w 845"/>
                  <a:gd name="T97" fmla="*/ 2147483647 h 951"/>
                  <a:gd name="T98" fmla="*/ 2147483647 w 845"/>
                  <a:gd name="T99" fmla="*/ 2147483647 h 951"/>
                  <a:gd name="T100" fmla="*/ 2147483647 w 845"/>
                  <a:gd name="T101" fmla="*/ 2147483647 h 951"/>
                  <a:gd name="T102" fmla="*/ 2147483647 w 845"/>
                  <a:gd name="T103" fmla="*/ 2147483647 h 951"/>
                  <a:gd name="T104" fmla="*/ 2147483647 w 845"/>
                  <a:gd name="T105" fmla="*/ 2147483647 h 951"/>
                  <a:gd name="T106" fmla="*/ 2147483647 w 845"/>
                  <a:gd name="T107" fmla="*/ 2147483647 h 951"/>
                  <a:gd name="T108" fmla="*/ 2147483647 w 845"/>
                  <a:gd name="T109" fmla="*/ 2147483647 h 951"/>
                  <a:gd name="T110" fmla="*/ 2147483647 w 845"/>
                  <a:gd name="T111" fmla="*/ 2147483647 h 951"/>
                  <a:gd name="T112" fmla="*/ 2147483647 w 845"/>
                  <a:gd name="T113" fmla="*/ 2147483647 h 951"/>
                  <a:gd name="T114" fmla="*/ 2147483647 w 845"/>
                  <a:gd name="T115" fmla="*/ 2147483647 h 951"/>
                  <a:gd name="T116" fmla="*/ 2147483647 w 845"/>
                  <a:gd name="T117" fmla="*/ 2147483647 h 95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845"/>
                  <a:gd name="T178" fmla="*/ 0 h 951"/>
                  <a:gd name="T179" fmla="*/ 845 w 845"/>
                  <a:gd name="T180" fmla="*/ 951 h 95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845" h="951">
                    <a:moveTo>
                      <a:pt x="398" y="29"/>
                    </a:moveTo>
                    <a:lnTo>
                      <a:pt x="391" y="15"/>
                    </a:lnTo>
                    <a:lnTo>
                      <a:pt x="377" y="0"/>
                    </a:lnTo>
                    <a:lnTo>
                      <a:pt x="360" y="15"/>
                    </a:lnTo>
                    <a:lnTo>
                      <a:pt x="345" y="7"/>
                    </a:lnTo>
                    <a:lnTo>
                      <a:pt x="331" y="5"/>
                    </a:lnTo>
                    <a:lnTo>
                      <a:pt x="331" y="27"/>
                    </a:lnTo>
                    <a:lnTo>
                      <a:pt x="314" y="43"/>
                    </a:lnTo>
                    <a:cubicBezTo>
                      <a:pt x="314" y="50"/>
                      <a:pt x="314" y="58"/>
                      <a:pt x="314" y="65"/>
                    </a:cubicBezTo>
                    <a:lnTo>
                      <a:pt x="305" y="89"/>
                    </a:lnTo>
                    <a:lnTo>
                      <a:pt x="302" y="115"/>
                    </a:lnTo>
                    <a:lnTo>
                      <a:pt x="285" y="125"/>
                    </a:lnTo>
                    <a:lnTo>
                      <a:pt x="254" y="125"/>
                    </a:lnTo>
                    <a:lnTo>
                      <a:pt x="233" y="139"/>
                    </a:lnTo>
                    <a:lnTo>
                      <a:pt x="216" y="151"/>
                    </a:lnTo>
                    <a:lnTo>
                      <a:pt x="206" y="127"/>
                    </a:lnTo>
                    <a:lnTo>
                      <a:pt x="185" y="106"/>
                    </a:lnTo>
                    <a:lnTo>
                      <a:pt x="149" y="118"/>
                    </a:lnTo>
                    <a:lnTo>
                      <a:pt x="113" y="132"/>
                    </a:lnTo>
                    <a:lnTo>
                      <a:pt x="91" y="156"/>
                    </a:lnTo>
                    <a:lnTo>
                      <a:pt x="69" y="168"/>
                    </a:lnTo>
                    <a:lnTo>
                      <a:pt x="57" y="190"/>
                    </a:lnTo>
                    <a:lnTo>
                      <a:pt x="38" y="211"/>
                    </a:lnTo>
                    <a:lnTo>
                      <a:pt x="9" y="235"/>
                    </a:lnTo>
                    <a:lnTo>
                      <a:pt x="0" y="259"/>
                    </a:lnTo>
                    <a:lnTo>
                      <a:pt x="19" y="274"/>
                    </a:lnTo>
                    <a:lnTo>
                      <a:pt x="50" y="271"/>
                    </a:lnTo>
                    <a:lnTo>
                      <a:pt x="65" y="293"/>
                    </a:lnTo>
                    <a:lnTo>
                      <a:pt x="84" y="303"/>
                    </a:lnTo>
                    <a:lnTo>
                      <a:pt x="113" y="348"/>
                    </a:lnTo>
                    <a:lnTo>
                      <a:pt x="149" y="351"/>
                    </a:lnTo>
                    <a:lnTo>
                      <a:pt x="182" y="351"/>
                    </a:lnTo>
                    <a:lnTo>
                      <a:pt x="235" y="387"/>
                    </a:lnTo>
                    <a:lnTo>
                      <a:pt x="225" y="375"/>
                    </a:lnTo>
                    <a:lnTo>
                      <a:pt x="175" y="324"/>
                    </a:lnTo>
                    <a:lnTo>
                      <a:pt x="175" y="295"/>
                    </a:lnTo>
                    <a:lnTo>
                      <a:pt x="194" y="283"/>
                    </a:lnTo>
                    <a:lnTo>
                      <a:pt x="228" y="255"/>
                    </a:lnTo>
                    <a:lnTo>
                      <a:pt x="201" y="310"/>
                    </a:lnTo>
                    <a:lnTo>
                      <a:pt x="230" y="331"/>
                    </a:lnTo>
                    <a:lnTo>
                      <a:pt x="252" y="346"/>
                    </a:lnTo>
                    <a:lnTo>
                      <a:pt x="271" y="367"/>
                    </a:lnTo>
                    <a:lnTo>
                      <a:pt x="281" y="379"/>
                    </a:lnTo>
                    <a:lnTo>
                      <a:pt x="331" y="379"/>
                    </a:lnTo>
                    <a:lnTo>
                      <a:pt x="341" y="401"/>
                    </a:lnTo>
                    <a:lnTo>
                      <a:pt x="365" y="442"/>
                    </a:lnTo>
                    <a:lnTo>
                      <a:pt x="386" y="504"/>
                    </a:lnTo>
                    <a:lnTo>
                      <a:pt x="401" y="538"/>
                    </a:lnTo>
                    <a:lnTo>
                      <a:pt x="425" y="593"/>
                    </a:lnTo>
                    <a:lnTo>
                      <a:pt x="432" y="619"/>
                    </a:lnTo>
                    <a:lnTo>
                      <a:pt x="427" y="639"/>
                    </a:lnTo>
                    <a:lnTo>
                      <a:pt x="413" y="658"/>
                    </a:lnTo>
                    <a:lnTo>
                      <a:pt x="422" y="670"/>
                    </a:lnTo>
                    <a:lnTo>
                      <a:pt x="410" y="679"/>
                    </a:lnTo>
                    <a:lnTo>
                      <a:pt x="429" y="696"/>
                    </a:lnTo>
                    <a:lnTo>
                      <a:pt x="446" y="715"/>
                    </a:lnTo>
                    <a:lnTo>
                      <a:pt x="468" y="759"/>
                    </a:lnTo>
                    <a:lnTo>
                      <a:pt x="501" y="783"/>
                    </a:lnTo>
                    <a:lnTo>
                      <a:pt x="480" y="814"/>
                    </a:lnTo>
                    <a:lnTo>
                      <a:pt x="489" y="835"/>
                    </a:lnTo>
                    <a:lnTo>
                      <a:pt x="549" y="838"/>
                    </a:lnTo>
                    <a:lnTo>
                      <a:pt x="602" y="874"/>
                    </a:lnTo>
                    <a:lnTo>
                      <a:pt x="641" y="883"/>
                    </a:lnTo>
                    <a:lnTo>
                      <a:pt x="677" y="893"/>
                    </a:lnTo>
                    <a:lnTo>
                      <a:pt x="744" y="927"/>
                    </a:lnTo>
                    <a:lnTo>
                      <a:pt x="806" y="943"/>
                    </a:lnTo>
                    <a:lnTo>
                      <a:pt x="842" y="951"/>
                    </a:lnTo>
                    <a:lnTo>
                      <a:pt x="845" y="922"/>
                    </a:lnTo>
                    <a:lnTo>
                      <a:pt x="811" y="886"/>
                    </a:lnTo>
                    <a:lnTo>
                      <a:pt x="785" y="838"/>
                    </a:lnTo>
                    <a:lnTo>
                      <a:pt x="768" y="811"/>
                    </a:lnTo>
                    <a:lnTo>
                      <a:pt x="756" y="785"/>
                    </a:lnTo>
                    <a:lnTo>
                      <a:pt x="765" y="761"/>
                    </a:lnTo>
                    <a:lnTo>
                      <a:pt x="758" y="739"/>
                    </a:lnTo>
                    <a:lnTo>
                      <a:pt x="725" y="732"/>
                    </a:lnTo>
                    <a:lnTo>
                      <a:pt x="708" y="715"/>
                    </a:lnTo>
                    <a:lnTo>
                      <a:pt x="693" y="703"/>
                    </a:lnTo>
                    <a:lnTo>
                      <a:pt x="701" y="670"/>
                    </a:lnTo>
                    <a:lnTo>
                      <a:pt x="722" y="641"/>
                    </a:lnTo>
                    <a:lnTo>
                      <a:pt x="705" y="622"/>
                    </a:lnTo>
                    <a:lnTo>
                      <a:pt x="684" y="629"/>
                    </a:lnTo>
                    <a:lnTo>
                      <a:pt x="660" y="610"/>
                    </a:lnTo>
                    <a:lnTo>
                      <a:pt x="624" y="588"/>
                    </a:lnTo>
                    <a:lnTo>
                      <a:pt x="617" y="574"/>
                    </a:lnTo>
                    <a:lnTo>
                      <a:pt x="626" y="552"/>
                    </a:lnTo>
                    <a:lnTo>
                      <a:pt x="653" y="552"/>
                    </a:lnTo>
                    <a:lnTo>
                      <a:pt x="660" y="538"/>
                    </a:lnTo>
                    <a:lnTo>
                      <a:pt x="645" y="531"/>
                    </a:lnTo>
                    <a:lnTo>
                      <a:pt x="629" y="528"/>
                    </a:lnTo>
                    <a:lnTo>
                      <a:pt x="614" y="526"/>
                    </a:lnTo>
                    <a:lnTo>
                      <a:pt x="583" y="535"/>
                    </a:lnTo>
                    <a:lnTo>
                      <a:pt x="569" y="526"/>
                    </a:lnTo>
                    <a:lnTo>
                      <a:pt x="578" y="502"/>
                    </a:lnTo>
                    <a:lnTo>
                      <a:pt x="561" y="487"/>
                    </a:lnTo>
                    <a:lnTo>
                      <a:pt x="540" y="480"/>
                    </a:lnTo>
                    <a:lnTo>
                      <a:pt x="540" y="497"/>
                    </a:lnTo>
                    <a:lnTo>
                      <a:pt x="523" y="514"/>
                    </a:lnTo>
                    <a:lnTo>
                      <a:pt x="499" y="502"/>
                    </a:lnTo>
                    <a:lnTo>
                      <a:pt x="473" y="463"/>
                    </a:lnTo>
                    <a:lnTo>
                      <a:pt x="463" y="437"/>
                    </a:lnTo>
                    <a:lnTo>
                      <a:pt x="429" y="418"/>
                    </a:lnTo>
                    <a:lnTo>
                      <a:pt x="401" y="387"/>
                    </a:lnTo>
                    <a:lnTo>
                      <a:pt x="379" y="367"/>
                    </a:lnTo>
                    <a:lnTo>
                      <a:pt x="393" y="360"/>
                    </a:lnTo>
                    <a:lnTo>
                      <a:pt x="374" y="346"/>
                    </a:lnTo>
                    <a:lnTo>
                      <a:pt x="362" y="319"/>
                    </a:lnTo>
                    <a:lnTo>
                      <a:pt x="367" y="300"/>
                    </a:lnTo>
                    <a:lnTo>
                      <a:pt x="362" y="274"/>
                    </a:lnTo>
                    <a:lnTo>
                      <a:pt x="369" y="257"/>
                    </a:lnTo>
                    <a:lnTo>
                      <a:pt x="386" y="255"/>
                    </a:lnTo>
                    <a:lnTo>
                      <a:pt x="408" y="233"/>
                    </a:lnTo>
                    <a:lnTo>
                      <a:pt x="408" y="207"/>
                    </a:lnTo>
                    <a:lnTo>
                      <a:pt x="489" y="195"/>
                    </a:lnTo>
                    <a:lnTo>
                      <a:pt x="463" y="175"/>
                    </a:lnTo>
                    <a:lnTo>
                      <a:pt x="449" y="137"/>
                    </a:lnTo>
                    <a:lnTo>
                      <a:pt x="425" y="118"/>
                    </a:lnTo>
                    <a:lnTo>
                      <a:pt x="413" y="89"/>
                    </a:lnTo>
                    <a:lnTo>
                      <a:pt x="398" y="29"/>
                    </a:lnTo>
                    <a:close/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0" name="Freeform 97"/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5971237" y="3398625"/>
                <a:ext cx="969770" cy="549473"/>
              </a:xfrm>
              <a:custGeom>
                <a:avLst/>
                <a:gdLst>
                  <a:gd name="T0" fmla="*/ 2147483647 w 782"/>
                  <a:gd name="T1" fmla="*/ 2147483647 h 464"/>
                  <a:gd name="T2" fmla="*/ 2147483647 w 782"/>
                  <a:gd name="T3" fmla="*/ 2147483647 h 464"/>
                  <a:gd name="T4" fmla="*/ 2147483647 w 782"/>
                  <a:gd name="T5" fmla="*/ 2147483647 h 464"/>
                  <a:gd name="T6" fmla="*/ 2147483647 w 782"/>
                  <a:gd name="T7" fmla="*/ 2147483647 h 464"/>
                  <a:gd name="T8" fmla="*/ 2147483647 w 782"/>
                  <a:gd name="T9" fmla="*/ 2147483647 h 464"/>
                  <a:gd name="T10" fmla="*/ 2147483647 w 782"/>
                  <a:gd name="T11" fmla="*/ 2147483647 h 464"/>
                  <a:gd name="T12" fmla="*/ 2147483647 w 782"/>
                  <a:gd name="T13" fmla="*/ 2147483647 h 464"/>
                  <a:gd name="T14" fmla="*/ 2147483647 w 782"/>
                  <a:gd name="T15" fmla="*/ 2147483647 h 464"/>
                  <a:gd name="T16" fmla="*/ 2147483647 w 782"/>
                  <a:gd name="T17" fmla="*/ 2147483647 h 464"/>
                  <a:gd name="T18" fmla="*/ 2147483647 w 782"/>
                  <a:gd name="T19" fmla="*/ 2147483647 h 464"/>
                  <a:gd name="T20" fmla="*/ 2147483647 w 782"/>
                  <a:gd name="T21" fmla="*/ 2147483647 h 464"/>
                  <a:gd name="T22" fmla="*/ 2147483647 w 782"/>
                  <a:gd name="T23" fmla="*/ 2147483647 h 464"/>
                  <a:gd name="T24" fmla="*/ 2147483647 w 782"/>
                  <a:gd name="T25" fmla="*/ 2147483647 h 464"/>
                  <a:gd name="T26" fmla="*/ 2147483647 w 782"/>
                  <a:gd name="T27" fmla="*/ 2147483647 h 464"/>
                  <a:gd name="T28" fmla="*/ 2147483647 w 782"/>
                  <a:gd name="T29" fmla="*/ 2147483647 h 464"/>
                  <a:gd name="T30" fmla="*/ 2147483647 w 782"/>
                  <a:gd name="T31" fmla="*/ 2147483647 h 464"/>
                  <a:gd name="T32" fmla="*/ 2147483647 w 782"/>
                  <a:gd name="T33" fmla="*/ 2147483647 h 464"/>
                  <a:gd name="T34" fmla="*/ 2147483647 w 782"/>
                  <a:gd name="T35" fmla="*/ 2147483647 h 464"/>
                  <a:gd name="T36" fmla="*/ 2147483647 w 782"/>
                  <a:gd name="T37" fmla="*/ 2147483647 h 464"/>
                  <a:gd name="T38" fmla="*/ 2147483647 w 782"/>
                  <a:gd name="T39" fmla="*/ 2147483647 h 464"/>
                  <a:gd name="T40" fmla="*/ 2147483647 w 782"/>
                  <a:gd name="T41" fmla="*/ 2147483647 h 464"/>
                  <a:gd name="T42" fmla="*/ 2147483647 w 782"/>
                  <a:gd name="T43" fmla="*/ 2147483647 h 464"/>
                  <a:gd name="T44" fmla="*/ 2147483647 w 782"/>
                  <a:gd name="T45" fmla="*/ 2147483647 h 464"/>
                  <a:gd name="T46" fmla="*/ 2147483647 w 782"/>
                  <a:gd name="T47" fmla="*/ 2147483647 h 464"/>
                  <a:gd name="T48" fmla="*/ 2147483647 w 782"/>
                  <a:gd name="T49" fmla="*/ 2147483647 h 464"/>
                  <a:gd name="T50" fmla="*/ 2147483647 w 782"/>
                  <a:gd name="T51" fmla="*/ 2147483647 h 464"/>
                  <a:gd name="T52" fmla="*/ 2147483647 w 782"/>
                  <a:gd name="T53" fmla="*/ 2147483647 h 464"/>
                  <a:gd name="T54" fmla="*/ 2147483647 w 782"/>
                  <a:gd name="T55" fmla="*/ 2147483647 h 464"/>
                  <a:gd name="T56" fmla="*/ 2147483647 w 782"/>
                  <a:gd name="T57" fmla="*/ 2147483647 h 464"/>
                  <a:gd name="T58" fmla="*/ 2147483647 w 782"/>
                  <a:gd name="T59" fmla="*/ 2147483647 h 464"/>
                  <a:gd name="T60" fmla="*/ 2147483647 w 782"/>
                  <a:gd name="T61" fmla="*/ 2147483647 h 464"/>
                  <a:gd name="T62" fmla="*/ 2147483647 w 782"/>
                  <a:gd name="T63" fmla="*/ 2147483647 h 464"/>
                  <a:gd name="T64" fmla="*/ 2147483647 w 782"/>
                  <a:gd name="T65" fmla="*/ 2147483647 h 464"/>
                  <a:gd name="T66" fmla="*/ 2147483647 w 782"/>
                  <a:gd name="T67" fmla="*/ 2147483647 h 464"/>
                  <a:gd name="T68" fmla="*/ 2147483647 w 782"/>
                  <a:gd name="T69" fmla="*/ 2147483647 h 464"/>
                  <a:gd name="T70" fmla="*/ 2147483647 w 782"/>
                  <a:gd name="T71" fmla="*/ 2147483647 h 464"/>
                  <a:gd name="T72" fmla="*/ 2147483647 w 782"/>
                  <a:gd name="T73" fmla="*/ 2147483647 h 464"/>
                  <a:gd name="T74" fmla="*/ 2147483647 w 782"/>
                  <a:gd name="T75" fmla="*/ 2147483647 h 464"/>
                  <a:gd name="T76" fmla="*/ 2147483647 w 782"/>
                  <a:gd name="T77" fmla="*/ 2147483647 h 464"/>
                  <a:gd name="T78" fmla="*/ 2147483647 w 782"/>
                  <a:gd name="T79" fmla="*/ 2147483647 h 464"/>
                  <a:gd name="T80" fmla="*/ 2147483647 w 782"/>
                  <a:gd name="T81" fmla="*/ 2147483647 h 464"/>
                  <a:gd name="T82" fmla="*/ 2147483647 w 782"/>
                  <a:gd name="T83" fmla="*/ 2147483647 h 464"/>
                  <a:gd name="T84" fmla="*/ 2147483647 w 782"/>
                  <a:gd name="T85" fmla="*/ 2147483647 h 464"/>
                  <a:gd name="T86" fmla="*/ 2147483647 w 782"/>
                  <a:gd name="T87" fmla="*/ 2147483647 h 464"/>
                  <a:gd name="T88" fmla="*/ 2147483647 w 782"/>
                  <a:gd name="T89" fmla="*/ 2147483647 h 464"/>
                  <a:gd name="T90" fmla="*/ 2147483647 w 782"/>
                  <a:gd name="T91" fmla="*/ 2147483647 h 464"/>
                  <a:gd name="T92" fmla="*/ 2147483647 w 782"/>
                  <a:gd name="T93" fmla="*/ 2147483647 h 464"/>
                  <a:gd name="T94" fmla="*/ 2147483647 w 782"/>
                  <a:gd name="T95" fmla="*/ 2147483647 h 464"/>
                  <a:gd name="T96" fmla="*/ 2147483647 w 782"/>
                  <a:gd name="T97" fmla="*/ 2147483647 h 464"/>
                  <a:gd name="T98" fmla="*/ 2147483647 w 782"/>
                  <a:gd name="T99" fmla="*/ 2147483647 h 464"/>
                  <a:gd name="T100" fmla="*/ 2147483647 w 782"/>
                  <a:gd name="T101" fmla="*/ 2147483647 h 464"/>
                  <a:gd name="T102" fmla="*/ 2147483647 w 782"/>
                  <a:gd name="T103" fmla="*/ 2147483647 h 464"/>
                  <a:gd name="T104" fmla="*/ 2147483647 w 782"/>
                  <a:gd name="T105" fmla="*/ 2147483647 h 464"/>
                  <a:gd name="T106" fmla="*/ 2147483647 w 782"/>
                  <a:gd name="T107" fmla="*/ 2147483647 h 464"/>
                  <a:gd name="T108" fmla="*/ 2147483647 w 782"/>
                  <a:gd name="T109" fmla="*/ 2147483647 h 464"/>
                  <a:gd name="T110" fmla="*/ 2147483647 w 782"/>
                  <a:gd name="T111" fmla="*/ 2147483647 h 464"/>
                  <a:gd name="T112" fmla="*/ 2147483647 w 782"/>
                  <a:gd name="T113" fmla="*/ 2147483647 h 464"/>
                  <a:gd name="T114" fmla="*/ 2147483647 w 782"/>
                  <a:gd name="T115" fmla="*/ 2147483647 h 464"/>
                  <a:gd name="T116" fmla="*/ 2147483647 w 782"/>
                  <a:gd name="T117" fmla="*/ 2147483647 h 464"/>
                  <a:gd name="T118" fmla="*/ 2147483647 w 782"/>
                  <a:gd name="T119" fmla="*/ 2147483647 h 464"/>
                  <a:gd name="T120" fmla="*/ 2147483647 w 782"/>
                  <a:gd name="T121" fmla="*/ 2147483647 h 464"/>
                  <a:gd name="T122" fmla="*/ 2147483647 w 782"/>
                  <a:gd name="T123" fmla="*/ 2147483647 h 46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82"/>
                  <a:gd name="T187" fmla="*/ 0 h 464"/>
                  <a:gd name="T188" fmla="*/ 782 w 782"/>
                  <a:gd name="T189" fmla="*/ 464 h 46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82" h="464">
                    <a:moveTo>
                      <a:pt x="531" y="4"/>
                    </a:moveTo>
                    <a:lnTo>
                      <a:pt x="526" y="2"/>
                    </a:lnTo>
                    <a:lnTo>
                      <a:pt x="522" y="0"/>
                    </a:lnTo>
                    <a:lnTo>
                      <a:pt x="517" y="1"/>
                    </a:lnTo>
                    <a:lnTo>
                      <a:pt x="513" y="6"/>
                    </a:lnTo>
                    <a:lnTo>
                      <a:pt x="512" y="10"/>
                    </a:lnTo>
                    <a:lnTo>
                      <a:pt x="509" y="14"/>
                    </a:lnTo>
                    <a:lnTo>
                      <a:pt x="506" y="19"/>
                    </a:lnTo>
                    <a:lnTo>
                      <a:pt x="501" y="21"/>
                    </a:lnTo>
                    <a:lnTo>
                      <a:pt x="497" y="22"/>
                    </a:lnTo>
                    <a:lnTo>
                      <a:pt x="493" y="24"/>
                    </a:lnTo>
                    <a:lnTo>
                      <a:pt x="489" y="28"/>
                    </a:lnTo>
                    <a:lnTo>
                      <a:pt x="484" y="30"/>
                    </a:lnTo>
                    <a:lnTo>
                      <a:pt x="481" y="33"/>
                    </a:lnTo>
                    <a:lnTo>
                      <a:pt x="478" y="36"/>
                    </a:lnTo>
                    <a:lnTo>
                      <a:pt x="474" y="37"/>
                    </a:lnTo>
                    <a:lnTo>
                      <a:pt x="471" y="37"/>
                    </a:lnTo>
                    <a:lnTo>
                      <a:pt x="466" y="38"/>
                    </a:lnTo>
                    <a:lnTo>
                      <a:pt x="462" y="38"/>
                    </a:lnTo>
                    <a:lnTo>
                      <a:pt x="457" y="39"/>
                    </a:lnTo>
                    <a:lnTo>
                      <a:pt x="453" y="40"/>
                    </a:lnTo>
                    <a:lnTo>
                      <a:pt x="449" y="43"/>
                    </a:lnTo>
                    <a:lnTo>
                      <a:pt x="445" y="46"/>
                    </a:lnTo>
                    <a:lnTo>
                      <a:pt x="443" y="51"/>
                    </a:lnTo>
                    <a:lnTo>
                      <a:pt x="439" y="54"/>
                    </a:lnTo>
                    <a:lnTo>
                      <a:pt x="436" y="57"/>
                    </a:lnTo>
                    <a:lnTo>
                      <a:pt x="432" y="58"/>
                    </a:lnTo>
                    <a:lnTo>
                      <a:pt x="428" y="60"/>
                    </a:lnTo>
                    <a:lnTo>
                      <a:pt x="424" y="66"/>
                    </a:lnTo>
                    <a:lnTo>
                      <a:pt x="419" y="66"/>
                    </a:lnTo>
                    <a:lnTo>
                      <a:pt x="416" y="69"/>
                    </a:lnTo>
                    <a:lnTo>
                      <a:pt x="411" y="70"/>
                    </a:lnTo>
                    <a:lnTo>
                      <a:pt x="407" y="71"/>
                    </a:lnTo>
                    <a:lnTo>
                      <a:pt x="402" y="75"/>
                    </a:lnTo>
                    <a:lnTo>
                      <a:pt x="401" y="79"/>
                    </a:lnTo>
                    <a:lnTo>
                      <a:pt x="402" y="84"/>
                    </a:lnTo>
                    <a:lnTo>
                      <a:pt x="402" y="87"/>
                    </a:lnTo>
                    <a:lnTo>
                      <a:pt x="407" y="88"/>
                    </a:lnTo>
                    <a:lnTo>
                      <a:pt x="408" y="93"/>
                    </a:lnTo>
                    <a:lnTo>
                      <a:pt x="405" y="96"/>
                    </a:lnTo>
                    <a:lnTo>
                      <a:pt x="401" y="97"/>
                    </a:lnTo>
                    <a:lnTo>
                      <a:pt x="396" y="98"/>
                    </a:lnTo>
                    <a:lnTo>
                      <a:pt x="392" y="97"/>
                    </a:lnTo>
                    <a:lnTo>
                      <a:pt x="387" y="96"/>
                    </a:lnTo>
                    <a:lnTo>
                      <a:pt x="383" y="96"/>
                    </a:lnTo>
                    <a:lnTo>
                      <a:pt x="378" y="97"/>
                    </a:lnTo>
                    <a:lnTo>
                      <a:pt x="374" y="98"/>
                    </a:lnTo>
                    <a:lnTo>
                      <a:pt x="370" y="98"/>
                    </a:lnTo>
                    <a:lnTo>
                      <a:pt x="367" y="101"/>
                    </a:lnTo>
                    <a:lnTo>
                      <a:pt x="362" y="102"/>
                    </a:lnTo>
                    <a:lnTo>
                      <a:pt x="358" y="105"/>
                    </a:lnTo>
                    <a:lnTo>
                      <a:pt x="354" y="109"/>
                    </a:lnTo>
                    <a:lnTo>
                      <a:pt x="350" y="111"/>
                    </a:lnTo>
                    <a:lnTo>
                      <a:pt x="345" y="114"/>
                    </a:lnTo>
                    <a:lnTo>
                      <a:pt x="341" y="114"/>
                    </a:lnTo>
                    <a:lnTo>
                      <a:pt x="336" y="116"/>
                    </a:lnTo>
                    <a:lnTo>
                      <a:pt x="333" y="119"/>
                    </a:lnTo>
                    <a:lnTo>
                      <a:pt x="328" y="120"/>
                    </a:lnTo>
                    <a:lnTo>
                      <a:pt x="324" y="123"/>
                    </a:lnTo>
                    <a:lnTo>
                      <a:pt x="319" y="125"/>
                    </a:lnTo>
                    <a:lnTo>
                      <a:pt x="316" y="128"/>
                    </a:lnTo>
                    <a:lnTo>
                      <a:pt x="311" y="132"/>
                    </a:lnTo>
                    <a:lnTo>
                      <a:pt x="307" y="133"/>
                    </a:lnTo>
                    <a:lnTo>
                      <a:pt x="303" y="136"/>
                    </a:lnTo>
                    <a:lnTo>
                      <a:pt x="299" y="138"/>
                    </a:lnTo>
                    <a:lnTo>
                      <a:pt x="294" y="139"/>
                    </a:lnTo>
                    <a:lnTo>
                      <a:pt x="290" y="142"/>
                    </a:lnTo>
                    <a:lnTo>
                      <a:pt x="286" y="143"/>
                    </a:lnTo>
                    <a:lnTo>
                      <a:pt x="282" y="143"/>
                    </a:lnTo>
                    <a:lnTo>
                      <a:pt x="277" y="144"/>
                    </a:lnTo>
                    <a:lnTo>
                      <a:pt x="273" y="145"/>
                    </a:lnTo>
                    <a:lnTo>
                      <a:pt x="268" y="145"/>
                    </a:lnTo>
                    <a:lnTo>
                      <a:pt x="265" y="148"/>
                    </a:lnTo>
                    <a:lnTo>
                      <a:pt x="260" y="148"/>
                    </a:lnTo>
                    <a:lnTo>
                      <a:pt x="256" y="149"/>
                    </a:lnTo>
                    <a:lnTo>
                      <a:pt x="251" y="150"/>
                    </a:lnTo>
                    <a:lnTo>
                      <a:pt x="247" y="152"/>
                    </a:lnTo>
                    <a:lnTo>
                      <a:pt x="242" y="153"/>
                    </a:lnTo>
                    <a:lnTo>
                      <a:pt x="238" y="153"/>
                    </a:lnTo>
                    <a:lnTo>
                      <a:pt x="234" y="154"/>
                    </a:lnTo>
                    <a:lnTo>
                      <a:pt x="230" y="155"/>
                    </a:lnTo>
                    <a:lnTo>
                      <a:pt x="225" y="155"/>
                    </a:lnTo>
                    <a:lnTo>
                      <a:pt x="219" y="154"/>
                    </a:lnTo>
                    <a:lnTo>
                      <a:pt x="215" y="154"/>
                    </a:lnTo>
                    <a:lnTo>
                      <a:pt x="210" y="153"/>
                    </a:lnTo>
                    <a:lnTo>
                      <a:pt x="206" y="154"/>
                    </a:lnTo>
                    <a:lnTo>
                      <a:pt x="204" y="149"/>
                    </a:lnTo>
                    <a:lnTo>
                      <a:pt x="198" y="148"/>
                    </a:lnTo>
                    <a:lnTo>
                      <a:pt x="194" y="147"/>
                    </a:lnTo>
                    <a:lnTo>
                      <a:pt x="189" y="143"/>
                    </a:lnTo>
                    <a:lnTo>
                      <a:pt x="184" y="141"/>
                    </a:lnTo>
                    <a:lnTo>
                      <a:pt x="179" y="140"/>
                    </a:lnTo>
                    <a:lnTo>
                      <a:pt x="175" y="138"/>
                    </a:lnTo>
                    <a:lnTo>
                      <a:pt x="170" y="141"/>
                    </a:lnTo>
                    <a:lnTo>
                      <a:pt x="167" y="144"/>
                    </a:lnTo>
                    <a:lnTo>
                      <a:pt x="162" y="144"/>
                    </a:lnTo>
                    <a:lnTo>
                      <a:pt x="159" y="147"/>
                    </a:lnTo>
                    <a:lnTo>
                      <a:pt x="154" y="147"/>
                    </a:lnTo>
                    <a:lnTo>
                      <a:pt x="150" y="148"/>
                    </a:lnTo>
                    <a:lnTo>
                      <a:pt x="145" y="149"/>
                    </a:lnTo>
                    <a:lnTo>
                      <a:pt x="138" y="150"/>
                    </a:lnTo>
                    <a:lnTo>
                      <a:pt x="134" y="150"/>
                    </a:lnTo>
                    <a:lnTo>
                      <a:pt x="130" y="156"/>
                    </a:lnTo>
                    <a:lnTo>
                      <a:pt x="130" y="159"/>
                    </a:lnTo>
                    <a:lnTo>
                      <a:pt x="131" y="164"/>
                    </a:lnTo>
                    <a:lnTo>
                      <a:pt x="127" y="164"/>
                    </a:lnTo>
                    <a:lnTo>
                      <a:pt x="122" y="167"/>
                    </a:lnTo>
                    <a:lnTo>
                      <a:pt x="118" y="165"/>
                    </a:lnTo>
                    <a:lnTo>
                      <a:pt x="113" y="166"/>
                    </a:lnTo>
                    <a:lnTo>
                      <a:pt x="108" y="162"/>
                    </a:lnTo>
                    <a:lnTo>
                      <a:pt x="103" y="160"/>
                    </a:lnTo>
                    <a:lnTo>
                      <a:pt x="99" y="160"/>
                    </a:lnTo>
                    <a:lnTo>
                      <a:pt x="92" y="158"/>
                    </a:lnTo>
                    <a:lnTo>
                      <a:pt x="87" y="157"/>
                    </a:lnTo>
                    <a:lnTo>
                      <a:pt x="83" y="157"/>
                    </a:lnTo>
                    <a:lnTo>
                      <a:pt x="78" y="158"/>
                    </a:lnTo>
                    <a:lnTo>
                      <a:pt x="73" y="154"/>
                    </a:lnTo>
                    <a:lnTo>
                      <a:pt x="73" y="150"/>
                    </a:lnTo>
                    <a:lnTo>
                      <a:pt x="67" y="149"/>
                    </a:lnTo>
                    <a:lnTo>
                      <a:pt x="63" y="150"/>
                    </a:lnTo>
                    <a:lnTo>
                      <a:pt x="58" y="150"/>
                    </a:lnTo>
                    <a:lnTo>
                      <a:pt x="53" y="151"/>
                    </a:lnTo>
                    <a:lnTo>
                      <a:pt x="49" y="154"/>
                    </a:lnTo>
                    <a:lnTo>
                      <a:pt x="45" y="154"/>
                    </a:lnTo>
                    <a:lnTo>
                      <a:pt x="40" y="159"/>
                    </a:lnTo>
                    <a:lnTo>
                      <a:pt x="37" y="161"/>
                    </a:lnTo>
                    <a:lnTo>
                      <a:pt x="32" y="164"/>
                    </a:lnTo>
                    <a:lnTo>
                      <a:pt x="28" y="166"/>
                    </a:lnTo>
                    <a:lnTo>
                      <a:pt x="24" y="170"/>
                    </a:lnTo>
                    <a:lnTo>
                      <a:pt x="20" y="172"/>
                    </a:lnTo>
                    <a:lnTo>
                      <a:pt x="15" y="174"/>
                    </a:lnTo>
                    <a:lnTo>
                      <a:pt x="14" y="179"/>
                    </a:lnTo>
                    <a:lnTo>
                      <a:pt x="13" y="184"/>
                    </a:lnTo>
                    <a:lnTo>
                      <a:pt x="8" y="185"/>
                    </a:lnTo>
                    <a:lnTo>
                      <a:pt x="4" y="186"/>
                    </a:lnTo>
                    <a:lnTo>
                      <a:pt x="1" y="191"/>
                    </a:lnTo>
                    <a:lnTo>
                      <a:pt x="0" y="195"/>
                    </a:lnTo>
                    <a:lnTo>
                      <a:pt x="2" y="199"/>
                    </a:lnTo>
                    <a:lnTo>
                      <a:pt x="8" y="200"/>
                    </a:lnTo>
                    <a:lnTo>
                      <a:pt x="10" y="204"/>
                    </a:lnTo>
                    <a:lnTo>
                      <a:pt x="16" y="206"/>
                    </a:lnTo>
                    <a:lnTo>
                      <a:pt x="20" y="209"/>
                    </a:lnTo>
                    <a:lnTo>
                      <a:pt x="25" y="208"/>
                    </a:lnTo>
                    <a:lnTo>
                      <a:pt x="29" y="210"/>
                    </a:lnTo>
                    <a:lnTo>
                      <a:pt x="32" y="214"/>
                    </a:lnTo>
                    <a:lnTo>
                      <a:pt x="30" y="219"/>
                    </a:lnTo>
                    <a:lnTo>
                      <a:pt x="31" y="223"/>
                    </a:lnTo>
                    <a:lnTo>
                      <a:pt x="32" y="232"/>
                    </a:lnTo>
                    <a:lnTo>
                      <a:pt x="34" y="234"/>
                    </a:lnTo>
                    <a:lnTo>
                      <a:pt x="35" y="239"/>
                    </a:lnTo>
                    <a:lnTo>
                      <a:pt x="42" y="238"/>
                    </a:lnTo>
                    <a:lnTo>
                      <a:pt x="47" y="238"/>
                    </a:lnTo>
                    <a:lnTo>
                      <a:pt x="51" y="234"/>
                    </a:lnTo>
                    <a:lnTo>
                      <a:pt x="56" y="233"/>
                    </a:lnTo>
                    <a:lnTo>
                      <a:pt x="59" y="233"/>
                    </a:lnTo>
                    <a:lnTo>
                      <a:pt x="63" y="232"/>
                    </a:lnTo>
                    <a:lnTo>
                      <a:pt x="67" y="232"/>
                    </a:lnTo>
                    <a:lnTo>
                      <a:pt x="72" y="231"/>
                    </a:lnTo>
                    <a:lnTo>
                      <a:pt x="76" y="231"/>
                    </a:lnTo>
                    <a:lnTo>
                      <a:pt x="81" y="228"/>
                    </a:lnTo>
                    <a:lnTo>
                      <a:pt x="85" y="227"/>
                    </a:lnTo>
                    <a:lnTo>
                      <a:pt x="90" y="225"/>
                    </a:lnTo>
                    <a:lnTo>
                      <a:pt x="94" y="224"/>
                    </a:lnTo>
                    <a:lnTo>
                      <a:pt x="96" y="228"/>
                    </a:lnTo>
                    <a:lnTo>
                      <a:pt x="97" y="234"/>
                    </a:lnTo>
                    <a:lnTo>
                      <a:pt x="98" y="239"/>
                    </a:lnTo>
                    <a:lnTo>
                      <a:pt x="98" y="243"/>
                    </a:lnTo>
                    <a:lnTo>
                      <a:pt x="103" y="244"/>
                    </a:lnTo>
                    <a:lnTo>
                      <a:pt x="107" y="242"/>
                    </a:lnTo>
                    <a:lnTo>
                      <a:pt x="107" y="238"/>
                    </a:lnTo>
                    <a:lnTo>
                      <a:pt x="106" y="233"/>
                    </a:lnTo>
                    <a:lnTo>
                      <a:pt x="111" y="232"/>
                    </a:lnTo>
                    <a:lnTo>
                      <a:pt x="115" y="231"/>
                    </a:lnTo>
                    <a:lnTo>
                      <a:pt x="120" y="233"/>
                    </a:lnTo>
                    <a:lnTo>
                      <a:pt x="125" y="235"/>
                    </a:lnTo>
                    <a:lnTo>
                      <a:pt x="128" y="239"/>
                    </a:lnTo>
                    <a:lnTo>
                      <a:pt x="132" y="238"/>
                    </a:lnTo>
                    <a:lnTo>
                      <a:pt x="135" y="241"/>
                    </a:lnTo>
                    <a:lnTo>
                      <a:pt x="136" y="246"/>
                    </a:lnTo>
                    <a:lnTo>
                      <a:pt x="136" y="250"/>
                    </a:lnTo>
                    <a:lnTo>
                      <a:pt x="134" y="254"/>
                    </a:lnTo>
                    <a:lnTo>
                      <a:pt x="139" y="257"/>
                    </a:lnTo>
                    <a:lnTo>
                      <a:pt x="144" y="260"/>
                    </a:lnTo>
                    <a:lnTo>
                      <a:pt x="147" y="263"/>
                    </a:lnTo>
                    <a:lnTo>
                      <a:pt x="150" y="267"/>
                    </a:lnTo>
                    <a:lnTo>
                      <a:pt x="148" y="271"/>
                    </a:lnTo>
                    <a:lnTo>
                      <a:pt x="149" y="276"/>
                    </a:lnTo>
                    <a:lnTo>
                      <a:pt x="149" y="279"/>
                    </a:lnTo>
                    <a:lnTo>
                      <a:pt x="150" y="283"/>
                    </a:lnTo>
                    <a:lnTo>
                      <a:pt x="151" y="289"/>
                    </a:lnTo>
                    <a:lnTo>
                      <a:pt x="155" y="291"/>
                    </a:lnTo>
                    <a:lnTo>
                      <a:pt x="165" y="294"/>
                    </a:lnTo>
                    <a:lnTo>
                      <a:pt x="172" y="297"/>
                    </a:lnTo>
                    <a:lnTo>
                      <a:pt x="181" y="300"/>
                    </a:lnTo>
                    <a:lnTo>
                      <a:pt x="188" y="301"/>
                    </a:lnTo>
                    <a:lnTo>
                      <a:pt x="179" y="311"/>
                    </a:lnTo>
                    <a:lnTo>
                      <a:pt x="185" y="316"/>
                    </a:lnTo>
                    <a:lnTo>
                      <a:pt x="188" y="314"/>
                    </a:lnTo>
                    <a:lnTo>
                      <a:pt x="194" y="322"/>
                    </a:lnTo>
                    <a:lnTo>
                      <a:pt x="185" y="319"/>
                    </a:lnTo>
                    <a:lnTo>
                      <a:pt x="194" y="318"/>
                    </a:lnTo>
                    <a:lnTo>
                      <a:pt x="185" y="322"/>
                    </a:lnTo>
                    <a:lnTo>
                      <a:pt x="183" y="325"/>
                    </a:lnTo>
                    <a:lnTo>
                      <a:pt x="184" y="331"/>
                    </a:lnTo>
                    <a:lnTo>
                      <a:pt x="184" y="335"/>
                    </a:lnTo>
                    <a:lnTo>
                      <a:pt x="186" y="339"/>
                    </a:lnTo>
                    <a:lnTo>
                      <a:pt x="189" y="345"/>
                    </a:lnTo>
                    <a:lnTo>
                      <a:pt x="191" y="348"/>
                    </a:lnTo>
                    <a:lnTo>
                      <a:pt x="192" y="353"/>
                    </a:lnTo>
                    <a:lnTo>
                      <a:pt x="197" y="355"/>
                    </a:lnTo>
                    <a:lnTo>
                      <a:pt x="201" y="355"/>
                    </a:lnTo>
                    <a:lnTo>
                      <a:pt x="206" y="353"/>
                    </a:lnTo>
                    <a:lnTo>
                      <a:pt x="210" y="354"/>
                    </a:lnTo>
                    <a:lnTo>
                      <a:pt x="215" y="353"/>
                    </a:lnTo>
                    <a:lnTo>
                      <a:pt x="219" y="353"/>
                    </a:lnTo>
                    <a:lnTo>
                      <a:pt x="224" y="351"/>
                    </a:lnTo>
                    <a:lnTo>
                      <a:pt x="227" y="347"/>
                    </a:lnTo>
                    <a:lnTo>
                      <a:pt x="232" y="346"/>
                    </a:lnTo>
                    <a:lnTo>
                      <a:pt x="236" y="342"/>
                    </a:lnTo>
                    <a:lnTo>
                      <a:pt x="240" y="340"/>
                    </a:lnTo>
                    <a:lnTo>
                      <a:pt x="244" y="339"/>
                    </a:lnTo>
                    <a:lnTo>
                      <a:pt x="249" y="336"/>
                    </a:lnTo>
                    <a:lnTo>
                      <a:pt x="254" y="336"/>
                    </a:lnTo>
                    <a:lnTo>
                      <a:pt x="258" y="335"/>
                    </a:lnTo>
                    <a:lnTo>
                      <a:pt x="265" y="333"/>
                    </a:lnTo>
                    <a:lnTo>
                      <a:pt x="272" y="332"/>
                    </a:lnTo>
                    <a:lnTo>
                      <a:pt x="276" y="332"/>
                    </a:lnTo>
                    <a:lnTo>
                      <a:pt x="281" y="331"/>
                    </a:lnTo>
                    <a:lnTo>
                      <a:pt x="284" y="329"/>
                    </a:lnTo>
                    <a:lnTo>
                      <a:pt x="289" y="328"/>
                    </a:lnTo>
                    <a:lnTo>
                      <a:pt x="292" y="328"/>
                    </a:lnTo>
                    <a:lnTo>
                      <a:pt x="297" y="327"/>
                    </a:lnTo>
                    <a:lnTo>
                      <a:pt x="301" y="326"/>
                    </a:lnTo>
                    <a:lnTo>
                      <a:pt x="306" y="326"/>
                    </a:lnTo>
                    <a:lnTo>
                      <a:pt x="310" y="325"/>
                    </a:lnTo>
                    <a:lnTo>
                      <a:pt x="315" y="325"/>
                    </a:lnTo>
                    <a:lnTo>
                      <a:pt x="319" y="324"/>
                    </a:lnTo>
                    <a:lnTo>
                      <a:pt x="326" y="323"/>
                    </a:lnTo>
                    <a:lnTo>
                      <a:pt x="330" y="323"/>
                    </a:lnTo>
                    <a:lnTo>
                      <a:pt x="335" y="322"/>
                    </a:lnTo>
                    <a:lnTo>
                      <a:pt x="339" y="321"/>
                    </a:lnTo>
                    <a:lnTo>
                      <a:pt x="344" y="321"/>
                    </a:lnTo>
                    <a:lnTo>
                      <a:pt x="347" y="317"/>
                    </a:lnTo>
                    <a:lnTo>
                      <a:pt x="350" y="313"/>
                    </a:lnTo>
                    <a:lnTo>
                      <a:pt x="353" y="310"/>
                    </a:lnTo>
                    <a:lnTo>
                      <a:pt x="361" y="313"/>
                    </a:lnTo>
                    <a:lnTo>
                      <a:pt x="366" y="313"/>
                    </a:lnTo>
                    <a:lnTo>
                      <a:pt x="370" y="314"/>
                    </a:lnTo>
                    <a:lnTo>
                      <a:pt x="375" y="316"/>
                    </a:lnTo>
                    <a:lnTo>
                      <a:pt x="382" y="319"/>
                    </a:lnTo>
                    <a:lnTo>
                      <a:pt x="387" y="320"/>
                    </a:lnTo>
                    <a:lnTo>
                      <a:pt x="396" y="321"/>
                    </a:lnTo>
                    <a:lnTo>
                      <a:pt x="403" y="325"/>
                    </a:lnTo>
                    <a:lnTo>
                      <a:pt x="409" y="326"/>
                    </a:lnTo>
                    <a:lnTo>
                      <a:pt x="416" y="326"/>
                    </a:lnTo>
                    <a:lnTo>
                      <a:pt x="419" y="331"/>
                    </a:lnTo>
                    <a:lnTo>
                      <a:pt x="424" y="332"/>
                    </a:lnTo>
                    <a:lnTo>
                      <a:pt x="431" y="333"/>
                    </a:lnTo>
                    <a:lnTo>
                      <a:pt x="436" y="336"/>
                    </a:lnTo>
                    <a:lnTo>
                      <a:pt x="438" y="338"/>
                    </a:lnTo>
                    <a:lnTo>
                      <a:pt x="444" y="343"/>
                    </a:lnTo>
                    <a:lnTo>
                      <a:pt x="446" y="346"/>
                    </a:lnTo>
                    <a:lnTo>
                      <a:pt x="448" y="349"/>
                    </a:lnTo>
                    <a:lnTo>
                      <a:pt x="452" y="354"/>
                    </a:lnTo>
                    <a:lnTo>
                      <a:pt x="453" y="357"/>
                    </a:lnTo>
                    <a:lnTo>
                      <a:pt x="453" y="361"/>
                    </a:lnTo>
                    <a:lnTo>
                      <a:pt x="456" y="365"/>
                    </a:lnTo>
                    <a:lnTo>
                      <a:pt x="458" y="369"/>
                    </a:lnTo>
                    <a:lnTo>
                      <a:pt x="466" y="372"/>
                    </a:lnTo>
                    <a:lnTo>
                      <a:pt x="470" y="376"/>
                    </a:lnTo>
                    <a:lnTo>
                      <a:pt x="476" y="378"/>
                    </a:lnTo>
                    <a:lnTo>
                      <a:pt x="483" y="381"/>
                    </a:lnTo>
                    <a:lnTo>
                      <a:pt x="487" y="384"/>
                    </a:lnTo>
                    <a:lnTo>
                      <a:pt x="493" y="385"/>
                    </a:lnTo>
                    <a:lnTo>
                      <a:pt x="497" y="389"/>
                    </a:lnTo>
                    <a:lnTo>
                      <a:pt x="501" y="392"/>
                    </a:lnTo>
                    <a:lnTo>
                      <a:pt x="505" y="397"/>
                    </a:lnTo>
                    <a:lnTo>
                      <a:pt x="511" y="399"/>
                    </a:lnTo>
                    <a:lnTo>
                      <a:pt x="515" y="401"/>
                    </a:lnTo>
                    <a:lnTo>
                      <a:pt x="518" y="405"/>
                    </a:lnTo>
                    <a:lnTo>
                      <a:pt x="523" y="407"/>
                    </a:lnTo>
                    <a:lnTo>
                      <a:pt x="526" y="408"/>
                    </a:lnTo>
                    <a:lnTo>
                      <a:pt x="532" y="411"/>
                    </a:lnTo>
                    <a:lnTo>
                      <a:pt x="536" y="413"/>
                    </a:lnTo>
                    <a:lnTo>
                      <a:pt x="541" y="414"/>
                    </a:lnTo>
                    <a:lnTo>
                      <a:pt x="544" y="419"/>
                    </a:lnTo>
                    <a:lnTo>
                      <a:pt x="546" y="422"/>
                    </a:lnTo>
                    <a:lnTo>
                      <a:pt x="551" y="421"/>
                    </a:lnTo>
                    <a:lnTo>
                      <a:pt x="555" y="420"/>
                    </a:lnTo>
                    <a:lnTo>
                      <a:pt x="563" y="426"/>
                    </a:lnTo>
                    <a:lnTo>
                      <a:pt x="568" y="427"/>
                    </a:lnTo>
                    <a:lnTo>
                      <a:pt x="573" y="431"/>
                    </a:lnTo>
                    <a:lnTo>
                      <a:pt x="578" y="433"/>
                    </a:lnTo>
                    <a:lnTo>
                      <a:pt x="578" y="436"/>
                    </a:lnTo>
                    <a:lnTo>
                      <a:pt x="579" y="440"/>
                    </a:lnTo>
                    <a:lnTo>
                      <a:pt x="579" y="444"/>
                    </a:lnTo>
                    <a:lnTo>
                      <a:pt x="577" y="450"/>
                    </a:lnTo>
                    <a:lnTo>
                      <a:pt x="577" y="453"/>
                    </a:lnTo>
                    <a:lnTo>
                      <a:pt x="583" y="457"/>
                    </a:lnTo>
                    <a:lnTo>
                      <a:pt x="587" y="458"/>
                    </a:lnTo>
                    <a:lnTo>
                      <a:pt x="593" y="460"/>
                    </a:lnTo>
                    <a:lnTo>
                      <a:pt x="596" y="459"/>
                    </a:lnTo>
                    <a:lnTo>
                      <a:pt x="600" y="463"/>
                    </a:lnTo>
                    <a:lnTo>
                      <a:pt x="604" y="462"/>
                    </a:lnTo>
                    <a:lnTo>
                      <a:pt x="609" y="464"/>
                    </a:lnTo>
                    <a:lnTo>
                      <a:pt x="616" y="463"/>
                    </a:lnTo>
                    <a:lnTo>
                      <a:pt x="617" y="457"/>
                    </a:lnTo>
                    <a:lnTo>
                      <a:pt x="621" y="454"/>
                    </a:lnTo>
                    <a:lnTo>
                      <a:pt x="625" y="446"/>
                    </a:lnTo>
                    <a:lnTo>
                      <a:pt x="629" y="443"/>
                    </a:lnTo>
                    <a:lnTo>
                      <a:pt x="635" y="440"/>
                    </a:lnTo>
                    <a:lnTo>
                      <a:pt x="638" y="439"/>
                    </a:lnTo>
                    <a:lnTo>
                      <a:pt x="645" y="439"/>
                    </a:lnTo>
                    <a:lnTo>
                      <a:pt x="650" y="435"/>
                    </a:lnTo>
                    <a:lnTo>
                      <a:pt x="654" y="434"/>
                    </a:lnTo>
                    <a:lnTo>
                      <a:pt x="659" y="434"/>
                    </a:lnTo>
                    <a:lnTo>
                      <a:pt x="663" y="433"/>
                    </a:lnTo>
                    <a:lnTo>
                      <a:pt x="668" y="433"/>
                    </a:lnTo>
                    <a:lnTo>
                      <a:pt x="672" y="435"/>
                    </a:lnTo>
                    <a:lnTo>
                      <a:pt x="677" y="434"/>
                    </a:lnTo>
                    <a:lnTo>
                      <a:pt x="681" y="436"/>
                    </a:lnTo>
                    <a:lnTo>
                      <a:pt x="686" y="436"/>
                    </a:lnTo>
                    <a:lnTo>
                      <a:pt x="690" y="436"/>
                    </a:lnTo>
                    <a:lnTo>
                      <a:pt x="695" y="435"/>
                    </a:lnTo>
                    <a:lnTo>
                      <a:pt x="699" y="434"/>
                    </a:lnTo>
                    <a:lnTo>
                      <a:pt x="704" y="434"/>
                    </a:lnTo>
                    <a:lnTo>
                      <a:pt x="709" y="437"/>
                    </a:lnTo>
                    <a:lnTo>
                      <a:pt x="714" y="439"/>
                    </a:lnTo>
                    <a:lnTo>
                      <a:pt x="718" y="441"/>
                    </a:lnTo>
                    <a:lnTo>
                      <a:pt x="723" y="440"/>
                    </a:lnTo>
                    <a:lnTo>
                      <a:pt x="728" y="440"/>
                    </a:lnTo>
                    <a:lnTo>
                      <a:pt x="732" y="441"/>
                    </a:lnTo>
                    <a:lnTo>
                      <a:pt x="737" y="438"/>
                    </a:lnTo>
                    <a:lnTo>
                      <a:pt x="741" y="436"/>
                    </a:lnTo>
                    <a:lnTo>
                      <a:pt x="746" y="435"/>
                    </a:lnTo>
                    <a:lnTo>
                      <a:pt x="749" y="435"/>
                    </a:lnTo>
                    <a:lnTo>
                      <a:pt x="753" y="436"/>
                    </a:lnTo>
                    <a:lnTo>
                      <a:pt x="758" y="436"/>
                    </a:lnTo>
                    <a:lnTo>
                      <a:pt x="762" y="435"/>
                    </a:lnTo>
                    <a:lnTo>
                      <a:pt x="766" y="432"/>
                    </a:lnTo>
                    <a:lnTo>
                      <a:pt x="768" y="427"/>
                    </a:lnTo>
                    <a:lnTo>
                      <a:pt x="765" y="424"/>
                    </a:lnTo>
                    <a:lnTo>
                      <a:pt x="765" y="419"/>
                    </a:lnTo>
                    <a:lnTo>
                      <a:pt x="764" y="415"/>
                    </a:lnTo>
                    <a:lnTo>
                      <a:pt x="766" y="411"/>
                    </a:lnTo>
                    <a:lnTo>
                      <a:pt x="770" y="407"/>
                    </a:lnTo>
                    <a:lnTo>
                      <a:pt x="773" y="401"/>
                    </a:lnTo>
                    <a:lnTo>
                      <a:pt x="769" y="399"/>
                    </a:lnTo>
                    <a:lnTo>
                      <a:pt x="768" y="394"/>
                    </a:lnTo>
                    <a:lnTo>
                      <a:pt x="768" y="390"/>
                    </a:lnTo>
                    <a:lnTo>
                      <a:pt x="772" y="388"/>
                    </a:lnTo>
                    <a:lnTo>
                      <a:pt x="776" y="386"/>
                    </a:lnTo>
                    <a:lnTo>
                      <a:pt x="780" y="382"/>
                    </a:lnTo>
                    <a:lnTo>
                      <a:pt x="782" y="378"/>
                    </a:lnTo>
                    <a:lnTo>
                      <a:pt x="777" y="376"/>
                    </a:lnTo>
                    <a:lnTo>
                      <a:pt x="773" y="375"/>
                    </a:lnTo>
                    <a:lnTo>
                      <a:pt x="772" y="371"/>
                    </a:lnTo>
                    <a:lnTo>
                      <a:pt x="769" y="366"/>
                    </a:lnTo>
                    <a:lnTo>
                      <a:pt x="764" y="364"/>
                    </a:lnTo>
                    <a:lnTo>
                      <a:pt x="759" y="363"/>
                    </a:lnTo>
                    <a:lnTo>
                      <a:pt x="756" y="358"/>
                    </a:lnTo>
                    <a:lnTo>
                      <a:pt x="754" y="354"/>
                    </a:lnTo>
                    <a:lnTo>
                      <a:pt x="750" y="351"/>
                    </a:lnTo>
                    <a:lnTo>
                      <a:pt x="748" y="347"/>
                    </a:lnTo>
                    <a:lnTo>
                      <a:pt x="744" y="346"/>
                    </a:lnTo>
                    <a:lnTo>
                      <a:pt x="738" y="343"/>
                    </a:lnTo>
                    <a:lnTo>
                      <a:pt x="735" y="339"/>
                    </a:lnTo>
                    <a:lnTo>
                      <a:pt x="732" y="334"/>
                    </a:lnTo>
                    <a:lnTo>
                      <a:pt x="732" y="331"/>
                    </a:lnTo>
                    <a:lnTo>
                      <a:pt x="728" y="327"/>
                    </a:lnTo>
                    <a:lnTo>
                      <a:pt x="724" y="327"/>
                    </a:lnTo>
                    <a:lnTo>
                      <a:pt x="719" y="328"/>
                    </a:lnTo>
                    <a:lnTo>
                      <a:pt x="715" y="328"/>
                    </a:lnTo>
                    <a:lnTo>
                      <a:pt x="710" y="329"/>
                    </a:lnTo>
                    <a:lnTo>
                      <a:pt x="706" y="329"/>
                    </a:lnTo>
                    <a:lnTo>
                      <a:pt x="701" y="330"/>
                    </a:lnTo>
                    <a:lnTo>
                      <a:pt x="699" y="326"/>
                    </a:lnTo>
                    <a:lnTo>
                      <a:pt x="696" y="323"/>
                    </a:lnTo>
                    <a:lnTo>
                      <a:pt x="691" y="321"/>
                    </a:lnTo>
                    <a:lnTo>
                      <a:pt x="687" y="322"/>
                    </a:lnTo>
                    <a:lnTo>
                      <a:pt x="682" y="325"/>
                    </a:lnTo>
                    <a:lnTo>
                      <a:pt x="678" y="325"/>
                    </a:lnTo>
                    <a:lnTo>
                      <a:pt x="673" y="326"/>
                    </a:lnTo>
                    <a:lnTo>
                      <a:pt x="671" y="322"/>
                    </a:lnTo>
                    <a:lnTo>
                      <a:pt x="670" y="317"/>
                    </a:lnTo>
                    <a:lnTo>
                      <a:pt x="670" y="314"/>
                    </a:lnTo>
                    <a:lnTo>
                      <a:pt x="669" y="309"/>
                    </a:lnTo>
                    <a:lnTo>
                      <a:pt x="669" y="305"/>
                    </a:lnTo>
                    <a:lnTo>
                      <a:pt x="670" y="301"/>
                    </a:lnTo>
                    <a:lnTo>
                      <a:pt x="670" y="297"/>
                    </a:lnTo>
                    <a:lnTo>
                      <a:pt x="669" y="292"/>
                    </a:lnTo>
                    <a:lnTo>
                      <a:pt x="666" y="289"/>
                    </a:lnTo>
                    <a:lnTo>
                      <a:pt x="666" y="284"/>
                    </a:lnTo>
                    <a:lnTo>
                      <a:pt x="665" y="280"/>
                    </a:lnTo>
                    <a:lnTo>
                      <a:pt x="667" y="277"/>
                    </a:lnTo>
                    <a:lnTo>
                      <a:pt x="671" y="272"/>
                    </a:lnTo>
                    <a:lnTo>
                      <a:pt x="675" y="267"/>
                    </a:lnTo>
                    <a:lnTo>
                      <a:pt x="676" y="263"/>
                    </a:lnTo>
                    <a:lnTo>
                      <a:pt x="673" y="259"/>
                    </a:lnTo>
                    <a:lnTo>
                      <a:pt x="669" y="257"/>
                    </a:lnTo>
                    <a:lnTo>
                      <a:pt x="669" y="254"/>
                    </a:lnTo>
                    <a:lnTo>
                      <a:pt x="665" y="249"/>
                    </a:lnTo>
                    <a:lnTo>
                      <a:pt x="668" y="245"/>
                    </a:lnTo>
                    <a:lnTo>
                      <a:pt x="671" y="242"/>
                    </a:lnTo>
                    <a:lnTo>
                      <a:pt x="676" y="241"/>
                    </a:lnTo>
                    <a:lnTo>
                      <a:pt x="680" y="237"/>
                    </a:lnTo>
                    <a:lnTo>
                      <a:pt x="681" y="233"/>
                    </a:lnTo>
                    <a:lnTo>
                      <a:pt x="680" y="237"/>
                    </a:lnTo>
                    <a:lnTo>
                      <a:pt x="684" y="235"/>
                    </a:lnTo>
                    <a:lnTo>
                      <a:pt x="688" y="232"/>
                    </a:lnTo>
                    <a:lnTo>
                      <a:pt x="693" y="229"/>
                    </a:lnTo>
                    <a:lnTo>
                      <a:pt x="694" y="225"/>
                    </a:lnTo>
                    <a:lnTo>
                      <a:pt x="699" y="220"/>
                    </a:lnTo>
                    <a:lnTo>
                      <a:pt x="698" y="216"/>
                    </a:lnTo>
                    <a:lnTo>
                      <a:pt x="697" y="213"/>
                    </a:lnTo>
                    <a:lnTo>
                      <a:pt x="694" y="208"/>
                    </a:lnTo>
                    <a:lnTo>
                      <a:pt x="696" y="204"/>
                    </a:lnTo>
                    <a:lnTo>
                      <a:pt x="696" y="200"/>
                    </a:lnTo>
                    <a:lnTo>
                      <a:pt x="699" y="195"/>
                    </a:lnTo>
                    <a:lnTo>
                      <a:pt x="701" y="190"/>
                    </a:lnTo>
                    <a:lnTo>
                      <a:pt x="705" y="188"/>
                    </a:lnTo>
                    <a:lnTo>
                      <a:pt x="709" y="184"/>
                    </a:lnTo>
                    <a:lnTo>
                      <a:pt x="713" y="178"/>
                    </a:lnTo>
                    <a:lnTo>
                      <a:pt x="714" y="175"/>
                    </a:lnTo>
                    <a:lnTo>
                      <a:pt x="717" y="172"/>
                    </a:lnTo>
                    <a:lnTo>
                      <a:pt x="717" y="168"/>
                    </a:lnTo>
                    <a:lnTo>
                      <a:pt x="714" y="163"/>
                    </a:lnTo>
                    <a:lnTo>
                      <a:pt x="712" y="160"/>
                    </a:lnTo>
                    <a:lnTo>
                      <a:pt x="710" y="156"/>
                    </a:lnTo>
                    <a:lnTo>
                      <a:pt x="705" y="154"/>
                    </a:lnTo>
                    <a:lnTo>
                      <a:pt x="701" y="153"/>
                    </a:lnTo>
                    <a:lnTo>
                      <a:pt x="698" y="150"/>
                    </a:lnTo>
                    <a:lnTo>
                      <a:pt x="694" y="145"/>
                    </a:lnTo>
                    <a:lnTo>
                      <a:pt x="694" y="142"/>
                    </a:lnTo>
                    <a:lnTo>
                      <a:pt x="700" y="136"/>
                    </a:lnTo>
                    <a:lnTo>
                      <a:pt x="705" y="136"/>
                    </a:lnTo>
                    <a:lnTo>
                      <a:pt x="709" y="137"/>
                    </a:lnTo>
                    <a:lnTo>
                      <a:pt x="713" y="137"/>
                    </a:lnTo>
                    <a:lnTo>
                      <a:pt x="717" y="136"/>
                    </a:lnTo>
                    <a:lnTo>
                      <a:pt x="721" y="136"/>
                    </a:lnTo>
                    <a:lnTo>
                      <a:pt x="726" y="133"/>
                    </a:lnTo>
                    <a:lnTo>
                      <a:pt x="731" y="130"/>
                    </a:lnTo>
                    <a:lnTo>
                      <a:pt x="735" y="128"/>
                    </a:lnTo>
                    <a:lnTo>
                      <a:pt x="739" y="127"/>
                    </a:lnTo>
                    <a:lnTo>
                      <a:pt x="743" y="124"/>
                    </a:lnTo>
                    <a:lnTo>
                      <a:pt x="748" y="126"/>
                    </a:lnTo>
                    <a:lnTo>
                      <a:pt x="751" y="130"/>
                    </a:lnTo>
                    <a:lnTo>
                      <a:pt x="755" y="127"/>
                    </a:lnTo>
                    <a:lnTo>
                      <a:pt x="757" y="122"/>
                    </a:lnTo>
                    <a:lnTo>
                      <a:pt x="758" y="119"/>
                    </a:lnTo>
                    <a:lnTo>
                      <a:pt x="758" y="115"/>
                    </a:lnTo>
                    <a:lnTo>
                      <a:pt x="752" y="110"/>
                    </a:lnTo>
                    <a:lnTo>
                      <a:pt x="750" y="108"/>
                    </a:lnTo>
                    <a:lnTo>
                      <a:pt x="746" y="105"/>
                    </a:lnTo>
                    <a:lnTo>
                      <a:pt x="742" y="102"/>
                    </a:lnTo>
                    <a:lnTo>
                      <a:pt x="738" y="102"/>
                    </a:lnTo>
                    <a:lnTo>
                      <a:pt x="733" y="101"/>
                    </a:lnTo>
                    <a:lnTo>
                      <a:pt x="730" y="97"/>
                    </a:lnTo>
                    <a:lnTo>
                      <a:pt x="728" y="93"/>
                    </a:lnTo>
                    <a:lnTo>
                      <a:pt x="727" y="88"/>
                    </a:lnTo>
                    <a:lnTo>
                      <a:pt x="727" y="86"/>
                    </a:lnTo>
                    <a:lnTo>
                      <a:pt x="726" y="81"/>
                    </a:lnTo>
                    <a:lnTo>
                      <a:pt x="728" y="76"/>
                    </a:lnTo>
                    <a:lnTo>
                      <a:pt x="727" y="72"/>
                    </a:lnTo>
                    <a:lnTo>
                      <a:pt x="723" y="71"/>
                    </a:lnTo>
                    <a:lnTo>
                      <a:pt x="719" y="67"/>
                    </a:lnTo>
                    <a:lnTo>
                      <a:pt x="715" y="65"/>
                    </a:lnTo>
                    <a:lnTo>
                      <a:pt x="710" y="65"/>
                    </a:lnTo>
                    <a:lnTo>
                      <a:pt x="706" y="66"/>
                    </a:lnTo>
                    <a:lnTo>
                      <a:pt x="701" y="67"/>
                    </a:lnTo>
                    <a:lnTo>
                      <a:pt x="699" y="70"/>
                    </a:lnTo>
                    <a:lnTo>
                      <a:pt x="694" y="73"/>
                    </a:lnTo>
                    <a:lnTo>
                      <a:pt x="692" y="77"/>
                    </a:lnTo>
                    <a:lnTo>
                      <a:pt x="689" y="81"/>
                    </a:lnTo>
                    <a:lnTo>
                      <a:pt x="686" y="84"/>
                    </a:lnTo>
                    <a:lnTo>
                      <a:pt x="683" y="86"/>
                    </a:lnTo>
                    <a:lnTo>
                      <a:pt x="678" y="90"/>
                    </a:lnTo>
                    <a:lnTo>
                      <a:pt x="674" y="91"/>
                    </a:lnTo>
                    <a:lnTo>
                      <a:pt x="669" y="91"/>
                    </a:lnTo>
                    <a:lnTo>
                      <a:pt x="665" y="92"/>
                    </a:lnTo>
                    <a:lnTo>
                      <a:pt x="660" y="92"/>
                    </a:lnTo>
                    <a:lnTo>
                      <a:pt x="656" y="95"/>
                    </a:lnTo>
                    <a:lnTo>
                      <a:pt x="652" y="99"/>
                    </a:lnTo>
                    <a:lnTo>
                      <a:pt x="653" y="104"/>
                    </a:lnTo>
                    <a:lnTo>
                      <a:pt x="653" y="108"/>
                    </a:lnTo>
                    <a:lnTo>
                      <a:pt x="656" y="111"/>
                    </a:lnTo>
                    <a:lnTo>
                      <a:pt x="654" y="115"/>
                    </a:lnTo>
                    <a:lnTo>
                      <a:pt x="651" y="121"/>
                    </a:lnTo>
                    <a:lnTo>
                      <a:pt x="646" y="124"/>
                    </a:lnTo>
                    <a:lnTo>
                      <a:pt x="642" y="125"/>
                    </a:lnTo>
                    <a:lnTo>
                      <a:pt x="638" y="131"/>
                    </a:lnTo>
                    <a:lnTo>
                      <a:pt x="637" y="135"/>
                    </a:lnTo>
                    <a:lnTo>
                      <a:pt x="635" y="138"/>
                    </a:lnTo>
                    <a:lnTo>
                      <a:pt x="630" y="139"/>
                    </a:lnTo>
                    <a:lnTo>
                      <a:pt x="626" y="142"/>
                    </a:lnTo>
                    <a:lnTo>
                      <a:pt x="622" y="145"/>
                    </a:lnTo>
                    <a:lnTo>
                      <a:pt x="620" y="149"/>
                    </a:lnTo>
                    <a:lnTo>
                      <a:pt x="619" y="154"/>
                    </a:lnTo>
                    <a:lnTo>
                      <a:pt x="614" y="156"/>
                    </a:lnTo>
                    <a:lnTo>
                      <a:pt x="610" y="162"/>
                    </a:lnTo>
                    <a:lnTo>
                      <a:pt x="606" y="164"/>
                    </a:lnTo>
                    <a:lnTo>
                      <a:pt x="601" y="165"/>
                    </a:lnTo>
                    <a:lnTo>
                      <a:pt x="598" y="160"/>
                    </a:lnTo>
                    <a:lnTo>
                      <a:pt x="593" y="159"/>
                    </a:lnTo>
                    <a:lnTo>
                      <a:pt x="590" y="156"/>
                    </a:lnTo>
                    <a:lnTo>
                      <a:pt x="587" y="152"/>
                    </a:lnTo>
                    <a:lnTo>
                      <a:pt x="585" y="148"/>
                    </a:lnTo>
                    <a:lnTo>
                      <a:pt x="580" y="146"/>
                    </a:lnTo>
                    <a:lnTo>
                      <a:pt x="579" y="143"/>
                    </a:lnTo>
                    <a:lnTo>
                      <a:pt x="575" y="141"/>
                    </a:lnTo>
                    <a:lnTo>
                      <a:pt x="572" y="137"/>
                    </a:lnTo>
                    <a:lnTo>
                      <a:pt x="567" y="137"/>
                    </a:lnTo>
                    <a:lnTo>
                      <a:pt x="562" y="135"/>
                    </a:lnTo>
                    <a:lnTo>
                      <a:pt x="558" y="135"/>
                    </a:lnTo>
                    <a:lnTo>
                      <a:pt x="553" y="137"/>
                    </a:lnTo>
                    <a:lnTo>
                      <a:pt x="549" y="140"/>
                    </a:lnTo>
                    <a:lnTo>
                      <a:pt x="544" y="140"/>
                    </a:lnTo>
                    <a:lnTo>
                      <a:pt x="541" y="144"/>
                    </a:lnTo>
                    <a:lnTo>
                      <a:pt x="536" y="145"/>
                    </a:lnTo>
                    <a:lnTo>
                      <a:pt x="532" y="145"/>
                    </a:lnTo>
                    <a:lnTo>
                      <a:pt x="527" y="146"/>
                    </a:lnTo>
                    <a:lnTo>
                      <a:pt x="523" y="143"/>
                    </a:lnTo>
                    <a:lnTo>
                      <a:pt x="520" y="141"/>
                    </a:lnTo>
                    <a:lnTo>
                      <a:pt x="517" y="136"/>
                    </a:lnTo>
                    <a:lnTo>
                      <a:pt x="516" y="132"/>
                    </a:lnTo>
                    <a:lnTo>
                      <a:pt x="516" y="128"/>
                    </a:lnTo>
                    <a:lnTo>
                      <a:pt x="518" y="124"/>
                    </a:lnTo>
                    <a:lnTo>
                      <a:pt x="517" y="119"/>
                    </a:lnTo>
                    <a:lnTo>
                      <a:pt x="521" y="116"/>
                    </a:lnTo>
                    <a:lnTo>
                      <a:pt x="523" y="113"/>
                    </a:lnTo>
                    <a:lnTo>
                      <a:pt x="525" y="108"/>
                    </a:lnTo>
                    <a:lnTo>
                      <a:pt x="526" y="103"/>
                    </a:lnTo>
                    <a:lnTo>
                      <a:pt x="530" y="99"/>
                    </a:lnTo>
                    <a:lnTo>
                      <a:pt x="529" y="95"/>
                    </a:lnTo>
                    <a:lnTo>
                      <a:pt x="529" y="90"/>
                    </a:lnTo>
                    <a:lnTo>
                      <a:pt x="528" y="87"/>
                    </a:lnTo>
                    <a:lnTo>
                      <a:pt x="531" y="82"/>
                    </a:lnTo>
                    <a:lnTo>
                      <a:pt x="530" y="79"/>
                    </a:lnTo>
                    <a:lnTo>
                      <a:pt x="530" y="75"/>
                    </a:lnTo>
                    <a:lnTo>
                      <a:pt x="531" y="70"/>
                    </a:lnTo>
                    <a:lnTo>
                      <a:pt x="532" y="66"/>
                    </a:lnTo>
                    <a:lnTo>
                      <a:pt x="534" y="61"/>
                    </a:lnTo>
                    <a:lnTo>
                      <a:pt x="538" y="56"/>
                    </a:lnTo>
                    <a:lnTo>
                      <a:pt x="540" y="52"/>
                    </a:lnTo>
                    <a:lnTo>
                      <a:pt x="541" y="48"/>
                    </a:lnTo>
                    <a:lnTo>
                      <a:pt x="540" y="43"/>
                    </a:lnTo>
                    <a:lnTo>
                      <a:pt x="543" y="40"/>
                    </a:lnTo>
                    <a:lnTo>
                      <a:pt x="544" y="34"/>
                    </a:lnTo>
                    <a:lnTo>
                      <a:pt x="546" y="30"/>
                    </a:lnTo>
                    <a:lnTo>
                      <a:pt x="550" y="26"/>
                    </a:lnTo>
                    <a:lnTo>
                      <a:pt x="552" y="21"/>
                    </a:lnTo>
                    <a:lnTo>
                      <a:pt x="556" y="19"/>
                    </a:lnTo>
                    <a:lnTo>
                      <a:pt x="558" y="13"/>
                    </a:lnTo>
                    <a:lnTo>
                      <a:pt x="555" y="11"/>
                    </a:lnTo>
                    <a:lnTo>
                      <a:pt x="550" y="11"/>
                    </a:lnTo>
                    <a:lnTo>
                      <a:pt x="545" y="9"/>
                    </a:lnTo>
                    <a:lnTo>
                      <a:pt x="541" y="8"/>
                    </a:lnTo>
                    <a:lnTo>
                      <a:pt x="536" y="8"/>
                    </a:lnTo>
                    <a:lnTo>
                      <a:pt x="532" y="9"/>
                    </a:lnTo>
                    <a:lnTo>
                      <a:pt x="527" y="8"/>
                    </a:lnTo>
                    <a:lnTo>
                      <a:pt x="526" y="5"/>
                    </a:lnTo>
                    <a:lnTo>
                      <a:pt x="522" y="5"/>
                    </a:lnTo>
                    <a:lnTo>
                      <a:pt x="517" y="6"/>
                    </a:lnTo>
                    <a:lnTo>
                      <a:pt x="513" y="7"/>
                    </a:lnTo>
                    <a:lnTo>
                      <a:pt x="509" y="8"/>
                    </a:lnTo>
                    <a:lnTo>
                      <a:pt x="507" y="12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1" name="Freeform 98"/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6920804" y="3766492"/>
                <a:ext cx="255911" cy="204888"/>
              </a:xfrm>
              <a:custGeom>
                <a:avLst/>
                <a:gdLst>
                  <a:gd name="T0" fmla="*/ 2147483647 w 206"/>
                  <a:gd name="T1" fmla="*/ 2147483647 h 173"/>
                  <a:gd name="T2" fmla="*/ 2147483647 w 206"/>
                  <a:gd name="T3" fmla="*/ 2147483647 h 173"/>
                  <a:gd name="T4" fmla="*/ 2147483647 w 206"/>
                  <a:gd name="T5" fmla="*/ 2147483647 h 173"/>
                  <a:gd name="T6" fmla="*/ 2147483647 w 206"/>
                  <a:gd name="T7" fmla="*/ 2147483647 h 173"/>
                  <a:gd name="T8" fmla="*/ 2147483647 w 206"/>
                  <a:gd name="T9" fmla="*/ 2147483647 h 173"/>
                  <a:gd name="T10" fmla="*/ 2147483647 w 206"/>
                  <a:gd name="T11" fmla="*/ 2147483647 h 173"/>
                  <a:gd name="T12" fmla="*/ 2147483647 w 206"/>
                  <a:gd name="T13" fmla="*/ 2147483647 h 173"/>
                  <a:gd name="T14" fmla="*/ 2147483647 w 206"/>
                  <a:gd name="T15" fmla="*/ 2147483647 h 173"/>
                  <a:gd name="T16" fmla="*/ 2147483647 w 206"/>
                  <a:gd name="T17" fmla="*/ 2147483647 h 173"/>
                  <a:gd name="T18" fmla="*/ 2147483647 w 206"/>
                  <a:gd name="T19" fmla="*/ 2147483647 h 173"/>
                  <a:gd name="T20" fmla="*/ 2147483647 w 206"/>
                  <a:gd name="T21" fmla="*/ 2147483647 h 173"/>
                  <a:gd name="T22" fmla="*/ 2147483647 w 206"/>
                  <a:gd name="T23" fmla="*/ 2147483647 h 173"/>
                  <a:gd name="T24" fmla="*/ 2147483647 w 206"/>
                  <a:gd name="T25" fmla="*/ 2147483647 h 173"/>
                  <a:gd name="T26" fmla="*/ 2147483647 w 206"/>
                  <a:gd name="T27" fmla="*/ 2147483647 h 173"/>
                  <a:gd name="T28" fmla="*/ 2147483647 w 206"/>
                  <a:gd name="T29" fmla="*/ 2147483647 h 173"/>
                  <a:gd name="T30" fmla="*/ 2147483647 w 206"/>
                  <a:gd name="T31" fmla="*/ 2147483647 h 173"/>
                  <a:gd name="T32" fmla="*/ 2147483647 w 206"/>
                  <a:gd name="T33" fmla="*/ 2147483647 h 173"/>
                  <a:gd name="T34" fmla="*/ 2147483647 w 206"/>
                  <a:gd name="T35" fmla="*/ 2147483647 h 173"/>
                  <a:gd name="T36" fmla="*/ 2147483647 w 206"/>
                  <a:gd name="T37" fmla="*/ 2147483647 h 173"/>
                  <a:gd name="T38" fmla="*/ 2147483647 w 206"/>
                  <a:gd name="T39" fmla="*/ 2147483647 h 173"/>
                  <a:gd name="T40" fmla="*/ 2147483647 w 206"/>
                  <a:gd name="T41" fmla="*/ 2147483647 h 173"/>
                  <a:gd name="T42" fmla="*/ 2147483647 w 206"/>
                  <a:gd name="T43" fmla="*/ 2147483647 h 173"/>
                  <a:gd name="T44" fmla="*/ 2147483647 w 206"/>
                  <a:gd name="T45" fmla="*/ 2147483647 h 173"/>
                  <a:gd name="T46" fmla="*/ 2147483647 w 206"/>
                  <a:gd name="T47" fmla="*/ 2147483647 h 173"/>
                  <a:gd name="T48" fmla="*/ 2147483647 w 206"/>
                  <a:gd name="T49" fmla="*/ 2147483647 h 173"/>
                  <a:gd name="T50" fmla="*/ 2147483647 w 206"/>
                  <a:gd name="T51" fmla="*/ 2147483647 h 173"/>
                  <a:gd name="T52" fmla="*/ 2147483647 w 206"/>
                  <a:gd name="T53" fmla="*/ 2147483647 h 173"/>
                  <a:gd name="T54" fmla="*/ 2147483647 w 206"/>
                  <a:gd name="T55" fmla="*/ 2147483647 h 173"/>
                  <a:gd name="T56" fmla="*/ 2147483647 w 206"/>
                  <a:gd name="T57" fmla="*/ 2147483647 h 173"/>
                  <a:gd name="T58" fmla="*/ 2147483647 w 206"/>
                  <a:gd name="T59" fmla="*/ 2147483647 h 173"/>
                  <a:gd name="T60" fmla="*/ 2147483647 w 206"/>
                  <a:gd name="T61" fmla="*/ 2147483647 h 173"/>
                  <a:gd name="T62" fmla="*/ 2147483647 w 206"/>
                  <a:gd name="T63" fmla="*/ 2147483647 h 173"/>
                  <a:gd name="T64" fmla="*/ 2147483647 w 206"/>
                  <a:gd name="T65" fmla="*/ 2147483647 h 173"/>
                  <a:gd name="T66" fmla="*/ 2147483647 w 206"/>
                  <a:gd name="T67" fmla="*/ 2147483647 h 173"/>
                  <a:gd name="T68" fmla="*/ 2147483647 w 206"/>
                  <a:gd name="T69" fmla="*/ 2147483647 h 173"/>
                  <a:gd name="T70" fmla="*/ 2147483647 w 206"/>
                  <a:gd name="T71" fmla="*/ 2147483647 h 173"/>
                  <a:gd name="T72" fmla="*/ 2147483647 w 206"/>
                  <a:gd name="T73" fmla="*/ 2147483647 h 173"/>
                  <a:gd name="T74" fmla="*/ 2147483647 w 206"/>
                  <a:gd name="T75" fmla="*/ 2147483647 h 173"/>
                  <a:gd name="T76" fmla="*/ 2147483647 w 206"/>
                  <a:gd name="T77" fmla="*/ 2147483647 h 173"/>
                  <a:gd name="T78" fmla="*/ 2147483647 w 206"/>
                  <a:gd name="T79" fmla="*/ 2147483647 h 173"/>
                  <a:gd name="T80" fmla="*/ 2147483647 w 206"/>
                  <a:gd name="T81" fmla="*/ 2147483647 h 173"/>
                  <a:gd name="T82" fmla="*/ 2147483647 w 206"/>
                  <a:gd name="T83" fmla="*/ 2147483647 h 173"/>
                  <a:gd name="T84" fmla="*/ 2147483647 w 206"/>
                  <a:gd name="T85" fmla="*/ 2147483647 h 173"/>
                  <a:gd name="T86" fmla="*/ 2147483647 w 206"/>
                  <a:gd name="T87" fmla="*/ 2147483647 h 173"/>
                  <a:gd name="T88" fmla="*/ 2147483647 w 206"/>
                  <a:gd name="T89" fmla="*/ 2147483647 h 173"/>
                  <a:gd name="T90" fmla="*/ 2147483647 w 206"/>
                  <a:gd name="T91" fmla="*/ 2147483647 h 17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06"/>
                  <a:gd name="T139" fmla="*/ 0 h 173"/>
                  <a:gd name="T140" fmla="*/ 206 w 206"/>
                  <a:gd name="T141" fmla="*/ 173 h 17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06" h="173">
                    <a:moveTo>
                      <a:pt x="187" y="0"/>
                    </a:moveTo>
                    <a:lnTo>
                      <a:pt x="184" y="3"/>
                    </a:lnTo>
                    <a:lnTo>
                      <a:pt x="179" y="3"/>
                    </a:lnTo>
                    <a:lnTo>
                      <a:pt x="175" y="4"/>
                    </a:lnTo>
                    <a:lnTo>
                      <a:pt x="170" y="7"/>
                    </a:lnTo>
                    <a:lnTo>
                      <a:pt x="169" y="11"/>
                    </a:lnTo>
                    <a:lnTo>
                      <a:pt x="164" y="13"/>
                    </a:lnTo>
                    <a:lnTo>
                      <a:pt x="160" y="14"/>
                    </a:lnTo>
                    <a:lnTo>
                      <a:pt x="156" y="14"/>
                    </a:lnTo>
                    <a:lnTo>
                      <a:pt x="147" y="19"/>
                    </a:lnTo>
                    <a:lnTo>
                      <a:pt x="151" y="17"/>
                    </a:lnTo>
                    <a:lnTo>
                      <a:pt x="145" y="23"/>
                    </a:lnTo>
                    <a:lnTo>
                      <a:pt x="145" y="31"/>
                    </a:lnTo>
                    <a:lnTo>
                      <a:pt x="141" y="32"/>
                    </a:lnTo>
                    <a:lnTo>
                      <a:pt x="136" y="32"/>
                    </a:lnTo>
                    <a:lnTo>
                      <a:pt x="132" y="33"/>
                    </a:lnTo>
                    <a:lnTo>
                      <a:pt x="127" y="33"/>
                    </a:lnTo>
                    <a:lnTo>
                      <a:pt x="123" y="34"/>
                    </a:lnTo>
                    <a:lnTo>
                      <a:pt x="118" y="35"/>
                    </a:lnTo>
                    <a:lnTo>
                      <a:pt x="111" y="36"/>
                    </a:lnTo>
                    <a:lnTo>
                      <a:pt x="107" y="36"/>
                    </a:lnTo>
                    <a:lnTo>
                      <a:pt x="102" y="37"/>
                    </a:lnTo>
                    <a:lnTo>
                      <a:pt x="100" y="32"/>
                    </a:lnTo>
                    <a:lnTo>
                      <a:pt x="96" y="31"/>
                    </a:lnTo>
                    <a:lnTo>
                      <a:pt x="95" y="28"/>
                    </a:lnTo>
                    <a:lnTo>
                      <a:pt x="90" y="25"/>
                    </a:lnTo>
                    <a:lnTo>
                      <a:pt x="86" y="26"/>
                    </a:lnTo>
                    <a:lnTo>
                      <a:pt x="81" y="26"/>
                    </a:lnTo>
                    <a:lnTo>
                      <a:pt x="77" y="27"/>
                    </a:lnTo>
                    <a:lnTo>
                      <a:pt x="72" y="28"/>
                    </a:lnTo>
                    <a:lnTo>
                      <a:pt x="68" y="28"/>
                    </a:lnTo>
                    <a:lnTo>
                      <a:pt x="63" y="29"/>
                    </a:lnTo>
                    <a:lnTo>
                      <a:pt x="57" y="35"/>
                    </a:lnTo>
                    <a:lnTo>
                      <a:pt x="53" y="35"/>
                    </a:lnTo>
                    <a:lnTo>
                      <a:pt x="48" y="36"/>
                    </a:lnTo>
                    <a:lnTo>
                      <a:pt x="45" y="36"/>
                    </a:lnTo>
                    <a:lnTo>
                      <a:pt x="40" y="37"/>
                    </a:lnTo>
                    <a:lnTo>
                      <a:pt x="36" y="38"/>
                    </a:lnTo>
                    <a:lnTo>
                      <a:pt x="34" y="41"/>
                    </a:lnTo>
                    <a:lnTo>
                      <a:pt x="35" y="46"/>
                    </a:lnTo>
                    <a:lnTo>
                      <a:pt x="25" y="49"/>
                    </a:lnTo>
                    <a:lnTo>
                      <a:pt x="33" y="54"/>
                    </a:lnTo>
                    <a:lnTo>
                      <a:pt x="19" y="50"/>
                    </a:lnTo>
                    <a:lnTo>
                      <a:pt x="15" y="53"/>
                    </a:lnTo>
                    <a:lnTo>
                      <a:pt x="21" y="63"/>
                    </a:lnTo>
                    <a:lnTo>
                      <a:pt x="16" y="63"/>
                    </a:lnTo>
                    <a:lnTo>
                      <a:pt x="17" y="66"/>
                    </a:lnTo>
                    <a:lnTo>
                      <a:pt x="17" y="70"/>
                    </a:lnTo>
                    <a:lnTo>
                      <a:pt x="14" y="76"/>
                    </a:lnTo>
                    <a:lnTo>
                      <a:pt x="9" y="77"/>
                    </a:lnTo>
                    <a:lnTo>
                      <a:pt x="7" y="80"/>
                    </a:lnTo>
                    <a:lnTo>
                      <a:pt x="3" y="80"/>
                    </a:lnTo>
                    <a:lnTo>
                      <a:pt x="1" y="86"/>
                    </a:lnTo>
                    <a:lnTo>
                      <a:pt x="2" y="90"/>
                    </a:lnTo>
                    <a:lnTo>
                      <a:pt x="5" y="93"/>
                    </a:lnTo>
                    <a:lnTo>
                      <a:pt x="6" y="97"/>
                    </a:lnTo>
                    <a:lnTo>
                      <a:pt x="3" y="103"/>
                    </a:lnTo>
                    <a:lnTo>
                      <a:pt x="2" y="106"/>
                    </a:lnTo>
                    <a:lnTo>
                      <a:pt x="0" y="111"/>
                    </a:lnTo>
                    <a:lnTo>
                      <a:pt x="3" y="115"/>
                    </a:lnTo>
                    <a:lnTo>
                      <a:pt x="5" y="118"/>
                    </a:lnTo>
                    <a:lnTo>
                      <a:pt x="9" y="122"/>
                    </a:lnTo>
                    <a:lnTo>
                      <a:pt x="12" y="127"/>
                    </a:lnTo>
                    <a:lnTo>
                      <a:pt x="14" y="129"/>
                    </a:lnTo>
                    <a:lnTo>
                      <a:pt x="17" y="134"/>
                    </a:lnTo>
                    <a:lnTo>
                      <a:pt x="20" y="138"/>
                    </a:lnTo>
                    <a:lnTo>
                      <a:pt x="23" y="141"/>
                    </a:lnTo>
                    <a:lnTo>
                      <a:pt x="23" y="145"/>
                    </a:lnTo>
                    <a:lnTo>
                      <a:pt x="26" y="148"/>
                    </a:lnTo>
                    <a:lnTo>
                      <a:pt x="26" y="153"/>
                    </a:lnTo>
                    <a:lnTo>
                      <a:pt x="27" y="158"/>
                    </a:lnTo>
                    <a:lnTo>
                      <a:pt x="32" y="160"/>
                    </a:lnTo>
                    <a:lnTo>
                      <a:pt x="36" y="160"/>
                    </a:lnTo>
                    <a:lnTo>
                      <a:pt x="41" y="161"/>
                    </a:lnTo>
                    <a:lnTo>
                      <a:pt x="46" y="162"/>
                    </a:lnTo>
                    <a:lnTo>
                      <a:pt x="51" y="165"/>
                    </a:lnTo>
                    <a:lnTo>
                      <a:pt x="55" y="166"/>
                    </a:lnTo>
                    <a:lnTo>
                      <a:pt x="60" y="167"/>
                    </a:lnTo>
                    <a:lnTo>
                      <a:pt x="63" y="171"/>
                    </a:lnTo>
                    <a:lnTo>
                      <a:pt x="66" y="173"/>
                    </a:lnTo>
                    <a:lnTo>
                      <a:pt x="71" y="172"/>
                    </a:lnTo>
                    <a:lnTo>
                      <a:pt x="71" y="167"/>
                    </a:lnTo>
                    <a:lnTo>
                      <a:pt x="70" y="164"/>
                    </a:lnTo>
                    <a:lnTo>
                      <a:pt x="77" y="161"/>
                    </a:lnTo>
                    <a:lnTo>
                      <a:pt x="81" y="161"/>
                    </a:lnTo>
                    <a:lnTo>
                      <a:pt x="88" y="160"/>
                    </a:lnTo>
                    <a:lnTo>
                      <a:pt x="92" y="161"/>
                    </a:lnTo>
                    <a:lnTo>
                      <a:pt x="94" y="154"/>
                    </a:lnTo>
                    <a:lnTo>
                      <a:pt x="96" y="151"/>
                    </a:lnTo>
                    <a:lnTo>
                      <a:pt x="99" y="148"/>
                    </a:lnTo>
                    <a:lnTo>
                      <a:pt x="104" y="144"/>
                    </a:lnTo>
                    <a:lnTo>
                      <a:pt x="108" y="144"/>
                    </a:lnTo>
                    <a:lnTo>
                      <a:pt x="113" y="143"/>
                    </a:lnTo>
                    <a:lnTo>
                      <a:pt x="114" y="136"/>
                    </a:lnTo>
                    <a:lnTo>
                      <a:pt x="115" y="133"/>
                    </a:lnTo>
                    <a:lnTo>
                      <a:pt x="120" y="130"/>
                    </a:lnTo>
                    <a:lnTo>
                      <a:pt x="124" y="130"/>
                    </a:lnTo>
                    <a:lnTo>
                      <a:pt x="129" y="127"/>
                    </a:lnTo>
                    <a:lnTo>
                      <a:pt x="132" y="124"/>
                    </a:lnTo>
                    <a:lnTo>
                      <a:pt x="132" y="119"/>
                    </a:lnTo>
                    <a:lnTo>
                      <a:pt x="131" y="114"/>
                    </a:lnTo>
                    <a:lnTo>
                      <a:pt x="129" y="111"/>
                    </a:lnTo>
                    <a:lnTo>
                      <a:pt x="128" y="104"/>
                    </a:lnTo>
                    <a:lnTo>
                      <a:pt x="127" y="99"/>
                    </a:lnTo>
                    <a:lnTo>
                      <a:pt x="127" y="96"/>
                    </a:lnTo>
                    <a:lnTo>
                      <a:pt x="128" y="92"/>
                    </a:lnTo>
                    <a:lnTo>
                      <a:pt x="133" y="88"/>
                    </a:lnTo>
                    <a:lnTo>
                      <a:pt x="136" y="86"/>
                    </a:lnTo>
                    <a:lnTo>
                      <a:pt x="136" y="83"/>
                    </a:lnTo>
                    <a:lnTo>
                      <a:pt x="140" y="79"/>
                    </a:lnTo>
                    <a:lnTo>
                      <a:pt x="142" y="75"/>
                    </a:lnTo>
                    <a:lnTo>
                      <a:pt x="147" y="74"/>
                    </a:lnTo>
                    <a:lnTo>
                      <a:pt x="151" y="74"/>
                    </a:lnTo>
                    <a:lnTo>
                      <a:pt x="156" y="75"/>
                    </a:lnTo>
                    <a:lnTo>
                      <a:pt x="160" y="72"/>
                    </a:lnTo>
                    <a:lnTo>
                      <a:pt x="163" y="72"/>
                    </a:lnTo>
                    <a:lnTo>
                      <a:pt x="165" y="68"/>
                    </a:lnTo>
                    <a:lnTo>
                      <a:pt x="167" y="63"/>
                    </a:lnTo>
                    <a:lnTo>
                      <a:pt x="164" y="59"/>
                    </a:lnTo>
                    <a:lnTo>
                      <a:pt x="163" y="56"/>
                    </a:lnTo>
                    <a:lnTo>
                      <a:pt x="165" y="51"/>
                    </a:lnTo>
                    <a:lnTo>
                      <a:pt x="166" y="46"/>
                    </a:lnTo>
                    <a:lnTo>
                      <a:pt x="171" y="45"/>
                    </a:lnTo>
                    <a:lnTo>
                      <a:pt x="172" y="39"/>
                    </a:lnTo>
                    <a:lnTo>
                      <a:pt x="176" y="35"/>
                    </a:lnTo>
                    <a:lnTo>
                      <a:pt x="178" y="31"/>
                    </a:lnTo>
                    <a:lnTo>
                      <a:pt x="182" y="30"/>
                    </a:lnTo>
                    <a:lnTo>
                      <a:pt x="187" y="27"/>
                    </a:lnTo>
                    <a:lnTo>
                      <a:pt x="191" y="27"/>
                    </a:lnTo>
                    <a:lnTo>
                      <a:pt x="196" y="26"/>
                    </a:lnTo>
                    <a:lnTo>
                      <a:pt x="200" y="26"/>
                    </a:lnTo>
                    <a:lnTo>
                      <a:pt x="201" y="21"/>
                    </a:lnTo>
                    <a:lnTo>
                      <a:pt x="206" y="18"/>
                    </a:lnTo>
                    <a:lnTo>
                      <a:pt x="205" y="15"/>
                    </a:lnTo>
                    <a:lnTo>
                      <a:pt x="200" y="13"/>
                    </a:lnTo>
                    <a:lnTo>
                      <a:pt x="198" y="9"/>
                    </a:lnTo>
                    <a:lnTo>
                      <a:pt x="195" y="5"/>
                    </a:lnTo>
                    <a:lnTo>
                      <a:pt x="190" y="6"/>
                    </a:lnTo>
                    <a:lnTo>
                      <a:pt x="187" y="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2" name="Freeform 99"/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 rot="-459984">
                <a:off x="7185695" y="3121560"/>
                <a:ext cx="549984" cy="584398"/>
              </a:xfrm>
              <a:custGeom>
                <a:avLst/>
                <a:gdLst>
                  <a:gd name="T0" fmla="*/ 2147483647 w 393"/>
                  <a:gd name="T1" fmla="*/ 2147483647 h 438"/>
                  <a:gd name="T2" fmla="*/ 2147483647 w 393"/>
                  <a:gd name="T3" fmla="*/ 2147483647 h 438"/>
                  <a:gd name="T4" fmla="*/ 2147483647 w 393"/>
                  <a:gd name="T5" fmla="*/ 2147483647 h 438"/>
                  <a:gd name="T6" fmla="*/ 2147483647 w 393"/>
                  <a:gd name="T7" fmla="*/ 2147483647 h 438"/>
                  <a:gd name="T8" fmla="*/ 2147483647 w 393"/>
                  <a:gd name="T9" fmla="*/ 2147483647 h 438"/>
                  <a:gd name="T10" fmla="*/ 2147483647 w 393"/>
                  <a:gd name="T11" fmla="*/ 2147483647 h 438"/>
                  <a:gd name="T12" fmla="*/ 2147483647 w 393"/>
                  <a:gd name="T13" fmla="*/ 2147483647 h 438"/>
                  <a:gd name="T14" fmla="*/ 2147483647 w 393"/>
                  <a:gd name="T15" fmla="*/ 2147483647 h 438"/>
                  <a:gd name="T16" fmla="*/ 2147483647 w 393"/>
                  <a:gd name="T17" fmla="*/ 2147483647 h 438"/>
                  <a:gd name="T18" fmla="*/ 2147483647 w 393"/>
                  <a:gd name="T19" fmla="*/ 2147483647 h 438"/>
                  <a:gd name="T20" fmla="*/ 2147483647 w 393"/>
                  <a:gd name="T21" fmla="*/ 2147483647 h 438"/>
                  <a:gd name="T22" fmla="*/ 2147483647 w 393"/>
                  <a:gd name="T23" fmla="*/ 2147483647 h 438"/>
                  <a:gd name="T24" fmla="*/ 2147483647 w 393"/>
                  <a:gd name="T25" fmla="*/ 2147483647 h 438"/>
                  <a:gd name="T26" fmla="*/ 2147483647 w 393"/>
                  <a:gd name="T27" fmla="*/ 2147483647 h 438"/>
                  <a:gd name="T28" fmla="*/ 2147483647 w 393"/>
                  <a:gd name="T29" fmla="*/ 2147483647 h 438"/>
                  <a:gd name="T30" fmla="*/ 2147483647 w 393"/>
                  <a:gd name="T31" fmla="*/ 2147483647 h 438"/>
                  <a:gd name="T32" fmla="*/ 2147483647 w 393"/>
                  <a:gd name="T33" fmla="*/ 2147483647 h 438"/>
                  <a:gd name="T34" fmla="*/ 2147483647 w 393"/>
                  <a:gd name="T35" fmla="*/ 2147483647 h 438"/>
                  <a:gd name="T36" fmla="*/ 2147483647 w 393"/>
                  <a:gd name="T37" fmla="*/ 2147483647 h 438"/>
                  <a:gd name="T38" fmla="*/ 2147483647 w 393"/>
                  <a:gd name="T39" fmla="*/ 2147483647 h 438"/>
                  <a:gd name="T40" fmla="*/ 2147483647 w 393"/>
                  <a:gd name="T41" fmla="*/ 2147483647 h 438"/>
                  <a:gd name="T42" fmla="*/ 2147483647 w 393"/>
                  <a:gd name="T43" fmla="*/ 2147483647 h 438"/>
                  <a:gd name="T44" fmla="*/ 2147483647 w 393"/>
                  <a:gd name="T45" fmla="*/ 2147483647 h 438"/>
                  <a:gd name="T46" fmla="*/ 2147483647 w 393"/>
                  <a:gd name="T47" fmla="*/ 2147483647 h 438"/>
                  <a:gd name="T48" fmla="*/ 2147483647 w 393"/>
                  <a:gd name="T49" fmla="*/ 2147483647 h 438"/>
                  <a:gd name="T50" fmla="*/ 2147483647 w 393"/>
                  <a:gd name="T51" fmla="*/ 2147483647 h 438"/>
                  <a:gd name="T52" fmla="*/ 2147483647 w 393"/>
                  <a:gd name="T53" fmla="*/ 2147483647 h 438"/>
                  <a:gd name="T54" fmla="*/ 2147483647 w 393"/>
                  <a:gd name="T55" fmla="*/ 2147483647 h 438"/>
                  <a:gd name="T56" fmla="*/ 2147483647 w 393"/>
                  <a:gd name="T57" fmla="*/ 2147483647 h 438"/>
                  <a:gd name="T58" fmla="*/ 2147483647 w 393"/>
                  <a:gd name="T59" fmla="*/ 2147483647 h 438"/>
                  <a:gd name="T60" fmla="*/ 2147483647 w 393"/>
                  <a:gd name="T61" fmla="*/ 2147483647 h 438"/>
                  <a:gd name="T62" fmla="*/ 2147483647 w 393"/>
                  <a:gd name="T63" fmla="*/ 2147483647 h 438"/>
                  <a:gd name="T64" fmla="*/ 2147483647 w 393"/>
                  <a:gd name="T65" fmla="*/ 2147483647 h 438"/>
                  <a:gd name="T66" fmla="*/ 2147483647 w 393"/>
                  <a:gd name="T67" fmla="*/ 2147483647 h 438"/>
                  <a:gd name="T68" fmla="*/ 2147483647 w 393"/>
                  <a:gd name="T69" fmla="*/ 2147483647 h 438"/>
                  <a:gd name="T70" fmla="*/ 2147483647 w 393"/>
                  <a:gd name="T71" fmla="*/ 2147483647 h 438"/>
                  <a:gd name="T72" fmla="*/ 2147483647 w 393"/>
                  <a:gd name="T73" fmla="*/ 2147483647 h 438"/>
                  <a:gd name="T74" fmla="*/ 2147483647 w 393"/>
                  <a:gd name="T75" fmla="*/ 2147483647 h 438"/>
                  <a:gd name="T76" fmla="*/ 2147483647 w 393"/>
                  <a:gd name="T77" fmla="*/ 2147483647 h 438"/>
                  <a:gd name="T78" fmla="*/ 2147483647 w 393"/>
                  <a:gd name="T79" fmla="*/ 2147483647 h 438"/>
                  <a:gd name="T80" fmla="*/ 2147483647 w 393"/>
                  <a:gd name="T81" fmla="*/ 2147483647 h 438"/>
                  <a:gd name="T82" fmla="*/ 2147483647 w 393"/>
                  <a:gd name="T83" fmla="*/ 2147483647 h 438"/>
                  <a:gd name="T84" fmla="*/ 2147483647 w 393"/>
                  <a:gd name="T85" fmla="*/ 2147483647 h 438"/>
                  <a:gd name="T86" fmla="*/ 2147483647 w 393"/>
                  <a:gd name="T87" fmla="*/ 2147483647 h 438"/>
                  <a:gd name="T88" fmla="*/ 2147483647 w 393"/>
                  <a:gd name="T89" fmla="*/ 2147483647 h 438"/>
                  <a:gd name="T90" fmla="*/ 2147483647 w 393"/>
                  <a:gd name="T91" fmla="*/ 2147483647 h 438"/>
                  <a:gd name="T92" fmla="*/ 2147483647 w 393"/>
                  <a:gd name="T93" fmla="*/ 2147483647 h 438"/>
                  <a:gd name="T94" fmla="*/ 2147483647 w 393"/>
                  <a:gd name="T95" fmla="*/ 2147483647 h 438"/>
                  <a:gd name="T96" fmla="*/ 2147483647 w 393"/>
                  <a:gd name="T97" fmla="*/ 2147483647 h 438"/>
                  <a:gd name="T98" fmla="*/ 2147483647 w 393"/>
                  <a:gd name="T99" fmla="*/ 2147483647 h 438"/>
                  <a:gd name="T100" fmla="*/ 2147483647 w 393"/>
                  <a:gd name="T101" fmla="*/ 2147483647 h 438"/>
                  <a:gd name="T102" fmla="*/ 2147483647 w 393"/>
                  <a:gd name="T103" fmla="*/ 2147483647 h 438"/>
                  <a:gd name="T104" fmla="*/ 2147483647 w 393"/>
                  <a:gd name="T105" fmla="*/ 2147483647 h 438"/>
                  <a:gd name="T106" fmla="*/ 2147483647 w 393"/>
                  <a:gd name="T107" fmla="*/ 2147483647 h 438"/>
                  <a:gd name="T108" fmla="*/ 2147483647 w 393"/>
                  <a:gd name="T109" fmla="*/ 2147483647 h 438"/>
                  <a:gd name="T110" fmla="*/ 2147483647 w 393"/>
                  <a:gd name="T111" fmla="*/ 2147483647 h 438"/>
                  <a:gd name="T112" fmla="*/ 2147483647 w 393"/>
                  <a:gd name="T113" fmla="*/ 2147483647 h 438"/>
                  <a:gd name="T114" fmla="*/ 2147483647 w 393"/>
                  <a:gd name="T115" fmla="*/ 2147483647 h 43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93"/>
                  <a:gd name="T175" fmla="*/ 0 h 438"/>
                  <a:gd name="T176" fmla="*/ 393 w 393"/>
                  <a:gd name="T177" fmla="*/ 438 h 43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93" h="438">
                    <a:moveTo>
                      <a:pt x="6" y="0"/>
                    </a:moveTo>
                    <a:lnTo>
                      <a:pt x="10" y="0"/>
                    </a:lnTo>
                    <a:lnTo>
                      <a:pt x="14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6" y="4"/>
                    </a:lnTo>
                    <a:lnTo>
                      <a:pt x="28" y="7"/>
                    </a:lnTo>
                    <a:lnTo>
                      <a:pt x="32" y="7"/>
                    </a:lnTo>
                    <a:lnTo>
                      <a:pt x="32" y="11"/>
                    </a:lnTo>
                    <a:lnTo>
                      <a:pt x="36" y="13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7"/>
                    </a:lnTo>
                    <a:lnTo>
                      <a:pt x="40" y="31"/>
                    </a:lnTo>
                    <a:lnTo>
                      <a:pt x="44" y="33"/>
                    </a:lnTo>
                    <a:lnTo>
                      <a:pt x="48" y="37"/>
                    </a:lnTo>
                    <a:lnTo>
                      <a:pt x="51" y="38"/>
                    </a:lnTo>
                    <a:lnTo>
                      <a:pt x="55" y="40"/>
                    </a:lnTo>
                    <a:lnTo>
                      <a:pt x="57" y="44"/>
                    </a:lnTo>
                    <a:lnTo>
                      <a:pt x="63" y="49"/>
                    </a:lnTo>
                    <a:lnTo>
                      <a:pt x="65" y="53"/>
                    </a:lnTo>
                    <a:lnTo>
                      <a:pt x="69" y="55"/>
                    </a:lnTo>
                    <a:lnTo>
                      <a:pt x="71" y="59"/>
                    </a:lnTo>
                    <a:lnTo>
                      <a:pt x="75" y="60"/>
                    </a:lnTo>
                    <a:lnTo>
                      <a:pt x="79" y="62"/>
                    </a:lnTo>
                    <a:lnTo>
                      <a:pt x="83" y="64"/>
                    </a:lnTo>
                    <a:lnTo>
                      <a:pt x="87" y="66"/>
                    </a:lnTo>
                    <a:lnTo>
                      <a:pt x="91" y="68"/>
                    </a:lnTo>
                    <a:lnTo>
                      <a:pt x="95" y="69"/>
                    </a:lnTo>
                    <a:lnTo>
                      <a:pt x="99" y="71"/>
                    </a:lnTo>
                    <a:lnTo>
                      <a:pt x="103" y="73"/>
                    </a:lnTo>
                    <a:lnTo>
                      <a:pt x="105" y="77"/>
                    </a:lnTo>
                    <a:lnTo>
                      <a:pt x="107" y="80"/>
                    </a:lnTo>
                    <a:lnTo>
                      <a:pt x="109" y="86"/>
                    </a:lnTo>
                    <a:lnTo>
                      <a:pt x="111" y="90"/>
                    </a:lnTo>
                    <a:lnTo>
                      <a:pt x="113" y="93"/>
                    </a:lnTo>
                    <a:lnTo>
                      <a:pt x="115" y="97"/>
                    </a:lnTo>
                    <a:lnTo>
                      <a:pt x="119" y="101"/>
                    </a:lnTo>
                    <a:lnTo>
                      <a:pt x="119" y="104"/>
                    </a:lnTo>
                    <a:lnTo>
                      <a:pt x="123" y="108"/>
                    </a:lnTo>
                    <a:lnTo>
                      <a:pt x="125" y="112"/>
                    </a:lnTo>
                    <a:lnTo>
                      <a:pt x="127" y="115"/>
                    </a:lnTo>
                    <a:lnTo>
                      <a:pt x="129" y="119"/>
                    </a:lnTo>
                    <a:lnTo>
                      <a:pt x="133" y="121"/>
                    </a:lnTo>
                    <a:lnTo>
                      <a:pt x="137" y="123"/>
                    </a:lnTo>
                    <a:lnTo>
                      <a:pt x="141" y="124"/>
                    </a:lnTo>
                    <a:lnTo>
                      <a:pt x="145" y="126"/>
                    </a:lnTo>
                    <a:lnTo>
                      <a:pt x="148" y="128"/>
                    </a:lnTo>
                    <a:lnTo>
                      <a:pt x="152" y="130"/>
                    </a:lnTo>
                    <a:lnTo>
                      <a:pt x="156" y="132"/>
                    </a:lnTo>
                    <a:lnTo>
                      <a:pt x="160" y="134"/>
                    </a:lnTo>
                    <a:lnTo>
                      <a:pt x="164" y="135"/>
                    </a:lnTo>
                    <a:lnTo>
                      <a:pt x="168" y="137"/>
                    </a:lnTo>
                    <a:lnTo>
                      <a:pt x="172" y="141"/>
                    </a:lnTo>
                    <a:lnTo>
                      <a:pt x="176" y="143"/>
                    </a:lnTo>
                    <a:lnTo>
                      <a:pt x="178" y="146"/>
                    </a:lnTo>
                    <a:lnTo>
                      <a:pt x="180" y="150"/>
                    </a:lnTo>
                    <a:lnTo>
                      <a:pt x="182" y="154"/>
                    </a:lnTo>
                    <a:lnTo>
                      <a:pt x="184" y="157"/>
                    </a:lnTo>
                    <a:lnTo>
                      <a:pt x="186" y="161"/>
                    </a:lnTo>
                    <a:lnTo>
                      <a:pt x="190" y="163"/>
                    </a:lnTo>
                    <a:lnTo>
                      <a:pt x="194" y="166"/>
                    </a:lnTo>
                    <a:lnTo>
                      <a:pt x="198" y="168"/>
                    </a:lnTo>
                    <a:lnTo>
                      <a:pt x="202" y="170"/>
                    </a:lnTo>
                    <a:lnTo>
                      <a:pt x="204" y="174"/>
                    </a:lnTo>
                    <a:lnTo>
                      <a:pt x="208" y="176"/>
                    </a:lnTo>
                    <a:lnTo>
                      <a:pt x="212" y="179"/>
                    </a:lnTo>
                    <a:lnTo>
                      <a:pt x="216" y="181"/>
                    </a:lnTo>
                    <a:lnTo>
                      <a:pt x="218" y="185"/>
                    </a:lnTo>
                    <a:lnTo>
                      <a:pt x="222" y="188"/>
                    </a:lnTo>
                    <a:lnTo>
                      <a:pt x="226" y="192"/>
                    </a:lnTo>
                    <a:lnTo>
                      <a:pt x="232" y="196"/>
                    </a:lnTo>
                    <a:lnTo>
                      <a:pt x="234" y="199"/>
                    </a:lnTo>
                    <a:lnTo>
                      <a:pt x="238" y="199"/>
                    </a:lnTo>
                    <a:lnTo>
                      <a:pt x="242" y="203"/>
                    </a:lnTo>
                    <a:lnTo>
                      <a:pt x="246" y="205"/>
                    </a:lnTo>
                    <a:lnTo>
                      <a:pt x="251" y="207"/>
                    </a:lnTo>
                    <a:lnTo>
                      <a:pt x="255" y="210"/>
                    </a:lnTo>
                    <a:lnTo>
                      <a:pt x="259" y="210"/>
                    </a:lnTo>
                    <a:lnTo>
                      <a:pt x="263" y="210"/>
                    </a:lnTo>
                    <a:lnTo>
                      <a:pt x="267" y="210"/>
                    </a:lnTo>
                    <a:lnTo>
                      <a:pt x="271" y="212"/>
                    </a:lnTo>
                    <a:lnTo>
                      <a:pt x="275" y="212"/>
                    </a:lnTo>
                    <a:lnTo>
                      <a:pt x="279" y="212"/>
                    </a:lnTo>
                    <a:lnTo>
                      <a:pt x="283" y="214"/>
                    </a:lnTo>
                    <a:lnTo>
                      <a:pt x="289" y="216"/>
                    </a:lnTo>
                    <a:lnTo>
                      <a:pt x="295" y="219"/>
                    </a:lnTo>
                    <a:lnTo>
                      <a:pt x="301" y="223"/>
                    </a:lnTo>
                    <a:lnTo>
                      <a:pt x="305" y="223"/>
                    </a:lnTo>
                    <a:lnTo>
                      <a:pt x="313" y="227"/>
                    </a:lnTo>
                    <a:lnTo>
                      <a:pt x="319" y="230"/>
                    </a:lnTo>
                    <a:lnTo>
                      <a:pt x="323" y="234"/>
                    </a:lnTo>
                    <a:lnTo>
                      <a:pt x="327" y="236"/>
                    </a:lnTo>
                    <a:lnTo>
                      <a:pt x="323" y="238"/>
                    </a:lnTo>
                    <a:lnTo>
                      <a:pt x="319" y="238"/>
                    </a:lnTo>
                    <a:lnTo>
                      <a:pt x="315" y="238"/>
                    </a:lnTo>
                    <a:lnTo>
                      <a:pt x="311" y="238"/>
                    </a:lnTo>
                    <a:lnTo>
                      <a:pt x="307" y="238"/>
                    </a:lnTo>
                    <a:lnTo>
                      <a:pt x="303" y="238"/>
                    </a:lnTo>
                    <a:lnTo>
                      <a:pt x="299" y="238"/>
                    </a:lnTo>
                    <a:lnTo>
                      <a:pt x="295" y="238"/>
                    </a:lnTo>
                    <a:lnTo>
                      <a:pt x="291" y="236"/>
                    </a:lnTo>
                    <a:lnTo>
                      <a:pt x="287" y="236"/>
                    </a:lnTo>
                    <a:lnTo>
                      <a:pt x="283" y="234"/>
                    </a:lnTo>
                    <a:lnTo>
                      <a:pt x="279" y="232"/>
                    </a:lnTo>
                    <a:lnTo>
                      <a:pt x="275" y="230"/>
                    </a:lnTo>
                    <a:lnTo>
                      <a:pt x="271" y="230"/>
                    </a:lnTo>
                    <a:lnTo>
                      <a:pt x="267" y="229"/>
                    </a:lnTo>
                    <a:lnTo>
                      <a:pt x="263" y="230"/>
                    </a:lnTo>
                    <a:lnTo>
                      <a:pt x="259" y="230"/>
                    </a:lnTo>
                    <a:lnTo>
                      <a:pt x="259" y="234"/>
                    </a:lnTo>
                    <a:lnTo>
                      <a:pt x="257" y="238"/>
                    </a:lnTo>
                    <a:lnTo>
                      <a:pt x="253" y="241"/>
                    </a:lnTo>
                    <a:lnTo>
                      <a:pt x="249" y="243"/>
                    </a:lnTo>
                    <a:lnTo>
                      <a:pt x="247" y="247"/>
                    </a:lnTo>
                    <a:lnTo>
                      <a:pt x="247" y="251"/>
                    </a:lnTo>
                    <a:lnTo>
                      <a:pt x="247" y="254"/>
                    </a:lnTo>
                    <a:lnTo>
                      <a:pt x="247" y="258"/>
                    </a:lnTo>
                    <a:lnTo>
                      <a:pt x="247" y="263"/>
                    </a:lnTo>
                    <a:lnTo>
                      <a:pt x="247" y="267"/>
                    </a:lnTo>
                    <a:lnTo>
                      <a:pt x="249" y="271"/>
                    </a:lnTo>
                    <a:lnTo>
                      <a:pt x="249" y="274"/>
                    </a:lnTo>
                    <a:lnTo>
                      <a:pt x="251" y="278"/>
                    </a:lnTo>
                    <a:lnTo>
                      <a:pt x="251" y="282"/>
                    </a:lnTo>
                    <a:lnTo>
                      <a:pt x="251" y="285"/>
                    </a:lnTo>
                    <a:lnTo>
                      <a:pt x="253" y="291"/>
                    </a:lnTo>
                    <a:lnTo>
                      <a:pt x="255" y="294"/>
                    </a:lnTo>
                    <a:lnTo>
                      <a:pt x="255" y="300"/>
                    </a:lnTo>
                    <a:lnTo>
                      <a:pt x="257" y="304"/>
                    </a:lnTo>
                    <a:lnTo>
                      <a:pt x="261" y="307"/>
                    </a:lnTo>
                    <a:lnTo>
                      <a:pt x="263" y="311"/>
                    </a:lnTo>
                    <a:lnTo>
                      <a:pt x="267" y="311"/>
                    </a:lnTo>
                    <a:lnTo>
                      <a:pt x="271" y="315"/>
                    </a:lnTo>
                    <a:lnTo>
                      <a:pt x="275" y="320"/>
                    </a:lnTo>
                    <a:lnTo>
                      <a:pt x="277" y="324"/>
                    </a:lnTo>
                    <a:lnTo>
                      <a:pt x="281" y="326"/>
                    </a:lnTo>
                    <a:lnTo>
                      <a:pt x="283" y="329"/>
                    </a:lnTo>
                    <a:lnTo>
                      <a:pt x="287" y="331"/>
                    </a:lnTo>
                    <a:lnTo>
                      <a:pt x="289" y="335"/>
                    </a:lnTo>
                    <a:lnTo>
                      <a:pt x="293" y="337"/>
                    </a:lnTo>
                    <a:lnTo>
                      <a:pt x="295" y="340"/>
                    </a:lnTo>
                    <a:lnTo>
                      <a:pt x="297" y="344"/>
                    </a:lnTo>
                    <a:lnTo>
                      <a:pt x="301" y="346"/>
                    </a:lnTo>
                    <a:lnTo>
                      <a:pt x="305" y="347"/>
                    </a:lnTo>
                    <a:lnTo>
                      <a:pt x="309" y="349"/>
                    </a:lnTo>
                    <a:lnTo>
                      <a:pt x="313" y="349"/>
                    </a:lnTo>
                    <a:lnTo>
                      <a:pt x="317" y="351"/>
                    </a:lnTo>
                    <a:lnTo>
                      <a:pt x="319" y="355"/>
                    </a:lnTo>
                    <a:lnTo>
                      <a:pt x="323" y="357"/>
                    </a:lnTo>
                    <a:lnTo>
                      <a:pt x="325" y="360"/>
                    </a:lnTo>
                    <a:lnTo>
                      <a:pt x="327" y="364"/>
                    </a:lnTo>
                    <a:lnTo>
                      <a:pt x="331" y="366"/>
                    </a:lnTo>
                    <a:lnTo>
                      <a:pt x="335" y="366"/>
                    </a:lnTo>
                    <a:lnTo>
                      <a:pt x="339" y="364"/>
                    </a:lnTo>
                    <a:lnTo>
                      <a:pt x="343" y="362"/>
                    </a:lnTo>
                    <a:lnTo>
                      <a:pt x="344" y="358"/>
                    </a:lnTo>
                    <a:lnTo>
                      <a:pt x="348" y="358"/>
                    </a:lnTo>
                    <a:lnTo>
                      <a:pt x="352" y="362"/>
                    </a:lnTo>
                    <a:lnTo>
                      <a:pt x="356" y="364"/>
                    </a:lnTo>
                    <a:lnTo>
                      <a:pt x="360" y="368"/>
                    </a:lnTo>
                    <a:lnTo>
                      <a:pt x="364" y="371"/>
                    </a:lnTo>
                    <a:lnTo>
                      <a:pt x="366" y="375"/>
                    </a:lnTo>
                    <a:lnTo>
                      <a:pt x="370" y="379"/>
                    </a:lnTo>
                    <a:lnTo>
                      <a:pt x="372" y="382"/>
                    </a:lnTo>
                    <a:lnTo>
                      <a:pt x="376" y="386"/>
                    </a:lnTo>
                    <a:lnTo>
                      <a:pt x="380" y="388"/>
                    </a:lnTo>
                    <a:lnTo>
                      <a:pt x="384" y="391"/>
                    </a:lnTo>
                    <a:lnTo>
                      <a:pt x="388" y="397"/>
                    </a:lnTo>
                    <a:lnTo>
                      <a:pt x="392" y="401"/>
                    </a:lnTo>
                    <a:lnTo>
                      <a:pt x="392" y="404"/>
                    </a:lnTo>
                    <a:lnTo>
                      <a:pt x="388" y="401"/>
                    </a:lnTo>
                    <a:lnTo>
                      <a:pt x="384" y="397"/>
                    </a:lnTo>
                    <a:lnTo>
                      <a:pt x="380" y="393"/>
                    </a:lnTo>
                    <a:lnTo>
                      <a:pt x="376" y="391"/>
                    </a:lnTo>
                    <a:lnTo>
                      <a:pt x="372" y="390"/>
                    </a:lnTo>
                    <a:lnTo>
                      <a:pt x="370" y="386"/>
                    </a:lnTo>
                    <a:lnTo>
                      <a:pt x="366" y="384"/>
                    </a:lnTo>
                    <a:lnTo>
                      <a:pt x="362" y="382"/>
                    </a:lnTo>
                    <a:lnTo>
                      <a:pt x="358" y="380"/>
                    </a:lnTo>
                    <a:lnTo>
                      <a:pt x="354" y="379"/>
                    </a:lnTo>
                    <a:lnTo>
                      <a:pt x="350" y="379"/>
                    </a:lnTo>
                    <a:lnTo>
                      <a:pt x="346" y="379"/>
                    </a:lnTo>
                    <a:lnTo>
                      <a:pt x="343" y="382"/>
                    </a:lnTo>
                    <a:lnTo>
                      <a:pt x="339" y="382"/>
                    </a:lnTo>
                    <a:lnTo>
                      <a:pt x="333" y="382"/>
                    </a:lnTo>
                    <a:lnTo>
                      <a:pt x="329" y="382"/>
                    </a:lnTo>
                    <a:lnTo>
                      <a:pt x="325" y="382"/>
                    </a:lnTo>
                    <a:lnTo>
                      <a:pt x="321" y="382"/>
                    </a:lnTo>
                    <a:lnTo>
                      <a:pt x="317" y="384"/>
                    </a:lnTo>
                    <a:lnTo>
                      <a:pt x="315" y="388"/>
                    </a:lnTo>
                    <a:lnTo>
                      <a:pt x="313" y="391"/>
                    </a:lnTo>
                    <a:lnTo>
                      <a:pt x="313" y="395"/>
                    </a:lnTo>
                    <a:lnTo>
                      <a:pt x="313" y="399"/>
                    </a:lnTo>
                    <a:lnTo>
                      <a:pt x="313" y="402"/>
                    </a:lnTo>
                    <a:lnTo>
                      <a:pt x="313" y="406"/>
                    </a:lnTo>
                    <a:lnTo>
                      <a:pt x="315" y="411"/>
                    </a:lnTo>
                    <a:lnTo>
                      <a:pt x="317" y="415"/>
                    </a:lnTo>
                    <a:lnTo>
                      <a:pt x="321" y="421"/>
                    </a:lnTo>
                    <a:lnTo>
                      <a:pt x="323" y="424"/>
                    </a:lnTo>
                    <a:lnTo>
                      <a:pt x="323" y="428"/>
                    </a:lnTo>
                    <a:lnTo>
                      <a:pt x="327" y="430"/>
                    </a:lnTo>
                    <a:lnTo>
                      <a:pt x="327" y="433"/>
                    </a:lnTo>
                    <a:lnTo>
                      <a:pt x="327" y="437"/>
                    </a:lnTo>
                    <a:lnTo>
                      <a:pt x="323" y="437"/>
                    </a:lnTo>
                    <a:lnTo>
                      <a:pt x="319" y="437"/>
                    </a:lnTo>
                    <a:lnTo>
                      <a:pt x="315" y="435"/>
                    </a:lnTo>
                    <a:lnTo>
                      <a:pt x="313" y="432"/>
                    </a:lnTo>
                    <a:lnTo>
                      <a:pt x="309" y="432"/>
                    </a:lnTo>
                    <a:lnTo>
                      <a:pt x="307" y="426"/>
                    </a:lnTo>
                    <a:lnTo>
                      <a:pt x="305" y="422"/>
                    </a:lnTo>
                    <a:lnTo>
                      <a:pt x="301" y="419"/>
                    </a:lnTo>
                    <a:lnTo>
                      <a:pt x="299" y="415"/>
                    </a:lnTo>
                    <a:lnTo>
                      <a:pt x="295" y="411"/>
                    </a:lnTo>
                    <a:lnTo>
                      <a:pt x="295" y="408"/>
                    </a:lnTo>
                    <a:lnTo>
                      <a:pt x="293" y="404"/>
                    </a:lnTo>
                    <a:lnTo>
                      <a:pt x="291" y="401"/>
                    </a:lnTo>
                    <a:lnTo>
                      <a:pt x="289" y="397"/>
                    </a:lnTo>
                    <a:lnTo>
                      <a:pt x="287" y="393"/>
                    </a:lnTo>
                    <a:lnTo>
                      <a:pt x="283" y="390"/>
                    </a:lnTo>
                    <a:lnTo>
                      <a:pt x="281" y="384"/>
                    </a:lnTo>
                    <a:lnTo>
                      <a:pt x="279" y="380"/>
                    </a:lnTo>
                    <a:lnTo>
                      <a:pt x="277" y="377"/>
                    </a:lnTo>
                    <a:lnTo>
                      <a:pt x="275" y="373"/>
                    </a:lnTo>
                    <a:lnTo>
                      <a:pt x="271" y="369"/>
                    </a:lnTo>
                    <a:lnTo>
                      <a:pt x="269" y="366"/>
                    </a:lnTo>
                    <a:lnTo>
                      <a:pt x="265" y="364"/>
                    </a:lnTo>
                    <a:lnTo>
                      <a:pt x="263" y="360"/>
                    </a:lnTo>
                    <a:lnTo>
                      <a:pt x="259" y="358"/>
                    </a:lnTo>
                    <a:lnTo>
                      <a:pt x="257" y="355"/>
                    </a:lnTo>
                    <a:lnTo>
                      <a:pt x="255" y="351"/>
                    </a:lnTo>
                    <a:lnTo>
                      <a:pt x="253" y="347"/>
                    </a:lnTo>
                    <a:lnTo>
                      <a:pt x="251" y="344"/>
                    </a:lnTo>
                    <a:lnTo>
                      <a:pt x="251" y="340"/>
                    </a:lnTo>
                    <a:lnTo>
                      <a:pt x="249" y="337"/>
                    </a:lnTo>
                    <a:lnTo>
                      <a:pt x="247" y="333"/>
                    </a:lnTo>
                    <a:lnTo>
                      <a:pt x="246" y="329"/>
                    </a:lnTo>
                    <a:lnTo>
                      <a:pt x="246" y="326"/>
                    </a:lnTo>
                    <a:lnTo>
                      <a:pt x="246" y="322"/>
                    </a:lnTo>
                    <a:lnTo>
                      <a:pt x="246" y="318"/>
                    </a:lnTo>
                    <a:lnTo>
                      <a:pt x="244" y="315"/>
                    </a:lnTo>
                    <a:lnTo>
                      <a:pt x="240" y="313"/>
                    </a:lnTo>
                    <a:lnTo>
                      <a:pt x="236" y="313"/>
                    </a:lnTo>
                    <a:lnTo>
                      <a:pt x="232" y="311"/>
                    </a:lnTo>
                    <a:lnTo>
                      <a:pt x="228" y="309"/>
                    </a:lnTo>
                    <a:lnTo>
                      <a:pt x="222" y="309"/>
                    </a:lnTo>
                    <a:lnTo>
                      <a:pt x="218" y="307"/>
                    </a:lnTo>
                    <a:lnTo>
                      <a:pt x="214" y="304"/>
                    </a:lnTo>
                    <a:lnTo>
                      <a:pt x="210" y="300"/>
                    </a:lnTo>
                    <a:lnTo>
                      <a:pt x="208" y="296"/>
                    </a:lnTo>
                    <a:lnTo>
                      <a:pt x="206" y="291"/>
                    </a:lnTo>
                    <a:lnTo>
                      <a:pt x="204" y="287"/>
                    </a:lnTo>
                    <a:lnTo>
                      <a:pt x="204" y="283"/>
                    </a:lnTo>
                    <a:lnTo>
                      <a:pt x="202" y="278"/>
                    </a:lnTo>
                    <a:lnTo>
                      <a:pt x="202" y="274"/>
                    </a:lnTo>
                    <a:lnTo>
                      <a:pt x="200" y="271"/>
                    </a:lnTo>
                    <a:lnTo>
                      <a:pt x="196" y="269"/>
                    </a:lnTo>
                    <a:lnTo>
                      <a:pt x="192" y="265"/>
                    </a:lnTo>
                    <a:lnTo>
                      <a:pt x="190" y="262"/>
                    </a:lnTo>
                    <a:lnTo>
                      <a:pt x="186" y="260"/>
                    </a:lnTo>
                    <a:lnTo>
                      <a:pt x="184" y="256"/>
                    </a:lnTo>
                    <a:lnTo>
                      <a:pt x="182" y="252"/>
                    </a:lnTo>
                    <a:lnTo>
                      <a:pt x="180" y="249"/>
                    </a:lnTo>
                    <a:lnTo>
                      <a:pt x="178" y="245"/>
                    </a:lnTo>
                    <a:lnTo>
                      <a:pt x="176" y="241"/>
                    </a:lnTo>
                    <a:lnTo>
                      <a:pt x="176" y="238"/>
                    </a:lnTo>
                    <a:lnTo>
                      <a:pt x="172" y="234"/>
                    </a:lnTo>
                    <a:lnTo>
                      <a:pt x="170" y="230"/>
                    </a:lnTo>
                    <a:lnTo>
                      <a:pt x="168" y="227"/>
                    </a:lnTo>
                    <a:lnTo>
                      <a:pt x="164" y="225"/>
                    </a:lnTo>
                    <a:lnTo>
                      <a:pt x="162" y="221"/>
                    </a:lnTo>
                    <a:lnTo>
                      <a:pt x="158" y="219"/>
                    </a:lnTo>
                    <a:lnTo>
                      <a:pt x="156" y="216"/>
                    </a:lnTo>
                    <a:lnTo>
                      <a:pt x="152" y="214"/>
                    </a:lnTo>
                    <a:lnTo>
                      <a:pt x="150" y="210"/>
                    </a:lnTo>
                    <a:lnTo>
                      <a:pt x="147" y="208"/>
                    </a:lnTo>
                    <a:lnTo>
                      <a:pt x="143" y="208"/>
                    </a:lnTo>
                    <a:lnTo>
                      <a:pt x="139" y="207"/>
                    </a:lnTo>
                    <a:lnTo>
                      <a:pt x="137" y="203"/>
                    </a:lnTo>
                    <a:lnTo>
                      <a:pt x="135" y="199"/>
                    </a:lnTo>
                    <a:lnTo>
                      <a:pt x="133" y="194"/>
                    </a:lnTo>
                    <a:lnTo>
                      <a:pt x="133" y="190"/>
                    </a:lnTo>
                    <a:lnTo>
                      <a:pt x="133" y="187"/>
                    </a:lnTo>
                    <a:lnTo>
                      <a:pt x="133" y="181"/>
                    </a:lnTo>
                    <a:lnTo>
                      <a:pt x="133" y="177"/>
                    </a:lnTo>
                    <a:lnTo>
                      <a:pt x="131" y="174"/>
                    </a:lnTo>
                    <a:lnTo>
                      <a:pt x="127" y="172"/>
                    </a:lnTo>
                    <a:lnTo>
                      <a:pt x="123" y="170"/>
                    </a:lnTo>
                    <a:lnTo>
                      <a:pt x="119" y="170"/>
                    </a:lnTo>
                    <a:lnTo>
                      <a:pt x="115" y="170"/>
                    </a:lnTo>
                    <a:lnTo>
                      <a:pt x="109" y="168"/>
                    </a:lnTo>
                    <a:lnTo>
                      <a:pt x="105" y="168"/>
                    </a:lnTo>
                    <a:lnTo>
                      <a:pt x="101" y="165"/>
                    </a:lnTo>
                    <a:lnTo>
                      <a:pt x="97" y="163"/>
                    </a:lnTo>
                    <a:lnTo>
                      <a:pt x="91" y="161"/>
                    </a:lnTo>
                    <a:lnTo>
                      <a:pt x="87" y="157"/>
                    </a:lnTo>
                    <a:lnTo>
                      <a:pt x="83" y="154"/>
                    </a:lnTo>
                    <a:lnTo>
                      <a:pt x="79" y="152"/>
                    </a:lnTo>
                    <a:lnTo>
                      <a:pt x="73" y="146"/>
                    </a:lnTo>
                    <a:lnTo>
                      <a:pt x="69" y="143"/>
                    </a:lnTo>
                    <a:lnTo>
                      <a:pt x="63" y="141"/>
                    </a:lnTo>
                    <a:lnTo>
                      <a:pt x="59" y="137"/>
                    </a:lnTo>
                    <a:lnTo>
                      <a:pt x="57" y="134"/>
                    </a:lnTo>
                    <a:lnTo>
                      <a:pt x="53" y="132"/>
                    </a:lnTo>
                    <a:lnTo>
                      <a:pt x="51" y="128"/>
                    </a:lnTo>
                    <a:lnTo>
                      <a:pt x="49" y="124"/>
                    </a:lnTo>
                    <a:lnTo>
                      <a:pt x="48" y="121"/>
                    </a:lnTo>
                    <a:lnTo>
                      <a:pt x="48" y="117"/>
                    </a:lnTo>
                    <a:lnTo>
                      <a:pt x="48" y="113"/>
                    </a:lnTo>
                    <a:lnTo>
                      <a:pt x="46" y="110"/>
                    </a:lnTo>
                    <a:lnTo>
                      <a:pt x="44" y="106"/>
                    </a:lnTo>
                    <a:lnTo>
                      <a:pt x="42" y="101"/>
                    </a:lnTo>
                    <a:lnTo>
                      <a:pt x="42" y="97"/>
                    </a:lnTo>
                    <a:lnTo>
                      <a:pt x="40" y="93"/>
                    </a:lnTo>
                    <a:lnTo>
                      <a:pt x="40" y="90"/>
                    </a:lnTo>
                    <a:lnTo>
                      <a:pt x="36" y="88"/>
                    </a:lnTo>
                    <a:lnTo>
                      <a:pt x="32" y="86"/>
                    </a:lnTo>
                    <a:lnTo>
                      <a:pt x="28" y="84"/>
                    </a:lnTo>
                    <a:lnTo>
                      <a:pt x="26" y="80"/>
                    </a:lnTo>
                    <a:lnTo>
                      <a:pt x="24" y="77"/>
                    </a:lnTo>
                    <a:lnTo>
                      <a:pt x="24" y="73"/>
                    </a:lnTo>
                    <a:lnTo>
                      <a:pt x="24" y="69"/>
                    </a:lnTo>
                    <a:lnTo>
                      <a:pt x="22" y="66"/>
                    </a:lnTo>
                    <a:lnTo>
                      <a:pt x="26" y="64"/>
                    </a:lnTo>
                    <a:lnTo>
                      <a:pt x="30" y="62"/>
                    </a:lnTo>
                    <a:lnTo>
                      <a:pt x="34" y="60"/>
                    </a:lnTo>
                    <a:lnTo>
                      <a:pt x="38" y="60"/>
                    </a:lnTo>
                    <a:lnTo>
                      <a:pt x="40" y="57"/>
                    </a:lnTo>
                    <a:lnTo>
                      <a:pt x="40" y="53"/>
                    </a:lnTo>
                    <a:lnTo>
                      <a:pt x="38" y="49"/>
                    </a:lnTo>
                    <a:lnTo>
                      <a:pt x="36" y="46"/>
                    </a:lnTo>
                    <a:lnTo>
                      <a:pt x="34" y="42"/>
                    </a:lnTo>
                    <a:lnTo>
                      <a:pt x="34" y="38"/>
                    </a:lnTo>
                    <a:lnTo>
                      <a:pt x="34" y="33"/>
                    </a:lnTo>
                    <a:lnTo>
                      <a:pt x="34" y="29"/>
                    </a:lnTo>
                    <a:lnTo>
                      <a:pt x="30" y="29"/>
                    </a:lnTo>
                    <a:lnTo>
                      <a:pt x="26" y="29"/>
                    </a:lnTo>
                    <a:lnTo>
                      <a:pt x="22" y="29"/>
                    </a:lnTo>
                    <a:lnTo>
                      <a:pt x="18" y="29"/>
                    </a:lnTo>
                    <a:lnTo>
                      <a:pt x="14" y="29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7"/>
                    </a:lnTo>
                    <a:lnTo>
                      <a:pt x="8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3" name="Freeform 100"/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 rot="-459984">
                <a:off x="8000570" y="3559275"/>
                <a:ext cx="15715" cy="83818"/>
              </a:xfrm>
              <a:custGeom>
                <a:avLst/>
                <a:gdLst>
                  <a:gd name="T0" fmla="*/ 2147483647 w 11"/>
                  <a:gd name="T1" fmla="*/ 0 h 64"/>
                  <a:gd name="T2" fmla="*/ 0 w 11"/>
                  <a:gd name="T3" fmla="*/ 2147483647 h 64"/>
                  <a:gd name="T4" fmla="*/ 0 w 11"/>
                  <a:gd name="T5" fmla="*/ 2147483647 h 64"/>
                  <a:gd name="T6" fmla="*/ 0 w 11"/>
                  <a:gd name="T7" fmla="*/ 2147483647 h 64"/>
                  <a:gd name="T8" fmla="*/ 0 w 11"/>
                  <a:gd name="T9" fmla="*/ 2147483647 h 64"/>
                  <a:gd name="T10" fmla="*/ 0 w 11"/>
                  <a:gd name="T11" fmla="*/ 2147483647 h 64"/>
                  <a:gd name="T12" fmla="*/ 0 w 11"/>
                  <a:gd name="T13" fmla="*/ 2147483647 h 64"/>
                  <a:gd name="T14" fmla="*/ 2147483647 w 11"/>
                  <a:gd name="T15" fmla="*/ 2147483647 h 64"/>
                  <a:gd name="T16" fmla="*/ 2147483647 w 11"/>
                  <a:gd name="T17" fmla="*/ 2147483647 h 64"/>
                  <a:gd name="T18" fmla="*/ 2147483647 w 11"/>
                  <a:gd name="T19" fmla="*/ 2147483647 h 64"/>
                  <a:gd name="T20" fmla="*/ 2147483647 w 11"/>
                  <a:gd name="T21" fmla="*/ 2147483647 h 64"/>
                  <a:gd name="T22" fmla="*/ 2147483647 w 11"/>
                  <a:gd name="T23" fmla="*/ 2147483647 h 64"/>
                  <a:gd name="T24" fmla="*/ 2147483647 w 11"/>
                  <a:gd name="T25" fmla="*/ 2147483647 h 64"/>
                  <a:gd name="T26" fmla="*/ 2147483647 w 11"/>
                  <a:gd name="T27" fmla="*/ 2147483647 h 64"/>
                  <a:gd name="T28" fmla="*/ 2147483647 w 11"/>
                  <a:gd name="T29" fmla="*/ 2147483647 h 64"/>
                  <a:gd name="T30" fmla="*/ 2147483647 w 11"/>
                  <a:gd name="T31" fmla="*/ 2147483647 h 64"/>
                  <a:gd name="T32" fmla="*/ 2147483647 w 11"/>
                  <a:gd name="T33" fmla="*/ 2147483647 h 64"/>
                  <a:gd name="T34" fmla="*/ 2147483647 w 11"/>
                  <a:gd name="T35" fmla="*/ 2147483647 h 64"/>
                  <a:gd name="T36" fmla="*/ 2147483647 w 11"/>
                  <a:gd name="T37" fmla="*/ 2147483647 h 6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1"/>
                  <a:gd name="T58" fmla="*/ 0 h 64"/>
                  <a:gd name="T59" fmla="*/ 11 w 11"/>
                  <a:gd name="T60" fmla="*/ 64 h 6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1" h="64">
                    <a:moveTo>
                      <a:pt x="2" y="0"/>
                    </a:moveTo>
                    <a:lnTo>
                      <a:pt x="0" y="4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2" y="25"/>
                    </a:lnTo>
                    <a:lnTo>
                      <a:pt x="2" y="29"/>
                    </a:lnTo>
                    <a:lnTo>
                      <a:pt x="4" y="32"/>
                    </a:lnTo>
                    <a:lnTo>
                      <a:pt x="4" y="36"/>
                    </a:lnTo>
                    <a:lnTo>
                      <a:pt x="6" y="40"/>
                    </a:lnTo>
                    <a:lnTo>
                      <a:pt x="8" y="43"/>
                    </a:lnTo>
                    <a:lnTo>
                      <a:pt x="6" y="47"/>
                    </a:lnTo>
                    <a:lnTo>
                      <a:pt x="6" y="50"/>
                    </a:lnTo>
                    <a:lnTo>
                      <a:pt x="10" y="52"/>
                    </a:lnTo>
                    <a:lnTo>
                      <a:pt x="6" y="56"/>
                    </a:lnTo>
                    <a:lnTo>
                      <a:pt x="6" y="59"/>
                    </a:lnTo>
                    <a:lnTo>
                      <a:pt x="6" y="63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4" name="Freeform 101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 rot="-459984">
                <a:off x="8023018" y="3393968"/>
                <a:ext cx="33673" cy="139697"/>
              </a:xfrm>
              <a:custGeom>
                <a:avLst/>
                <a:gdLst>
                  <a:gd name="T0" fmla="*/ 2147483647 w 23"/>
                  <a:gd name="T1" fmla="*/ 0 h 103"/>
                  <a:gd name="T2" fmla="*/ 2147483647 w 23"/>
                  <a:gd name="T3" fmla="*/ 2147483647 h 103"/>
                  <a:gd name="T4" fmla="*/ 2147483647 w 23"/>
                  <a:gd name="T5" fmla="*/ 2147483647 h 103"/>
                  <a:gd name="T6" fmla="*/ 2147483647 w 23"/>
                  <a:gd name="T7" fmla="*/ 2147483647 h 103"/>
                  <a:gd name="T8" fmla="*/ 2147483647 w 23"/>
                  <a:gd name="T9" fmla="*/ 2147483647 h 103"/>
                  <a:gd name="T10" fmla="*/ 2147483647 w 23"/>
                  <a:gd name="T11" fmla="*/ 2147483647 h 103"/>
                  <a:gd name="T12" fmla="*/ 2147483647 w 23"/>
                  <a:gd name="T13" fmla="*/ 2147483647 h 103"/>
                  <a:gd name="T14" fmla="*/ 2147483647 w 23"/>
                  <a:gd name="T15" fmla="*/ 2147483647 h 103"/>
                  <a:gd name="T16" fmla="*/ 2147483647 w 23"/>
                  <a:gd name="T17" fmla="*/ 2147483647 h 103"/>
                  <a:gd name="T18" fmla="*/ 2147483647 w 23"/>
                  <a:gd name="T19" fmla="*/ 2147483647 h 103"/>
                  <a:gd name="T20" fmla="*/ 2147483647 w 23"/>
                  <a:gd name="T21" fmla="*/ 2147483647 h 103"/>
                  <a:gd name="T22" fmla="*/ 2147483647 w 23"/>
                  <a:gd name="T23" fmla="*/ 2147483647 h 103"/>
                  <a:gd name="T24" fmla="*/ 2147483647 w 23"/>
                  <a:gd name="T25" fmla="*/ 2147483647 h 103"/>
                  <a:gd name="T26" fmla="*/ 2147483647 w 23"/>
                  <a:gd name="T27" fmla="*/ 2147483647 h 103"/>
                  <a:gd name="T28" fmla="*/ 2147483647 w 23"/>
                  <a:gd name="T29" fmla="*/ 2147483647 h 103"/>
                  <a:gd name="T30" fmla="*/ 2147483647 w 23"/>
                  <a:gd name="T31" fmla="*/ 2147483647 h 103"/>
                  <a:gd name="T32" fmla="*/ 2147483647 w 23"/>
                  <a:gd name="T33" fmla="*/ 2147483647 h 103"/>
                  <a:gd name="T34" fmla="*/ 2147483647 w 23"/>
                  <a:gd name="T35" fmla="*/ 2147483647 h 103"/>
                  <a:gd name="T36" fmla="*/ 2147483647 w 23"/>
                  <a:gd name="T37" fmla="*/ 2147483647 h 103"/>
                  <a:gd name="T38" fmla="*/ 2147483647 w 23"/>
                  <a:gd name="T39" fmla="*/ 2147483647 h 103"/>
                  <a:gd name="T40" fmla="*/ 0 w 23"/>
                  <a:gd name="T41" fmla="*/ 2147483647 h 103"/>
                  <a:gd name="T42" fmla="*/ 2147483647 w 23"/>
                  <a:gd name="T43" fmla="*/ 2147483647 h 103"/>
                  <a:gd name="T44" fmla="*/ 2147483647 w 23"/>
                  <a:gd name="T45" fmla="*/ 2147483647 h 103"/>
                  <a:gd name="T46" fmla="*/ 2147483647 w 23"/>
                  <a:gd name="T47" fmla="*/ 2147483647 h 103"/>
                  <a:gd name="T48" fmla="*/ 2147483647 w 23"/>
                  <a:gd name="T49" fmla="*/ 2147483647 h 103"/>
                  <a:gd name="T50" fmla="*/ 0 w 23"/>
                  <a:gd name="T51" fmla="*/ 2147483647 h 103"/>
                  <a:gd name="T52" fmla="*/ 0 w 23"/>
                  <a:gd name="T53" fmla="*/ 2147483647 h 103"/>
                  <a:gd name="T54" fmla="*/ 2147483647 w 23"/>
                  <a:gd name="T55" fmla="*/ 2147483647 h 103"/>
                  <a:gd name="T56" fmla="*/ 2147483647 w 23"/>
                  <a:gd name="T57" fmla="*/ 2147483647 h 103"/>
                  <a:gd name="T58" fmla="*/ 2147483647 w 23"/>
                  <a:gd name="T59" fmla="*/ 2147483647 h 103"/>
                  <a:gd name="T60" fmla="*/ 0 w 23"/>
                  <a:gd name="T61" fmla="*/ 2147483647 h 103"/>
                  <a:gd name="T62" fmla="*/ 0 w 23"/>
                  <a:gd name="T63" fmla="*/ 2147483647 h 10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3"/>
                  <a:gd name="T97" fmla="*/ 0 h 103"/>
                  <a:gd name="T98" fmla="*/ 23 w 23"/>
                  <a:gd name="T99" fmla="*/ 103 h 103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3" h="103">
                    <a:moveTo>
                      <a:pt x="22" y="0"/>
                    </a:moveTo>
                    <a:lnTo>
                      <a:pt x="20" y="4"/>
                    </a:lnTo>
                    <a:lnTo>
                      <a:pt x="18" y="7"/>
                    </a:lnTo>
                    <a:lnTo>
                      <a:pt x="14" y="9"/>
                    </a:lnTo>
                    <a:lnTo>
                      <a:pt x="12" y="13"/>
                    </a:lnTo>
                    <a:lnTo>
                      <a:pt x="8" y="15"/>
                    </a:lnTo>
                    <a:lnTo>
                      <a:pt x="8" y="18"/>
                    </a:lnTo>
                    <a:lnTo>
                      <a:pt x="10" y="22"/>
                    </a:lnTo>
                    <a:lnTo>
                      <a:pt x="14" y="24"/>
                    </a:lnTo>
                    <a:lnTo>
                      <a:pt x="18" y="27"/>
                    </a:lnTo>
                    <a:lnTo>
                      <a:pt x="20" y="31"/>
                    </a:lnTo>
                    <a:lnTo>
                      <a:pt x="14" y="33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6" y="40"/>
                    </a:lnTo>
                    <a:lnTo>
                      <a:pt x="4" y="44"/>
                    </a:lnTo>
                    <a:lnTo>
                      <a:pt x="4" y="47"/>
                    </a:lnTo>
                    <a:lnTo>
                      <a:pt x="4" y="51"/>
                    </a:lnTo>
                    <a:lnTo>
                      <a:pt x="2" y="55"/>
                    </a:lnTo>
                    <a:lnTo>
                      <a:pt x="2" y="58"/>
                    </a:lnTo>
                    <a:lnTo>
                      <a:pt x="0" y="62"/>
                    </a:lnTo>
                    <a:lnTo>
                      <a:pt x="4" y="66"/>
                    </a:lnTo>
                    <a:lnTo>
                      <a:pt x="4" y="69"/>
                    </a:lnTo>
                    <a:lnTo>
                      <a:pt x="2" y="73"/>
                    </a:lnTo>
                    <a:lnTo>
                      <a:pt x="2" y="77"/>
                    </a:lnTo>
                    <a:lnTo>
                      <a:pt x="0" y="80"/>
                    </a:lnTo>
                    <a:lnTo>
                      <a:pt x="0" y="84"/>
                    </a:lnTo>
                    <a:lnTo>
                      <a:pt x="2" y="88"/>
                    </a:lnTo>
                    <a:lnTo>
                      <a:pt x="2" y="91"/>
                    </a:lnTo>
                    <a:lnTo>
                      <a:pt x="2" y="95"/>
                    </a:lnTo>
                    <a:lnTo>
                      <a:pt x="0" y="98"/>
                    </a:lnTo>
                    <a:lnTo>
                      <a:pt x="0" y="102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5" name="Freeform 102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 rot="-459984">
                <a:off x="8065671" y="3300837"/>
                <a:ext cx="13469" cy="74505"/>
              </a:xfrm>
              <a:custGeom>
                <a:avLst/>
                <a:gdLst>
                  <a:gd name="T0" fmla="*/ 2147483647 w 10"/>
                  <a:gd name="T1" fmla="*/ 0 h 56"/>
                  <a:gd name="T2" fmla="*/ 2147483647 w 10"/>
                  <a:gd name="T3" fmla="*/ 2147483647 h 56"/>
                  <a:gd name="T4" fmla="*/ 2147483647 w 10"/>
                  <a:gd name="T5" fmla="*/ 2147483647 h 56"/>
                  <a:gd name="T6" fmla="*/ 2147483647 w 10"/>
                  <a:gd name="T7" fmla="*/ 2147483647 h 56"/>
                  <a:gd name="T8" fmla="*/ 2147483647 w 10"/>
                  <a:gd name="T9" fmla="*/ 2147483647 h 56"/>
                  <a:gd name="T10" fmla="*/ 2147483647 w 10"/>
                  <a:gd name="T11" fmla="*/ 2147483647 h 56"/>
                  <a:gd name="T12" fmla="*/ 2147483647 w 10"/>
                  <a:gd name="T13" fmla="*/ 2147483647 h 56"/>
                  <a:gd name="T14" fmla="*/ 2147483647 w 10"/>
                  <a:gd name="T15" fmla="*/ 2147483647 h 56"/>
                  <a:gd name="T16" fmla="*/ 2147483647 w 10"/>
                  <a:gd name="T17" fmla="*/ 2147483647 h 56"/>
                  <a:gd name="T18" fmla="*/ 2147483647 w 10"/>
                  <a:gd name="T19" fmla="*/ 2147483647 h 56"/>
                  <a:gd name="T20" fmla="*/ 2147483647 w 10"/>
                  <a:gd name="T21" fmla="*/ 2147483647 h 56"/>
                  <a:gd name="T22" fmla="*/ 2147483647 w 10"/>
                  <a:gd name="T23" fmla="*/ 2147483647 h 56"/>
                  <a:gd name="T24" fmla="*/ 0 w 10"/>
                  <a:gd name="T25" fmla="*/ 2147483647 h 56"/>
                  <a:gd name="T26" fmla="*/ 2147483647 w 10"/>
                  <a:gd name="T27" fmla="*/ 2147483647 h 56"/>
                  <a:gd name="T28" fmla="*/ 2147483647 w 10"/>
                  <a:gd name="T29" fmla="*/ 2147483647 h 56"/>
                  <a:gd name="T30" fmla="*/ 2147483647 w 10"/>
                  <a:gd name="T31" fmla="*/ 2147483647 h 56"/>
                  <a:gd name="T32" fmla="*/ 2147483647 w 10"/>
                  <a:gd name="T33" fmla="*/ 2147483647 h 5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0"/>
                  <a:gd name="T52" fmla="*/ 0 h 56"/>
                  <a:gd name="T53" fmla="*/ 10 w 10"/>
                  <a:gd name="T54" fmla="*/ 56 h 5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0" h="56">
                    <a:moveTo>
                      <a:pt x="9" y="0"/>
                    </a:moveTo>
                    <a:lnTo>
                      <a:pt x="9" y="4"/>
                    </a:lnTo>
                    <a:lnTo>
                      <a:pt x="9" y="7"/>
                    </a:lnTo>
                    <a:lnTo>
                      <a:pt x="9" y="11"/>
                    </a:lnTo>
                    <a:lnTo>
                      <a:pt x="9" y="15"/>
                    </a:lnTo>
                    <a:lnTo>
                      <a:pt x="5" y="18"/>
                    </a:lnTo>
                    <a:lnTo>
                      <a:pt x="4" y="22"/>
                    </a:lnTo>
                    <a:lnTo>
                      <a:pt x="5" y="26"/>
                    </a:lnTo>
                    <a:lnTo>
                      <a:pt x="9" y="26"/>
                    </a:lnTo>
                    <a:lnTo>
                      <a:pt x="9" y="31"/>
                    </a:lnTo>
                    <a:lnTo>
                      <a:pt x="5" y="33"/>
                    </a:lnTo>
                    <a:lnTo>
                      <a:pt x="2" y="37"/>
                    </a:lnTo>
                    <a:lnTo>
                      <a:pt x="0" y="40"/>
                    </a:lnTo>
                    <a:lnTo>
                      <a:pt x="4" y="44"/>
                    </a:lnTo>
                    <a:lnTo>
                      <a:pt x="5" y="48"/>
                    </a:lnTo>
                    <a:lnTo>
                      <a:pt x="5" y="51"/>
                    </a:lnTo>
                    <a:lnTo>
                      <a:pt x="7" y="55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6" name="Freeform 103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 rot="-459984">
                <a:off x="8061181" y="3563932"/>
                <a:ext cx="20203" cy="32596"/>
              </a:xfrm>
              <a:custGeom>
                <a:avLst/>
                <a:gdLst>
                  <a:gd name="T0" fmla="*/ 2147483647 w 13"/>
                  <a:gd name="T1" fmla="*/ 0 h 24"/>
                  <a:gd name="T2" fmla="*/ 2147483647 w 13"/>
                  <a:gd name="T3" fmla="*/ 2147483647 h 24"/>
                  <a:gd name="T4" fmla="*/ 2147483647 w 13"/>
                  <a:gd name="T5" fmla="*/ 2147483647 h 24"/>
                  <a:gd name="T6" fmla="*/ 2147483647 w 13"/>
                  <a:gd name="T7" fmla="*/ 2147483647 h 24"/>
                  <a:gd name="T8" fmla="*/ 2147483647 w 13"/>
                  <a:gd name="T9" fmla="*/ 2147483647 h 24"/>
                  <a:gd name="T10" fmla="*/ 2147483647 w 13"/>
                  <a:gd name="T11" fmla="*/ 2147483647 h 24"/>
                  <a:gd name="T12" fmla="*/ 2147483647 w 13"/>
                  <a:gd name="T13" fmla="*/ 2147483647 h 24"/>
                  <a:gd name="T14" fmla="*/ 2147483647 w 13"/>
                  <a:gd name="T15" fmla="*/ 2147483647 h 24"/>
                  <a:gd name="T16" fmla="*/ 0 w 13"/>
                  <a:gd name="T17" fmla="*/ 2147483647 h 24"/>
                  <a:gd name="T18" fmla="*/ 2147483647 w 13"/>
                  <a:gd name="T19" fmla="*/ 2147483647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3"/>
                  <a:gd name="T31" fmla="*/ 0 h 24"/>
                  <a:gd name="T32" fmla="*/ 13 w 13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3" h="24">
                    <a:moveTo>
                      <a:pt x="12" y="0"/>
                    </a:moveTo>
                    <a:lnTo>
                      <a:pt x="8" y="2"/>
                    </a:lnTo>
                    <a:lnTo>
                      <a:pt x="4" y="2"/>
                    </a:lnTo>
                    <a:lnTo>
                      <a:pt x="2" y="5"/>
                    </a:lnTo>
                    <a:lnTo>
                      <a:pt x="4" y="9"/>
                    </a:lnTo>
                    <a:lnTo>
                      <a:pt x="8" y="11"/>
                    </a:lnTo>
                    <a:lnTo>
                      <a:pt x="6" y="14"/>
                    </a:lnTo>
                    <a:lnTo>
                      <a:pt x="2" y="16"/>
                    </a:lnTo>
                    <a:lnTo>
                      <a:pt x="0" y="20"/>
                    </a:lnTo>
                    <a:lnTo>
                      <a:pt x="2" y="23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7" name="Freeform 104"/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 rot="-459984">
                <a:off x="8002815" y="2942283"/>
                <a:ext cx="31428" cy="93131"/>
              </a:xfrm>
              <a:custGeom>
                <a:avLst/>
                <a:gdLst>
                  <a:gd name="T0" fmla="*/ 0 w 23"/>
                  <a:gd name="T1" fmla="*/ 0 h 71"/>
                  <a:gd name="T2" fmla="*/ 2147483647 w 23"/>
                  <a:gd name="T3" fmla="*/ 2147483647 h 71"/>
                  <a:gd name="T4" fmla="*/ 2147483647 w 23"/>
                  <a:gd name="T5" fmla="*/ 2147483647 h 71"/>
                  <a:gd name="T6" fmla="*/ 2147483647 w 23"/>
                  <a:gd name="T7" fmla="*/ 2147483647 h 71"/>
                  <a:gd name="T8" fmla="*/ 2147483647 w 23"/>
                  <a:gd name="T9" fmla="*/ 2147483647 h 71"/>
                  <a:gd name="T10" fmla="*/ 2147483647 w 23"/>
                  <a:gd name="T11" fmla="*/ 2147483647 h 71"/>
                  <a:gd name="T12" fmla="*/ 2147483647 w 23"/>
                  <a:gd name="T13" fmla="*/ 2147483647 h 71"/>
                  <a:gd name="T14" fmla="*/ 2147483647 w 23"/>
                  <a:gd name="T15" fmla="*/ 2147483647 h 71"/>
                  <a:gd name="T16" fmla="*/ 2147483647 w 23"/>
                  <a:gd name="T17" fmla="*/ 2147483647 h 71"/>
                  <a:gd name="T18" fmla="*/ 2147483647 w 23"/>
                  <a:gd name="T19" fmla="*/ 2147483647 h 71"/>
                  <a:gd name="T20" fmla="*/ 2147483647 w 23"/>
                  <a:gd name="T21" fmla="*/ 2147483647 h 71"/>
                  <a:gd name="T22" fmla="*/ 2147483647 w 23"/>
                  <a:gd name="T23" fmla="*/ 2147483647 h 71"/>
                  <a:gd name="T24" fmla="*/ 2147483647 w 23"/>
                  <a:gd name="T25" fmla="*/ 2147483647 h 71"/>
                  <a:gd name="T26" fmla="*/ 2147483647 w 23"/>
                  <a:gd name="T27" fmla="*/ 2147483647 h 71"/>
                  <a:gd name="T28" fmla="*/ 2147483647 w 23"/>
                  <a:gd name="T29" fmla="*/ 2147483647 h 71"/>
                  <a:gd name="T30" fmla="*/ 2147483647 w 23"/>
                  <a:gd name="T31" fmla="*/ 2147483647 h 71"/>
                  <a:gd name="T32" fmla="*/ 2147483647 w 23"/>
                  <a:gd name="T33" fmla="*/ 2147483647 h 71"/>
                  <a:gd name="T34" fmla="*/ 2147483647 w 23"/>
                  <a:gd name="T35" fmla="*/ 2147483647 h 71"/>
                  <a:gd name="T36" fmla="*/ 2147483647 w 23"/>
                  <a:gd name="T37" fmla="*/ 2147483647 h 71"/>
                  <a:gd name="T38" fmla="*/ 2147483647 w 23"/>
                  <a:gd name="T39" fmla="*/ 2147483647 h 71"/>
                  <a:gd name="T40" fmla="*/ 2147483647 w 23"/>
                  <a:gd name="T41" fmla="*/ 2147483647 h 71"/>
                  <a:gd name="T42" fmla="*/ 2147483647 w 23"/>
                  <a:gd name="T43" fmla="*/ 2147483647 h 7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3"/>
                  <a:gd name="T67" fmla="*/ 0 h 71"/>
                  <a:gd name="T68" fmla="*/ 23 w 23"/>
                  <a:gd name="T69" fmla="*/ 71 h 7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3" h="71">
                    <a:moveTo>
                      <a:pt x="0" y="0"/>
                    </a:moveTo>
                    <a:lnTo>
                      <a:pt x="4" y="2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8" y="7"/>
                    </a:lnTo>
                    <a:lnTo>
                      <a:pt x="18" y="11"/>
                    </a:lnTo>
                    <a:lnTo>
                      <a:pt x="18" y="15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6" y="26"/>
                    </a:lnTo>
                    <a:lnTo>
                      <a:pt x="14" y="30"/>
                    </a:lnTo>
                    <a:lnTo>
                      <a:pt x="16" y="35"/>
                    </a:lnTo>
                    <a:lnTo>
                      <a:pt x="20" y="37"/>
                    </a:lnTo>
                    <a:lnTo>
                      <a:pt x="20" y="41"/>
                    </a:lnTo>
                    <a:lnTo>
                      <a:pt x="20" y="44"/>
                    </a:lnTo>
                    <a:lnTo>
                      <a:pt x="20" y="48"/>
                    </a:lnTo>
                    <a:lnTo>
                      <a:pt x="20" y="52"/>
                    </a:lnTo>
                    <a:lnTo>
                      <a:pt x="22" y="55"/>
                    </a:lnTo>
                    <a:lnTo>
                      <a:pt x="22" y="59"/>
                    </a:lnTo>
                    <a:lnTo>
                      <a:pt x="20" y="63"/>
                    </a:lnTo>
                    <a:lnTo>
                      <a:pt x="16" y="66"/>
                    </a:lnTo>
                    <a:lnTo>
                      <a:pt x="18" y="7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8" name="Freeform 105"/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 rot="-459984">
                <a:off x="6882641" y="3258929"/>
                <a:ext cx="47142" cy="48893"/>
              </a:xfrm>
              <a:custGeom>
                <a:avLst/>
                <a:gdLst>
                  <a:gd name="T0" fmla="*/ 2147483647 w 34"/>
                  <a:gd name="T1" fmla="*/ 2147483647 h 38"/>
                  <a:gd name="T2" fmla="*/ 2147483647 w 34"/>
                  <a:gd name="T3" fmla="*/ 2147483647 h 38"/>
                  <a:gd name="T4" fmla="*/ 2147483647 w 34"/>
                  <a:gd name="T5" fmla="*/ 2147483647 h 38"/>
                  <a:gd name="T6" fmla="*/ 2147483647 w 34"/>
                  <a:gd name="T7" fmla="*/ 2147483647 h 38"/>
                  <a:gd name="T8" fmla="*/ 2147483647 w 34"/>
                  <a:gd name="T9" fmla="*/ 0 h 38"/>
                  <a:gd name="T10" fmla="*/ 2147483647 w 34"/>
                  <a:gd name="T11" fmla="*/ 2147483647 h 38"/>
                  <a:gd name="T12" fmla="*/ 2147483647 w 34"/>
                  <a:gd name="T13" fmla="*/ 2147483647 h 38"/>
                  <a:gd name="T14" fmla="*/ 0 w 34"/>
                  <a:gd name="T15" fmla="*/ 2147483647 h 38"/>
                  <a:gd name="T16" fmla="*/ 0 w 34"/>
                  <a:gd name="T17" fmla="*/ 2147483647 h 38"/>
                  <a:gd name="T18" fmla="*/ 2147483647 w 34"/>
                  <a:gd name="T19" fmla="*/ 2147483647 h 38"/>
                  <a:gd name="T20" fmla="*/ 2147483647 w 34"/>
                  <a:gd name="T21" fmla="*/ 2147483647 h 38"/>
                  <a:gd name="T22" fmla="*/ 2147483647 w 34"/>
                  <a:gd name="T23" fmla="*/ 2147483647 h 38"/>
                  <a:gd name="T24" fmla="*/ 2147483647 w 34"/>
                  <a:gd name="T25" fmla="*/ 2147483647 h 38"/>
                  <a:gd name="T26" fmla="*/ 2147483647 w 34"/>
                  <a:gd name="T27" fmla="*/ 2147483647 h 38"/>
                  <a:gd name="T28" fmla="*/ 2147483647 w 34"/>
                  <a:gd name="T29" fmla="*/ 2147483647 h 38"/>
                  <a:gd name="T30" fmla="*/ 2147483647 w 34"/>
                  <a:gd name="T31" fmla="*/ 2147483647 h 38"/>
                  <a:gd name="T32" fmla="*/ 2147483647 w 34"/>
                  <a:gd name="T33" fmla="*/ 2147483647 h 38"/>
                  <a:gd name="T34" fmla="*/ 2147483647 w 34"/>
                  <a:gd name="T35" fmla="*/ 2147483647 h 38"/>
                  <a:gd name="T36" fmla="*/ 2147483647 w 34"/>
                  <a:gd name="T37" fmla="*/ 2147483647 h 38"/>
                  <a:gd name="T38" fmla="*/ 2147483647 w 34"/>
                  <a:gd name="T39" fmla="*/ 2147483647 h 38"/>
                  <a:gd name="T40" fmla="*/ 2147483647 w 34"/>
                  <a:gd name="T41" fmla="*/ 2147483647 h 38"/>
                  <a:gd name="T42" fmla="*/ 2147483647 w 34"/>
                  <a:gd name="T43" fmla="*/ 2147483647 h 38"/>
                  <a:gd name="T44" fmla="*/ 2147483647 w 34"/>
                  <a:gd name="T45" fmla="*/ 2147483647 h 38"/>
                  <a:gd name="T46" fmla="*/ 2147483647 w 34"/>
                  <a:gd name="T47" fmla="*/ 2147483647 h 38"/>
                  <a:gd name="T48" fmla="*/ 2147483647 w 34"/>
                  <a:gd name="T49" fmla="*/ 2147483647 h 38"/>
                  <a:gd name="T50" fmla="*/ 2147483647 w 34"/>
                  <a:gd name="T51" fmla="*/ 2147483647 h 38"/>
                  <a:gd name="T52" fmla="*/ 2147483647 w 34"/>
                  <a:gd name="T53" fmla="*/ 2147483647 h 38"/>
                  <a:gd name="T54" fmla="*/ 2147483647 w 34"/>
                  <a:gd name="T55" fmla="*/ 2147483647 h 38"/>
                  <a:gd name="T56" fmla="*/ 2147483647 w 34"/>
                  <a:gd name="T57" fmla="*/ 2147483647 h 38"/>
                  <a:gd name="T58" fmla="*/ 2147483647 w 34"/>
                  <a:gd name="T59" fmla="*/ 2147483647 h 3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34"/>
                  <a:gd name="T91" fmla="*/ 0 h 38"/>
                  <a:gd name="T92" fmla="*/ 34 w 34"/>
                  <a:gd name="T93" fmla="*/ 38 h 38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34" h="38">
                    <a:moveTo>
                      <a:pt x="25" y="4"/>
                    </a:moveTo>
                    <a:lnTo>
                      <a:pt x="21" y="4"/>
                    </a:lnTo>
                    <a:lnTo>
                      <a:pt x="17" y="4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4" y="19"/>
                    </a:lnTo>
                    <a:lnTo>
                      <a:pt x="6" y="22"/>
                    </a:lnTo>
                    <a:lnTo>
                      <a:pt x="10" y="26"/>
                    </a:lnTo>
                    <a:lnTo>
                      <a:pt x="14" y="28"/>
                    </a:lnTo>
                    <a:lnTo>
                      <a:pt x="16" y="32"/>
                    </a:lnTo>
                    <a:lnTo>
                      <a:pt x="19" y="32"/>
                    </a:lnTo>
                    <a:lnTo>
                      <a:pt x="23" y="32"/>
                    </a:lnTo>
                    <a:lnTo>
                      <a:pt x="27" y="33"/>
                    </a:lnTo>
                    <a:lnTo>
                      <a:pt x="31" y="37"/>
                    </a:lnTo>
                    <a:lnTo>
                      <a:pt x="33" y="33"/>
                    </a:lnTo>
                    <a:lnTo>
                      <a:pt x="33" y="30"/>
                    </a:lnTo>
                    <a:lnTo>
                      <a:pt x="29" y="28"/>
                    </a:lnTo>
                    <a:lnTo>
                      <a:pt x="29" y="24"/>
                    </a:lnTo>
                    <a:lnTo>
                      <a:pt x="29" y="20"/>
                    </a:lnTo>
                    <a:lnTo>
                      <a:pt x="31" y="17"/>
                    </a:lnTo>
                    <a:lnTo>
                      <a:pt x="33" y="13"/>
                    </a:lnTo>
                    <a:lnTo>
                      <a:pt x="31" y="9"/>
                    </a:lnTo>
                    <a:lnTo>
                      <a:pt x="31" y="6"/>
                    </a:lnTo>
                    <a:lnTo>
                      <a:pt x="25" y="4"/>
                    </a:lnTo>
                    <a:lnTo>
                      <a:pt x="21" y="6"/>
                    </a:lnTo>
                    <a:lnTo>
                      <a:pt x="25" y="4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39" name="Freeform 106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6415715" y="2644264"/>
                <a:ext cx="1003443" cy="1282879"/>
              </a:xfrm>
              <a:custGeom>
                <a:avLst/>
                <a:gdLst>
                  <a:gd name="T0" fmla="*/ 2147483647 w 810"/>
                  <a:gd name="T1" fmla="*/ 2147483647 h 1083"/>
                  <a:gd name="T2" fmla="*/ 2147483647 w 810"/>
                  <a:gd name="T3" fmla="*/ 2147483647 h 1083"/>
                  <a:gd name="T4" fmla="*/ 2147483647 w 810"/>
                  <a:gd name="T5" fmla="*/ 2147483647 h 1083"/>
                  <a:gd name="T6" fmla="*/ 2147483647 w 810"/>
                  <a:gd name="T7" fmla="*/ 2147483647 h 1083"/>
                  <a:gd name="T8" fmla="*/ 2147483647 w 810"/>
                  <a:gd name="T9" fmla="*/ 2147483647 h 1083"/>
                  <a:gd name="T10" fmla="*/ 2147483647 w 810"/>
                  <a:gd name="T11" fmla="*/ 2147483647 h 1083"/>
                  <a:gd name="T12" fmla="*/ 2147483647 w 810"/>
                  <a:gd name="T13" fmla="*/ 2147483647 h 1083"/>
                  <a:gd name="T14" fmla="*/ 2147483647 w 810"/>
                  <a:gd name="T15" fmla="*/ 2147483647 h 1083"/>
                  <a:gd name="T16" fmla="*/ 2147483647 w 810"/>
                  <a:gd name="T17" fmla="*/ 2147483647 h 1083"/>
                  <a:gd name="T18" fmla="*/ 2147483647 w 810"/>
                  <a:gd name="T19" fmla="*/ 2147483647 h 1083"/>
                  <a:gd name="T20" fmla="*/ 2147483647 w 810"/>
                  <a:gd name="T21" fmla="*/ 2147483647 h 1083"/>
                  <a:gd name="T22" fmla="*/ 2147483647 w 810"/>
                  <a:gd name="T23" fmla="*/ 2147483647 h 1083"/>
                  <a:gd name="T24" fmla="*/ 2147483647 w 810"/>
                  <a:gd name="T25" fmla="*/ 2147483647 h 1083"/>
                  <a:gd name="T26" fmla="*/ 2147483647 w 810"/>
                  <a:gd name="T27" fmla="*/ 2147483647 h 1083"/>
                  <a:gd name="T28" fmla="*/ 2147483647 w 810"/>
                  <a:gd name="T29" fmla="*/ 2147483647 h 1083"/>
                  <a:gd name="T30" fmla="*/ 2147483647 w 810"/>
                  <a:gd name="T31" fmla="*/ 2147483647 h 1083"/>
                  <a:gd name="T32" fmla="*/ 2147483647 w 810"/>
                  <a:gd name="T33" fmla="*/ 2147483647 h 1083"/>
                  <a:gd name="T34" fmla="*/ 2147483647 w 810"/>
                  <a:gd name="T35" fmla="*/ 2147483647 h 1083"/>
                  <a:gd name="T36" fmla="*/ 2147483647 w 810"/>
                  <a:gd name="T37" fmla="*/ 2147483647 h 1083"/>
                  <a:gd name="T38" fmla="*/ 2147483647 w 810"/>
                  <a:gd name="T39" fmla="*/ 2147483647 h 1083"/>
                  <a:gd name="T40" fmla="*/ 2147483647 w 810"/>
                  <a:gd name="T41" fmla="*/ 2147483647 h 1083"/>
                  <a:gd name="T42" fmla="*/ 2147483647 w 810"/>
                  <a:gd name="T43" fmla="*/ 2147483647 h 1083"/>
                  <a:gd name="T44" fmla="*/ 2147483647 w 810"/>
                  <a:gd name="T45" fmla="*/ 2147483647 h 1083"/>
                  <a:gd name="T46" fmla="*/ 2147483647 w 810"/>
                  <a:gd name="T47" fmla="*/ 2147483647 h 1083"/>
                  <a:gd name="T48" fmla="*/ 2147483647 w 810"/>
                  <a:gd name="T49" fmla="*/ 2147483647 h 1083"/>
                  <a:gd name="T50" fmla="*/ 2147483647 w 810"/>
                  <a:gd name="T51" fmla="*/ 2147483647 h 1083"/>
                  <a:gd name="T52" fmla="*/ 2147483647 w 810"/>
                  <a:gd name="T53" fmla="*/ 2147483647 h 1083"/>
                  <a:gd name="T54" fmla="*/ 2147483647 w 810"/>
                  <a:gd name="T55" fmla="*/ 2147483647 h 1083"/>
                  <a:gd name="T56" fmla="*/ 2147483647 w 810"/>
                  <a:gd name="T57" fmla="*/ 2147483647 h 1083"/>
                  <a:gd name="T58" fmla="*/ 2147483647 w 810"/>
                  <a:gd name="T59" fmla="*/ 2147483647 h 1083"/>
                  <a:gd name="T60" fmla="*/ 2147483647 w 810"/>
                  <a:gd name="T61" fmla="*/ 2147483647 h 1083"/>
                  <a:gd name="T62" fmla="*/ 2147483647 w 810"/>
                  <a:gd name="T63" fmla="*/ 2147483647 h 1083"/>
                  <a:gd name="T64" fmla="*/ 2147483647 w 810"/>
                  <a:gd name="T65" fmla="*/ 2147483647 h 1083"/>
                  <a:gd name="T66" fmla="*/ 2147483647 w 810"/>
                  <a:gd name="T67" fmla="*/ 2147483647 h 1083"/>
                  <a:gd name="T68" fmla="*/ 2147483647 w 810"/>
                  <a:gd name="T69" fmla="*/ 2147483647 h 1083"/>
                  <a:gd name="T70" fmla="*/ 2147483647 w 810"/>
                  <a:gd name="T71" fmla="*/ 2147483647 h 1083"/>
                  <a:gd name="T72" fmla="*/ 2147483647 w 810"/>
                  <a:gd name="T73" fmla="*/ 2147483647 h 1083"/>
                  <a:gd name="T74" fmla="*/ 2147483647 w 810"/>
                  <a:gd name="T75" fmla="*/ 2147483647 h 1083"/>
                  <a:gd name="T76" fmla="*/ 2147483647 w 810"/>
                  <a:gd name="T77" fmla="*/ 2147483647 h 1083"/>
                  <a:gd name="T78" fmla="*/ 2147483647 w 810"/>
                  <a:gd name="T79" fmla="*/ 2147483647 h 1083"/>
                  <a:gd name="T80" fmla="*/ 2147483647 w 810"/>
                  <a:gd name="T81" fmla="*/ 2147483647 h 1083"/>
                  <a:gd name="T82" fmla="*/ 2147483647 w 810"/>
                  <a:gd name="T83" fmla="*/ 2147483647 h 1083"/>
                  <a:gd name="T84" fmla="*/ 2147483647 w 810"/>
                  <a:gd name="T85" fmla="*/ 2147483647 h 1083"/>
                  <a:gd name="T86" fmla="*/ 2147483647 w 810"/>
                  <a:gd name="T87" fmla="*/ 2147483647 h 1083"/>
                  <a:gd name="T88" fmla="*/ 2147483647 w 810"/>
                  <a:gd name="T89" fmla="*/ 2147483647 h 1083"/>
                  <a:gd name="T90" fmla="*/ 2147483647 w 810"/>
                  <a:gd name="T91" fmla="*/ 2147483647 h 1083"/>
                  <a:gd name="T92" fmla="*/ 2147483647 w 810"/>
                  <a:gd name="T93" fmla="*/ 2147483647 h 1083"/>
                  <a:gd name="T94" fmla="*/ 2147483647 w 810"/>
                  <a:gd name="T95" fmla="*/ 2147483647 h 1083"/>
                  <a:gd name="T96" fmla="*/ 2147483647 w 810"/>
                  <a:gd name="T97" fmla="*/ 2147483647 h 1083"/>
                  <a:gd name="T98" fmla="*/ 2147483647 w 810"/>
                  <a:gd name="T99" fmla="*/ 2147483647 h 1083"/>
                  <a:gd name="T100" fmla="*/ 2147483647 w 810"/>
                  <a:gd name="T101" fmla="*/ 2147483647 h 1083"/>
                  <a:gd name="T102" fmla="*/ 2147483647 w 810"/>
                  <a:gd name="T103" fmla="*/ 2147483647 h 1083"/>
                  <a:gd name="T104" fmla="*/ 2147483647 w 810"/>
                  <a:gd name="T105" fmla="*/ 2147483647 h 1083"/>
                  <a:gd name="T106" fmla="*/ 2147483647 w 810"/>
                  <a:gd name="T107" fmla="*/ 2147483647 h 1083"/>
                  <a:gd name="T108" fmla="*/ 2147483647 w 810"/>
                  <a:gd name="T109" fmla="*/ 2147483647 h 1083"/>
                  <a:gd name="T110" fmla="*/ 2147483647 w 810"/>
                  <a:gd name="T111" fmla="*/ 2147483647 h 1083"/>
                  <a:gd name="T112" fmla="*/ 2147483647 w 810"/>
                  <a:gd name="T113" fmla="*/ 2147483647 h 1083"/>
                  <a:gd name="T114" fmla="*/ 2147483647 w 810"/>
                  <a:gd name="T115" fmla="*/ 2147483647 h 1083"/>
                  <a:gd name="T116" fmla="*/ 2147483647 w 810"/>
                  <a:gd name="T117" fmla="*/ 2147483647 h 1083"/>
                  <a:gd name="T118" fmla="*/ 2147483647 w 810"/>
                  <a:gd name="T119" fmla="*/ 2147483647 h 1083"/>
                  <a:gd name="T120" fmla="*/ 2147483647 w 810"/>
                  <a:gd name="T121" fmla="*/ 2147483647 h 1083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810"/>
                  <a:gd name="T184" fmla="*/ 0 h 1083"/>
                  <a:gd name="T185" fmla="*/ 810 w 810"/>
                  <a:gd name="T186" fmla="*/ 1083 h 1083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810" h="1083">
                    <a:moveTo>
                      <a:pt x="425" y="87"/>
                    </a:moveTo>
                    <a:lnTo>
                      <a:pt x="424" y="84"/>
                    </a:lnTo>
                    <a:lnTo>
                      <a:pt x="422" y="80"/>
                    </a:lnTo>
                    <a:lnTo>
                      <a:pt x="418" y="78"/>
                    </a:lnTo>
                    <a:lnTo>
                      <a:pt x="412" y="77"/>
                    </a:lnTo>
                    <a:lnTo>
                      <a:pt x="408" y="76"/>
                    </a:lnTo>
                    <a:lnTo>
                      <a:pt x="403" y="73"/>
                    </a:lnTo>
                    <a:lnTo>
                      <a:pt x="400" y="71"/>
                    </a:lnTo>
                    <a:lnTo>
                      <a:pt x="395" y="69"/>
                    </a:lnTo>
                    <a:lnTo>
                      <a:pt x="391" y="70"/>
                    </a:lnTo>
                    <a:lnTo>
                      <a:pt x="387" y="72"/>
                    </a:lnTo>
                    <a:lnTo>
                      <a:pt x="384" y="73"/>
                    </a:lnTo>
                    <a:lnTo>
                      <a:pt x="379" y="74"/>
                    </a:lnTo>
                    <a:lnTo>
                      <a:pt x="374" y="72"/>
                    </a:lnTo>
                    <a:lnTo>
                      <a:pt x="369" y="73"/>
                    </a:lnTo>
                    <a:lnTo>
                      <a:pt x="365" y="73"/>
                    </a:lnTo>
                    <a:lnTo>
                      <a:pt x="361" y="74"/>
                    </a:lnTo>
                    <a:lnTo>
                      <a:pt x="357" y="74"/>
                    </a:lnTo>
                    <a:lnTo>
                      <a:pt x="352" y="77"/>
                    </a:lnTo>
                    <a:lnTo>
                      <a:pt x="348" y="78"/>
                    </a:lnTo>
                    <a:lnTo>
                      <a:pt x="345" y="81"/>
                    </a:lnTo>
                    <a:lnTo>
                      <a:pt x="342" y="85"/>
                    </a:lnTo>
                    <a:lnTo>
                      <a:pt x="337" y="87"/>
                    </a:lnTo>
                    <a:lnTo>
                      <a:pt x="333" y="90"/>
                    </a:lnTo>
                    <a:lnTo>
                      <a:pt x="328" y="90"/>
                    </a:lnTo>
                    <a:lnTo>
                      <a:pt x="324" y="89"/>
                    </a:lnTo>
                    <a:lnTo>
                      <a:pt x="322" y="84"/>
                    </a:lnTo>
                    <a:lnTo>
                      <a:pt x="321" y="81"/>
                    </a:lnTo>
                    <a:lnTo>
                      <a:pt x="321" y="76"/>
                    </a:lnTo>
                    <a:lnTo>
                      <a:pt x="329" y="72"/>
                    </a:lnTo>
                    <a:lnTo>
                      <a:pt x="329" y="64"/>
                    </a:lnTo>
                    <a:lnTo>
                      <a:pt x="328" y="57"/>
                    </a:lnTo>
                    <a:lnTo>
                      <a:pt x="331" y="58"/>
                    </a:lnTo>
                    <a:lnTo>
                      <a:pt x="337" y="52"/>
                    </a:lnTo>
                    <a:lnTo>
                      <a:pt x="327" y="55"/>
                    </a:lnTo>
                    <a:lnTo>
                      <a:pt x="330" y="53"/>
                    </a:lnTo>
                    <a:lnTo>
                      <a:pt x="330" y="48"/>
                    </a:lnTo>
                    <a:lnTo>
                      <a:pt x="329" y="43"/>
                    </a:lnTo>
                    <a:lnTo>
                      <a:pt x="328" y="38"/>
                    </a:lnTo>
                    <a:lnTo>
                      <a:pt x="324" y="35"/>
                    </a:lnTo>
                    <a:lnTo>
                      <a:pt x="320" y="31"/>
                    </a:lnTo>
                    <a:lnTo>
                      <a:pt x="318" y="27"/>
                    </a:lnTo>
                    <a:lnTo>
                      <a:pt x="317" y="23"/>
                    </a:lnTo>
                    <a:lnTo>
                      <a:pt x="313" y="22"/>
                    </a:lnTo>
                    <a:lnTo>
                      <a:pt x="308" y="19"/>
                    </a:lnTo>
                    <a:lnTo>
                      <a:pt x="303" y="16"/>
                    </a:lnTo>
                    <a:lnTo>
                      <a:pt x="300" y="14"/>
                    </a:lnTo>
                    <a:lnTo>
                      <a:pt x="296" y="12"/>
                    </a:lnTo>
                    <a:lnTo>
                      <a:pt x="292" y="8"/>
                    </a:lnTo>
                    <a:lnTo>
                      <a:pt x="288" y="6"/>
                    </a:lnTo>
                    <a:lnTo>
                      <a:pt x="285" y="3"/>
                    </a:lnTo>
                    <a:lnTo>
                      <a:pt x="280" y="1"/>
                    </a:lnTo>
                    <a:lnTo>
                      <a:pt x="276" y="2"/>
                    </a:lnTo>
                    <a:lnTo>
                      <a:pt x="271" y="0"/>
                    </a:lnTo>
                    <a:lnTo>
                      <a:pt x="267" y="1"/>
                    </a:lnTo>
                    <a:lnTo>
                      <a:pt x="262" y="1"/>
                    </a:lnTo>
                    <a:lnTo>
                      <a:pt x="258" y="2"/>
                    </a:lnTo>
                    <a:lnTo>
                      <a:pt x="253" y="3"/>
                    </a:lnTo>
                    <a:lnTo>
                      <a:pt x="250" y="3"/>
                    </a:lnTo>
                    <a:lnTo>
                      <a:pt x="245" y="4"/>
                    </a:lnTo>
                    <a:lnTo>
                      <a:pt x="241" y="4"/>
                    </a:lnTo>
                    <a:lnTo>
                      <a:pt x="239" y="10"/>
                    </a:lnTo>
                    <a:lnTo>
                      <a:pt x="237" y="13"/>
                    </a:lnTo>
                    <a:lnTo>
                      <a:pt x="236" y="17"/>
                    </a:lnTo>
                    <a:lnTo>
                      <a:pt x="231" y="18"/>
                    </a:lnTo>
                    <a:lnTo>
                      <a:pt x="225" y="22"/>
                    </a:lnTo>
                    <a:lnTo>
                      <a:pt x="219" y="24"/>
                    </a:lnTo>
                    <a:lnTo>
                      <a:pt x="214" y="26"/>
                    </a:lnTo>
                    <a:lnTo>
                      <a:pt x="213" y="31"/>
                    </a:lnTo>
                    <a:lnTo>
                      <a:pt x="213" y="35"/>
                    </a:lnTo>
                    <a:lnTo>
                      <a:pt x="213" y="38"/>
                    </a:lnTo>
                    <a:lnTo>
                      <a:pt x="214" y="43"/>
                    </a:lnTo>
                    <a:lnTo>
                      <a:pt x="215" y="47"/>
                    </a:lnTo>
                    <a:lnTo>
                      <a:pt x="213" y="51"/>
                    </a:lnTo>
                    <a:lnTo>
                      <a:pt x="211" y="56"/>
                    </a:lnTo>
                    <a:lnTo>
                      <a:pt x="209" y="61"/>
                    </a:lnTo>
                    <a:lnTo>
                      <a:pt x="210" y="64"/>
                    </a:lnTo>
                    <a:lnTo>
                      <a:pt x="206" y="65"/>
                    </a:lnTo>
                    <a:lnTo>
                      <a:pt x="201" y="62"/>
                    </a:lnTo>
                    <a:lnTo>
                      <a:pt x="198" y="58"/>
                    </a:lnTo>
                    <a:lnTo>
                      <a:pt x="193" y="58"/>
                    </a:lnTo>
                    <a:lnTo>
                      <a:pt x="187" y="59"/>
                    </a:lnTo>
                    <a:lnTo>
                      <a:pt x="182" y="63"/>
                    </a:lnTo>
                    <a:lnTo>
                      <a:pt x="179" y="65"/>
                    </a:lnTo>
                    <a:lnTo>
                      <a:pt x="174" y="69"/>
                    </a:lnTo>
                    <a:lnTo>
                      <a:pt x="171" y="72"/>
                    </a:lnTo>
                    <a:lnTo>
                      <a:pt x="168" y="77"/>
                    </a:lnTo>
                    <a:lnTo>
                      <a:pt x="164" y="79"/>
                    </a:lnTo>
                    <a:lnTo>
                      <a:pt x="162" y="84"/>
                    </a:lnTo>
                    <a:lnTo>
                      <a:pt x="163" y="87"/>
                    </a:lnTo>
                    <a:lnTo>
                      <a:pt x="161" y="93"/>
                    </a:lnTo>
                    <a:lnTo>
                      <a:pt x="160" y="96"/>
                    </a:lnTo>
                    <a:lnTo>
                      <a:pt x="155" y="97"/>
                    </a:lnTo>
                    <a:lnTo>
                      <a:pt x="151" y="97"/>
                    </a:lnTo>
                    <a:lnTo>
                      <a:pt x="146" y="98"/>
                    </a:lnTo>
                    <a:lnTo>
                      <a:pt x="140" y="101"/>
                    </a:lnTo>
                    <a:lnTo>
                      <a:pt x="136" y="101"/>
                    </a:lnTo>
                    <a:lnTo>
                      <a:pt x="132" y="102"/>
                    </a:lnTo>
                    <a:lnTo>
                      <a:pt x="127" y="102"/>
                    </a:lnTo>
                    <a:lnTo>
                      <a:pt x="123" y="103"/>
                    </a:lnTo>
                    <a:lnTo>
                      <a:pt x="118" y="102"/>
                    </a:lnTo>
                    <a:lnTo>
                      <a:pt x="114" y="101"/>
                    </a:lnTo>
                    <a:lnTo>
                      <a:pt x="109" y="102"/>
                    </a:lnTo>
                    <a:lnTo>
                      <a:pt x="105" y="100"/>
                    </a:lnTo>
                    <a:lnTo>
                      <a:pt x="100" y="101"/>
                    </a:lnTo>
                    <a:lnTo>
                      <a:pt x="95" y="97"/>
                    </a:lnTo>
                    <a:lnTo>
                      <a:pt x="90" y="97"/>
                    </a:lnTo>
                    <a:lnTo>
                      <a:pt x="85" y="98"/>
                    </a:lnTo>
                    <a:lnTo>
                      <a:pt x="81" y="98"/>
                    </a:lnTo>
                    <a:lnTo>
                      <a:pt x="76" y="99"/>
                    </a:lnTo>
                    <a:lnTo>
                      <a:pt x="72" y="100"/>
                    </a:lnTo>
                    <a:lnTo>
                      <a:pt x="71" y="105"/>
                    </a:lnTo>
                    <a:lnTo>
                      <a:pt x="71" y="108"/>
                    </a:lnTo>
                    <a:lnTo>
                      <a:pt x="72" y="113"/>
                    </a:lnTo>
                    <a:lnTo>
                      <a:pt x="76" y="114"/>
                    </a:lnTo>
                    <a:lnTo>
                      <a:pt x="77" y="117"/>
                    </a:lnTo>
                    <a:lnTo>
                      <a:pt x="79" y="122"/>
                    </a:lnTo>
                    <a:lnTo>
                      <a:pt x="80" y="126"/>
                    </a:lnTo>
                    <a:lnTo>
                      <a:pt x="83" y="129"/>
                    </a:lnTo>
                    <a:lnTo>
                      <a:pt x="81" y="134"/>
                    </a:lnTo>
                    <a:lnTo>
                      <a:pt x="80" y="139"/>
                    </a:lnTo>
                    <a:lnTo>
                      <a:pt x="78" y="142"/>
                    </a:lnTo>
                    <a:lnTo>
                      <a:pt x="81" y="147"/>
                    </a:lnTo>
                    <a:lnTo>
                      <a:pt x="86" y="150"/>
                    </a:lnTo>
                    <a:lnTo>
                      <a:pt x="87" y="154"/>
                    </a:lnTo>
                    <a:lnTo>
                      <a:pt x="89" y="158"/>
                    </a:lnTo>
                    <a:lnTo>
                      <a:pt x="92" y="163"/>
                    </a:lnTo>
                    <a:lnTo>
                      <a:pt x="94" y="165"/>
                    </a:lnTo>
                    <a:lnTo>
                      <a:pt x="98" y="169"/>
                    </a:lnTo>
                    <a:lnTo>
                      <a:pt x="96" y="174"/>
                    </a:lnTo>
                    <a:lnTo>
                      <a:pt x="92" y="177"/>
                    </a:lnTo>
                    <a:lnTo>
                      <a:pt x="90" y="181"/>
                    </a:lnTo>
                    <a:lnTo>
                      <a:pt x="91" y="185"/>
                    </a:lnTo>
                    <a:lnTo>
                      <a:pt x="94" y="190"/>
                    </a:lnTo>
                    <a:lnTo>
                      <a:pt x="96" y="192"/>
                    </a:lnTo>
                    <a:lnTo>
                      <a:pt x="92" y="195"/>
                    </a:lnTo>
                    <a:lnTo>
                      <a:pt x="88" y="200"/>
                    </a:lnTo>
                    <a:lnTo>
                      <a:pt x="84" y="202"/>
                    </a:lnTo>
                    <a:lnTo>
                      <a:pt x="82" y="206"/>
                    </a:lnTo>
                    <a:lnTo>
                      <a:pt x="82" y="211"/>
                    </a:lnTo>
                    <a:lnTo>
                      <a:pt x="83" y="214"/>
                    </a:lnTo>
                    <a:lnTo>
                      <a:pt x="81" y="219"/>
                    </a:lnTo>
                    <a:lnTo>
                      <a:pt x="82" y="223"/>
                    </a:lnTo>
                    <a:lnTo>
                      <a:pt x="85" y="227"/>
                    </a:lnTo>
                    <a:lnTo>
                      <a:pt x="85" y="231"/>
                    </a:lnTo>
                    <a:lnTo>
                      <a:pt x="86" y="236"/>
                    </a:lnTo>
                    <a:lnTo>
                      <a:pt x="86" y="239"/>
                    </a:lnTo>
                    <a:lnTo>
                      <a:pt x="91" y="240"/>
                    </a:lnTo>
                    <a:lnTo>
                      <a:pt x="92" y="245"/>
                    </a:lnTo>
                    <a:lnTo>
                      <a:pt x="93" y="249"/>
                    </a:lnTo>
                    <a:lnTo>
                      <a:pt x="93" y="255"/>
                    </a:lnTo>
                    <a:lnTo>
                      <a:pt x="96" y="260"/>
                    </a:lnTo>
                    <a:lnTo>
                      <a:pt x="98" y="263"/>
                    </a:lnTo>
                    <a:lnTo>
                      <a:pt x="104" y="264"/>
                    </a:lnTo>
                    <a:lnTo>
                      <a:pt x="106" y="269"/>
                    </a:lnTo>
                    <a:lnTo>
                      <a:pt x="111" y="270"/>
                    </a:lnTo>
                    <a:lnTo>
                      <a:pt x="114" y="273"/>
                    </a:lnTo>
                    <a:lnTo>
                      <a:pt x="116" y="277"/>
                    </a:lnTo>
                    <a:lnTo>
                      <a:pt x="122" y="281"/>
                    </a:lnTo>
                    <a:lnTo>
                      <a:pt x="123" y="285"/>
                    </a:lnTo>
                    <a:lnTo>
                      <a:pt x="125" y="288"/>
                    </a:lnTo>
                    <a:lnTo>
                      <a:pt x="128" y="293"/>
                    </a:lnTo>
                    <a:lnTo>
                      <a:pt x="131" y="296"/>
                    </a:lnTo>
                    <a:lnTo>
                      <a:pt x="136" y="300"/>
                    </a:lnTo>
                    <a:lnTo>
                      <a:pt x="141" y="301"/>
                    </a:lnTo>
                    <a:lnTo>
                      <a:pt x="141" y="304"/>
                    </a:lnTo>
                    <a:lnTo>
                      <a:pt x="137" y="308"/>
                    </a:lnTo>
                    <a:lnTo>
                      <a:pt x="133" y="312"/>
                    </a:lnTo>
                    <a:lnTo>
                      <a:pt x="129" y="315"/>
                    </a:lnTo>
                    <a:lnTo>
                      <a:pt x="129" y="319"/>
                    </a:lnTo>
                    <a:lnTo>
                      <a:pt x="128" y="323"/>
                    </a:lnTo>
                    <a:lnTo>
                      <a:pt x="126" y="328"/>
                    </a:lnTo>
                    <a:lnTo>
                      <a:pt x="127" y="331"/>
                    </a:lnTo>
                    <a:lnTo>
                      <a:pt x="127" y="336"/>
                    </a:lnTo>
                    <a:lnTo>
                      <a:pt x="130" y="340"/>
                    </a:lnTo>
                    <a:lnTo>
                      <a:pt x="129" y="344"/>
                    </a:lnTo>
                    <a:lnTo>
                      <a:pt x="124" y="349"/>
                    </a:lnTo>
                    <a:lnTo>
                      <a:pt x="123" y="354"/>
                    </a:lnTo>
                    <a:lnTo>
                      <a:pt x="118" y="357"/>
                    </a:lnTo>
                    <a:lnTo>
                      <a:pt x="114" y="357"/>
                    </a:lnTo>
                    <a:lnTo>
                      <a:pt x="109" y="358"/>
                    </a:lnTo>
                    <a:lnTo>
                      <a:pt x="105" y="359"/>
                    </a:lnTo>
                    <a:lnTo>
                      <a:pt x="101" y="362"/>
                    </a:lnTo>
                    <a:lnTo>
                      <a:pt x="97" y="366"/>
                    </a:lnTo>
                    <a:lnTo>
                      <a:pt x="92" y="368"/>
                    </a:lnTo>
                    <a:lnTo>
                      <a:pt x="88" y="367"/>
                    </a:lnTo>
                    <a:lnTo>
                      <a:pt x="83" y="368"/>
                    </a:lnTo>
                    <a:lnTo>
                      <a:pt x="80" y="370"/>
                    </a:lnTo>
                    <a:lnTo>
                      <a:pt x="77" y="373"/>
                    </a:lnTo>
                    <a:lnTo>
                      <a:pt x="78" y="378"/>
                    </a:lnTo>
                    <a:lnTo>
                      <a:pt x="78" y="382"/>
                    </a:lnTo>
                    <a:lnTo>
                      <a:pt x="79" y="386"/>
                    </a:lnTo>
                    <a:lnTo>
                      <a:pt x="79" y="390"/>
                    </a:lnTo>
                    <a:lnTo>
                      <a:pt x="80" y="395"/>
                    </a:lnTo>
                    <a:lnTo>
                      <a:pt x="78" y="399"/>
                    </a:lnTo>
                    <a:lnTo>
                      <a:pt x="74" y="404"/>
                    </a:lnTo>
                    <a:lnTo>
                      <a:pt x="70" y="405"/>
                    </a:lnTo>
                    <a:lnTo>
                      <a:pt x="65" y="407"/>
                    </a:lnTo>
                    <a:lnTo>
                      <a:pt x="61" y="408"/>
                    </a:lnTo>
                    <a:lnTo>
                      <a:pt x="57" y="411"/>
                    </a:lnTo>
                    <a:lnTo>
                      <a:pt x="54" y="413"/>
                    </a:lnTo>
                    <a:lnTo>
                      <a:pt x="50" y="413"/>
                    </a:lnTo>
                    <a:lnTo>
                      <a:pt x="45" y="415"/>
                    </a:lnTo>
                    <a:lnTo>
                      <a:pt x="41" y="419"/>
                    </a:lnTo>
                    <a:lnTo>
                      <a:pt x="37" y="421"/>
                    </a:lnTo>
                    <a:lnTo>
                      <a:pt x="32" y="424"/>
                    </a:lnTo>
                    <a:lnTo>
                      <a:pt x="29" y="426"/>
                    </a:lnTo>
                    <a:lnTo>
                      <a:pt x="24" y="431"/>
                    </a:lnTo>
                    <a:lnTo>
                      <a:pt x="20" y="434"/>
                    </a:lnTo>
                    <a:lnTo>
                      <a:pt x="19" y="439"/>
                    </a:lnTo>
                    <a:lnTo>
                      <a:pt x="20" y="443"/>
                    </a:lnTo>
                    <a:lnTo>
                      <a:pt x="20" y="447"/>
                    </a:lnTo>
                    <a:lnTo>
                      <a:pt x="16" y="449"/>
                    </a:lnTo>
                    <a:lnTo>
                      <a:pt x="12" y="452"/>
                    </a:lnTo>
                    <a:lnTo>
                      <a:pt x="7" y="455"/>
                    </a:lnTo>
                    <a:lnTo>
                      <a:pt x="6" y="461"/>
                    </a:lnTo>
                    <a:lnTo>
                      <a:pt x="2" y="465"/>
                    </a:lnTo>
                    <a:lnTo>
                      <a:pt x="0" y="470"/>
                    </a:lnTo>
                    <a:lnTo>
                      <a:pt x="1" y="474"/>
                    </a:lnTo>
                    <a:lnTo>
                      <a:pt x="3" y="478"/>
                    </a:lnTo>
                    <a:lnTo>
                      <a:pt x="9" y="480"/>
                    </a:lnTo>
                    <a:lnTo>
                      <a:pt x="9" y="484"/>
                    </a:lnTo>
                    <a:lnTo>
                      <a:pt x="12" y="487"/>
                    </a:lnTo>
                    <a:lnTo>
                      <a:pt x="14" y="492"/>
                    </a:lnTo>
                    <a:lnTo>
                      <a:pt x="20" y="496"/>
                    </a:lnTo>
                    <a:lnTo>
                      <a:pt x="20" y="501"/>
                    </a:lnTo>
                    <a:lnTo>
                      <a:pt x="19" y="504"/>
                    </a:lnTo>
                    <a:lnTo>
                      <a:pt x="17" y="510"/>
                    </a:lnTo>
                    <a:lnTo>
                      <a:pt x="20" y="513"/>
                    </a:lnTo>
                    <a:lnTo>
                      <a:pt x="24" y="515"/>
                    </a:lnTo>
                    <a:lnTo>
                      <a:pt x="27" y="518"/>
                    </a:lnTo>
                    <a:lnTo>
                      <a:pt x="30" y="522"/>
                    </a:lnTo>
                    <a:lnTo>
                      <a:pt x="26" y="526"/>
                    </a:lnTo>
                    <a:lnTo>
                      <a:pt x="19" y="529"/>
                    </a:lnTo>
                    <a:lnTo>
                      <a:pt x="15" y="530"/>
                    </a:lnTo>
                    <a:lnTo>
                      <a:pt x="10" y="531"/>
                    </a:lnTo>
                    <a:lnTo>
                      <a:pt x="9" y="535"/>
                    </a:lnTo>
                    <a:lnTo>
                      <a:pt x="10" y="540"/>
                    </a:lnTo>
                    <a:lnTo>
                      <a:pt x="10" y="543"/>
                    </a:lnTo>
                    <a:lnTo>
                      <a:pt x="13" y="548"/>
                    </a:lnTo>
                    <a:lnTo>
                      <a:pt x="18" y="549"/>
                    </a:lnTo>
                    <a:lnTo>
                      <a:pt x="22" y="550"/>
                    </a:lnTo>
                    <a:lnTo>
                      <a:pt x="27" y="551"/>
                    </a:lnTo>
                    <a:lnTo>
                      <a:pt x="31" y="550"/>
                    </a:lnTo>
                    <a:lnTo>
                      <a:pt x="36" y="552"/>
                    </a:lnTo>
                    <a:lnTo>
                      <a:pt x="41" y="554"/>
                    </a:lnTo>
                    <a:lnTo>
                      <a:pt x="46" y="553"/>
                    </a:lnTo>
                    <a:lnTo>
                      <a:pt x="50" y="553"/>
                    </a:lnTo>
                    <a:lnTo>
                      <a:pt x="53" y="557"/>
                    </a:lnTo>
                    <a:lnTo>
                      <a:pt x="51" y="561"/>
                    </a:lnTo>
                    <a:lnTo>
                      <a:pt x="50" y="568"/>
                    </a:lnTo>
                    <a:lnTo>
                      <a:pt x="48" y="572"/>
                    </a:lnTo>
                    <a:lnTo>
                      <a:pt x="43" y="574"/>
                    </a:lnTo>
                    <a:lnTo>
                      <a:pt x="42" y="579"/>
                    </a:lnTo>
                    <a:lnTo>
                      <a:pt x="43" y="583"/>
                    </a:lnTo>
                    <a:lnTo>
                      <a:pt x="48" y="586"/>
                    </a:lnTo>
                    <a:lnTo>
                      <a:pt x="53" y="595"/>
                    </a:lnTo>
                    <a:lnTo>
                      <a:pt x="58" y="596"/>
                    </a:lnTo>
                    <a:lnTo>
                      <a:pt x="61" y="599"/>
                    </a:lnTo>
                    <a:lnTo>
                      <a:pt x="65" y="601"/>
                    </a:lnTo>
                    <a:lnTo>
                      <a:pt x="70" y="600"/>
                    </a:lnTo>
                    <a:lnTo>
                      <a:pt x="75" y="602"/>
                    </a:lnTo>
                    <a:lnTo>
                      <a:pt x="78" y="605"/>
                    </a:lnTo>
                    <a:lnTo>
                      <a:pt x="81" y="607"/>
                    </a:lnTo>
                    <a:lnTo>
                      <a:pt x="82" y="611"/>
                    </a:lnTo>
                    <a:lnTo>
                      <a:pt x="82" y="616"/>
                    </a:lnTo>
                    <a:lnTo>
                      <a:pt x="83" y="619"/>
                    </a:lnTo>
                    <a:lnTo>
                      <a:pt x="82" y="623"/>
                    </a:lnTo>
                    <a:lnTo>
                      <a:pt x="79" y="628"/>
                    </a:lnTo>
                    <a:lnTo>
                      <a:pt x="76" y="632"/>
                    </a:lnTo>
                    <a:lnTo>
                      <a:pt x="73" y="635"/>
                    </a:lnTo>
                    <a:lnTo>
                      <a:pt x="73" y="639"/>
                    </a:lnTo>
                    <a:lnTo>
                      <a:pt x="69" y="646"/>
                    </a:lnTo>
                    <a:lnTo>
                      <a:pt x="68" y="650"/>
                    </a:lnTo>
                    <a:lnTo>
                      <a:pt x="71" y="656"/>
                    </a:lnTo>
                    <a:lnTo>
                      <a:pt x="73" y="660"/>
                    </a:lnTo>
                    <a:lnTo>
                      <a:pt x="77" y="664"/>
                    </a:lnTo>
                    <a:lnTo>
                      <a:pt x="77" y="667"/>
                    </a:lnTo>
                    <a:lnTo>
                      <a:pt x="78" y="672"/>
                    </a:lnTo>
                    <a:lnTo>
                      <a:pt x="80" y="676"/>
                    </a:lnTo>
                    <a:lnTo>
                      <a:pt x="85" y="675"/>
                    </a:lnTo>
                    <a:lnTo>
                      <a:pt x="89" y="675"/>
                    </a:lnTo>
                    <a:lnTo>
                      <a:pt x="93" y="677"/>
                    </a:lnTo>
                    <a:lnTo>
                      <a:pt x="98" y="676"/>
                    </a:lnTo>
                    <a:lnTo>
                      <a:pt x="101" y="673"/>
                    </a:lnTo>
                    <a:lnTo>
                      <a:pt x="106" y="672"/>
                    </a:lnTo>
                    <a:lnTo>
                      <a:pt x="110" y="670"/>
                    </a:lnTo>
                    <a:lnTo>
                      <a:pt x="114" y="667"/>
                    </a:lnTo>
                    <a:lnTo>
                      <a:pt x="121" y="666"/>
                    </a:lnTo>
                    <a:lnTo>
                      <a:pt x="125" y="664"/>
                    </a:lnTo>
                    <a:lnTo>
                      <a:pt x="130" y="660"/>
                    </a:lnTo>
                    <a:lnTo>
                      <a:pt x="133" y="658"/>
                    </a:lnTo>
                    <a:lnTo>
                      <a:pt x="133" y="655"/>
                    </a:lnTo>
                    <a:lnTo>
                      <a:pt x="142" y="657"/>
                    </a:lnTo>
                    <a:lnTo>
                      <a:pt x="151" y="654"/>
                    </a:lnTo>
                    <a:lnTo>
                      <a:pt x="152" y="660"/>
                    </a:lnTo>
                    <a:lnTo>
                      <a:pt x="157" y="658"/>
                    </a:lnTo>
                    <a:lnTo>
                      <a:pt x="148" y="644"/>
                    </a:lnTo>
                    <a:lnTo>
                      <a:pt x="153" y="644"/>
                    </a:lnTo>
                    <a:lnTo>
                      <a:pt x="157" y="644"/>
                    </a:lnTo>
                    <a:lnTo>
                      <a:pt x="159" y="648"/>
                    </a:lnTo>
                    <a:lnTo>
                      <a:pt x="164" y="647"/>
                    </a:lnTo>
                    <a:lnTo>
                      <a:pt x="170" y="650"/>
                    </a:lnTo>
                    <a:lnTo>
                      <a:pt x="172" y="653"/>
                    </a:lnTo>
                    <a:lnTo>
                      <a:pt x="173" y="657"/>
                    </a:lnTo>
                    <a:lnTo>
                      <a:pt x="173" y="661"/>
                    </a:lnTo>
                    <a:lnTo>
                      <a:pt x="174" y="666"/>
                    </a:lnTo>
                    <a:lnTo>
                      <a:pt x="172" y="669"/>
                    </a:lnTo>
                    <a:lnTo>
                      <a:pt x="170" y="675"/>
                    </a:lnTo>
                    <a:lnTo>
                      <a:pt x="171" y="679"/>
                    </a:lnTo>
                    <a:lnTo>
                      <a:pt x="169" y="679"/>
                    </a:lnTo>
                    <a:lnTo>
                      <a:pt x="164" y="680"/>
                    </a:lnTo>
                    <a:lnTo>
                      <a:pt x="160" y="681"/>
                    </a:lnTo>
                    <a:lnTo>
                      <a:pt x="160" y="686"/>
                    </a:lnTo>
                    <a:lnTo>
                      <a:pt x="159" y="690"/>
                    </a:lnTo>
                    <a:lnTo>
                      <a:pt x="160" y="696"/>
                    </a:lnTo>
                    <a:lnTo>
                      <a:pt x="160" y="700"/>
                    </a:lnTo>
                    <a:lnTo>
                      <a:pt x="161" y="704"/>
                    </a:lnTo>
                    <a:lnTo>
                      <a:pt x="161" y="708"/>
                    </a:lnTo>
                    <a:lnTo>
                      <a:pt x="159" y="714"/>
                    </a:lnTo>
                    <a:lnTo>
                      <a:pt x="157" y="717"/>
                    </a:lnTo>
                    <a:lnTo>
                      <a:pt x="156" y="722"/>
                    </a:lnTo>
                    <a:lnTo>
                      <a:pt x="155" y="726"/>
                    </a:lnTo>
                    <a:lnTo>
                      <a:pt x="150" y="731"/>
                    </a:lnTo>
                    <a:lnTo>
                      <a:pt x="149" y="735"/>
                    </a:lnTo>
                    <a:lnTo>
                      <a:pt x="150" y="740"/>
                    </a:lnTo>
                    <a:lnTo>
                      <a:pt x="145" y="744"/>
                    </a:lnTo>
                    <a:lnTo>
                      <a:pt x="146" y="749"/>
                    </a:lnTo>
                    <a:lnTo>
                      <a:pt x="146" y="755"/>
                    </a:lnTo>
                    <a:lnTo>
                      <a:pt x="150" y="758"/>
                    </a:lnTo>
                    <a:lnTo>
                      <a:pt x="147" y="763"/>
                    </a:lnTo>
                    <a:lnTo>
                      <a:pt x="144" y="765"/>
                    </a:lnTo>
                    <a:lnTo>
                      <a:pt x="139" y="769"/>
                    </a:lnTo>
                    <a:lnTo>
                      <a:pt x="140" y="772"/>
                    </a:lnTo>
                    <a:lnTo>
                      <a:pt x="140" y="777"/>
                    </a:lnTo>
                    <a:lnTo>
                      <a:pt x="139" y="780"/>
                    </a:lnTo>
                    <a:lnTo>
                      <a:pt x="140" y="787"/>
                    </a:lnTo>
                    <a:lnTo>
                      <a:pt x="140" y="791"/>
                    </a:lnTo>
                    <a:lnTo>
                      <a:pt x="145" y="791"/>
                    </a:lnTo>
                    <a:lnTo>
                      <a:pt x="149" y="791"/>
                    </a:lnTo>
                    <a:lnTo>
                      <a:pt x="154" y="790"/>
                    </a:lnTo>
                    <a:lnTo>
                      <a:pt x="158" y="788"/>
                    </a:lnTo>
                    <a:lnTo>
                      <a:pt x="162" y="784"/>
                    </a:lnTo>
                    <a:lnTo>
                      <a:pt x="166" y="783"/>
                    </a:lnTo>
                    <a:lnTo>
                      <a:pt x="171" y="783"/>
                    </a:lnTo>
                    <a:lnTo>
                      <a:pt x="176" y="784"/>
                    </a:lnTo>
                    <a:lnTo>
                      <a:pt x="181" y="785"/>
                    </a:lnTo>
                    <a:lnTo>
                      <a:pt x="185" y="786"/>
                    </a:lnTo>
                    <a:lnTo>
                      <a:pt x="189" y="790"/>
                    </a:lnTo>
                    <a:lnTo>
                      <a:pt x="193" y="792"/>
                    </a:lnTo>
                    <a:lnTo>
                      <a:pt x="198" y="793"/>
                    </a:lnTo>
                    <a:lnTo>
                      <a:pt x="202" y="793"/>
                    </a:lnTo>
                    <a:lnTo>
                      <a:pt x="207" y="792"/>
                    </a:lnTo>
                    <a:lnTo>
                      <a:pt x="211" y="794"/>
                    </a:lnTo>
                    <a:lnTo>
                      <a:pt x="216" y="795"/>
                    </a:lnTo>
                    <a:lnTo>
                      <a:pt x="219" y="798"/>
                    </a:lnTo>
                    <a:lnTo>
                      <a:pt x="223" y="801"/>
                    </a:lnTo>
                    <a:lnTo>
                      <a:pt x="228" y="797"/>
                    </a:lnTo>
                    <a:lnTo>
                      <a:pt x="232" y="795"/>
                    </a:lnTo>
                    <a:lnTo>
                      <a:pt x="235" y="794"/>
                    </a:lnTo>
                    <a:lnTo>
                      <a:pt x="232" y="808"/>
                    </a:lnTo>
                    <a:lnTo>
                      <a:pt x="244" y="793"/>
                    </a:lnTo>
                    <a:lnTo>
                      <a:pt x="256" y="799"/>
                    </a:lnTo>
                    <a:lnTo>
                      <a:pt x="247" y="804"/>
                    </a:lnTo>
                    <a:lnTo>
                      <a:pt x="269" y="786"/>
                    </a:lnTo>
                    <a:lnTo>
                      <a:pt x="275" y="775"/>
                    </a:lnTo>
                    <a:lnTo>
                      <a:pt x="280" y="772"/>
                    </a:lnTo>
                    <a:lnTo>
                      <a:pt x="280" y="766"/>
                    </a:lnTo>
                    <a:lnTo>
                      <a:pt x="284" y="762"/>
                    </a:lnTo>
                    <a:lnTo>
                      <a:pt x="286" y="760"/>
                    </a:lnTo>
                    <a:lnTo>
                      <a:pt x="287" y="763"/>
                    </a:lnTo>
                    <a:lnTo>
                      <a:pt x="295" y="754"/>
                    </a:lnTo>
                    <a:lnTo>
                      <a:pt x="295" y="748"/>
                    </a:lnTo>
                    <a:lnTo>
                      <a:pt x="293" y="741"/>
                    </a:lnTo>
                    <a:lnTo>
                      <a:pt x="292" y="736"/>
                    </a:lnTo>
                    <a:lnTo>
                      <a:pt x="293" y="736"/>
                    </a:lnTo>
                    <a:lnTo>
                      <a:pt x="298" y="733"/>
                    </a:lnTo>
                    <a:lnTo>
                      <a:pt x="282" y="736"/>
                    </a:lnTo>
                    <a:lnTo>
                      <a:pt x="287" y="734"/>
                    </a:lnTo>
                    <a:lnTo>
                      <a:pt x="293" y="731"/>
                    </a:lnTo>
                    <a:lnTo>
                      <a:pt x="299" y="728"/>
                    </a:lnTo>
                    <a:lnTo>
                      <a:pt x="306" y="724"/>
                    </a:lnTo>
                    <a:lnTo>
                      <a:pt x="310" y="724"/>
                    </a:lnTo>
                    <a:lnTo>
                      <a:pt x="315" y="723"/>
                    </a:lnTo>
                    <a:lnTo>
                      <a:pt x="320" y="722"/>
                    </a:lnTo>
                    <a:lnTo>
                      <a:pt x="323" y="720"/>
                    </a:lnTo>
                    <a:lnTo>
                      <a:pt x="328" y="718"/>
                    </a:lnTo>
                    <a:lnTo>
                      <a:pt x="331" y="713"/>
                    </a:lnTo>
                    <a:lnTo>
                      <a:pt x="333" y="708"/>
                    </a:lnTo>
                    <a:lnTo>
                      <a:pt x="338" y="706"/>
                    </a:lnTo>
                    <a:lnTo>
                      <a:pt x="342" y="709"/>
                    </a:lnTo>
                    <a:lnTo>
                      <a:pt x="343" y="714"/>
                    </a:lnTo>
                    <a:lnTo>
                      <a:pt x="347" y="716"/>
                    </a:lnTo>
                    <a:lnTo>
                      <a:pt x="348" y="721"/>
                    </a:lnTo>
                    <a:lnTo>
                      <a:pt x="348" y="725"/>
                    </a:lnTo>
                    <a:lnTo>
                      <a:pt x="349" y="728"/>
                    </a:lnTo>
                    <a:lnTo>
                      <a:pt x="351" y="733"/>
                    </a:lnTo>
                    <a:lnTo>
                      <a:pt x="357" y="736"/>
                    </a:lnTo>
                    <a:lnTo>
                      <a:pt x="361" y="739"/>
                    </a:lnTo>
                    <a:lnTo>
                      <a:pt x="366" y="739"/>
                    </a:lnTo>
                    <a:lnTo>
                      <a:pt x="371" y="743"/>
                    </a:lnTo>
                    <a:lnTo>
                      <a:pt x="371" y="748"/>
                    </a:lnTo>
                    <a:lnTo>
                      <a:pt x="374" y="750"/>
                    </a:lnTo>
                    <a:lnTo>
                      <a:pt x="378" y="755"/>
                    </a:lnTo>
                    <a:lnTo>
                      <a:pt x="375" y="760"/>
                    </a:lnTo>
                    <a:lnTo>
                      <a:pt x="374" y="765"/>
                    </a:lnTo>
                    <a:lnTo>
                      <a:pt x="370" y="768"/>
                    </a:lnTo>
                    <a:lnTo>
                      <a:pt x="366" y="771"/>
                    </a:lnTo>
                    <a:lnTo>
                      <a:pt x="359" y="774"/>
                    </a:lnTo>
                    <a:lnTo>
                      <a:pt x="355" y="776"/>
                    </a:lnTo>
                    <a:lnTo>
                      <a:pt x="351" y="776"/>
                    </a:lnTo>
                    <a:lnTo>
                      <a:pt x="347" y="777"/>
                    </a:lnTo>
                    <a:lnTo>
                      <a:pt x="342" y="778"/>
                    </a:lnTo>
                    <a:lnTo>
                      <a:pt x="338" y="777"/>
                    </a:lnTo>
                    <a:lnTo>
                      <a:pt x="333" y="778"/>
                    </a:lnTo>
                    <a:lnTo>
                      <a:pt x="329" y="778"/>
                    </a:lnTo>
                    <a:lnTo>
                      <a:pt x="324" y="779"/>
                    </a:lnTo>
                    <a:lnTo>
                      <a:pt x="320" y="780"/>
                    </a:lnTo>
                    <a:lnTo>
                      <a:pt x="318" y="783"/>
                    </a:lnTo>
                    <a:lnTo>
                      <a:pt x="318" y="788"/>
                    </a:lnTo>
                    <a:lnTo>
                      <a:pt x="322" y="792"/>
                    </a:lnTo>
                    <a:lnTo>
                      <a:pt x="325" y="797"/>
                    </a:lnTo>
                    <a:lnTo>
                      <a:pt x="330" y="799"/>
                    </a:lnTo>
                    <a:lnTo>
                      <a:pt x="333" y="803"/>
                    </a:lnTo>
                    <a:lnTo>
                      <a:pt x="335" y="806"/>
                    </a:lnTo>
                    <a:lnTo>
                      <a:pt x="335" y="810"/>
                    </a:lnTo>
                    <a:lnTo>
                      <a:pt x="336" y="815"/>
                    </a:lnTo>
                    <a:lnTo>
                      <a:pt x="337" y="821"/>
                    </a:lnTo>
                    <a:lnTo>
                      <a:pt x="337" y="825"/>
                    </a:lnTo>
                    <a:lnTo>
                      <a:pt x="338" y="828"/>
                    </a:lnTo>
                    <a:lnTo>
                      <a:pt x="337" y="833"/>
                    </a:lnTo>
                    <a:lnTo>
                      <a:pt x="332" y="836"/>
                    </a:lnTo>
                    <a:lnTo>
                      <a:pt x="330" y="840"/>
                    </a:lnTo>
                    <a:lnTo>
                      <a:pt x="326" y="844"/>
                    </a:lnTo>
                    <a:lnTo>
                      <a:pt x="323" y="850"/>
                    </a:lnTo>
                    <a:lnTo>
                      <a:pt x="321" y="853"/>
                    </a:lnTo>
                    <a:lnTo>
                      <a:pt x="319" y="859"/>
                    </a:lnTo>
                    <a:lnTo>
                      <a:pt x="317" y="863"/>
                    </a:lnTo>
                    <a:lnTo>
                      <a:pt x="316" y="866"/>
                    </a:lnTo>
                    <a:lnTo>
                      <a:pt x="316" y="871"/>
                    </a:lnTo>
                    <a:lnTo>
                      <a:pt x="312" y="874"/>
                    </a:lnTo>
                    <a:lnTo>
                      <a:pt x="306" y="876"/>
                    </a:lnTo>
                    <a:lnTo>
                      <a:pt x="301" y="877"/>
                    </a:lnTo>
                    <a:lnTo>
                      <a:pt x="298" y="881"/>
                    </a:lnTo>
                    <a:lnTo>
                      <a:pt x="293" y="884"/>
                    </a:lnTo>
                    <a:lnTo>
                      <a:pt x="289" y="887"/>
                    </a:lnTo>
                    <a:lnTo>
                      <a:pt x="285" y="892"/>
                    </a:lnTo>
                    <a:lnTo>
                      <a:pt x="285" y="895"/>
                    </a:lnTo>
                    <a:lnTo>
                      <a:pt x="288" y="900"/>
                    </a:lnTo>
                    <a:lnTo>
                      <a:pt x="292" y="904"/>
                    </a:lnTo>
                    <a:lnTo>
                      <a:pt x="292" y="910"/>
                    </a:lnTo>
                    <a:lnTo>
                      <a:pt x="294" y="918"/>
                    </a:lnTo>
                    <a:lnTo>
                      <a:pt x="294" y="924"/>
                    </a:lnTo>
                    <a:lnTo>
                      <a:pt x="295" y="928"/>
                    </a:lnTo>
                    <a:lnTo>
                      <a:pt x="295" y="932"/>
                    </a:lnTo>
                    <a:lnTo>
                      <a:pt x="291" y="937"/>
                    </a:lnTo>
                    <a:lnTo>
                      <a:pt x="290" y="942"/>
                    </a:lnTo>
                    <a:lnTo>
                      <a:pt x="290" y="945"/>
                    </a:lnTo>
                    <a:lnTo>
                      <a:pt x="291" y="949"/>
                    </a:lnTo>
                    <a:lnTo>
                      <a:pt x="295" y="954"/>
                    </a:lnTo>
                    <a:lnTo>
                      <a:pt x="299" y="956"/>
                    </a:lnTo>
                    <a:lnTo>
                      <a:pt x="301" y="961"/>
                    </a:lnTo>
                    <a:lnTo>
                      <a:pt x="306" y="964"/>
                    </a:lnTo>
                    <a:lnTo>
                      <a:pt x="311" y="964"/>
                    </a:lnTo>
                    <a:lnTo>
                      <a:pt x="315" y="963"/>
                    </a:lnTo>
                    <a:lnTo>
                      <a:pt x="320" y="966"/>
                    </a:lnTo>
                    <a:lnTo>
                      <a:pt x="324" y="966"/>
                    </a:lnTo>
                    <a:lnTo>
                      <a:pt x="328" y="969"/>
                    </a:lnTo>
                    <a:lnTo>
                      <a:pt x="332" y="972"/>
                    </a:lnTo>
                    <a:lnTo>
                      <a:pt x="337" y="968"/>
                    </a:lnTo>
                    <a:lnTo>
                      <a:pt x="341" y="968"/>
                    </a:lnTo>
                    <a:lnTo>
                      <a:pt x="343" y="972"/>
                    </a:lnTo>
                    <a:lnTo>
                      <a:pt x="347" y="975"/>
                    </a:lnTo>
                    <a:lnTo>
                      <a:pt x="349" y="980"/>
                    </a:lnTo>
                    <a:lnTo>
                      <a:pt x="352" y="983"/>
                    </a:lnTo>
                    <a:lnTo>
                      <a:pt x="355" y="987"/>
                    </a:lnTo>
                    <a:lnTo>
                      <a:pt x="360" y="988"/>
                    </a:lnTo>
                    <a:lnTo>
                      <a:pt x="365" y="990"/>
                    </a:lnTo>
                    <a:lnTo>
                      <a:pt x="369" y="991"/>
                    </a:lnTo>
                    <a:lnTo>
                      <a:pt x="374" y="993"/>
                    </a:lnTo>
                    <a:lnTo>
                      <a:pt x="377" y="996"/>
                    </a:lnTo>
                    <a:lnTo>
                      <a:pt x="381" y="1000"/>
                    </a:lnTo>
                    <a:lnTo>
                      <a:pt x="386" y="1003"/>
                    </a:lnTo>
                    <a:lnTo>
                      <a:pt x="390" y="1004"/>
                    </a:lnTo>
                    <a:lnTo>
                      <a:pt x="395" y="1004"/>
                    </a:lnTo>
                    <a:lnTo>
                      <a:pt x="399" y="1001"/>
                    </a:lnTo>
                    <a:lnTo>
                      <a:pt x="399" y="1005"/>
                    </a:lnTo>
                    <a:lnTo>
                      <a:pt x="403" y="1010"/>
                    </a:lnTo>
                    <a:lnTo>
                      <a:pt x="405" y="1012"/>
                    </a:lnTo>
                    <a:lnTo>
                      <a:pt x="409" y="1015"/>
                    </a:lnTo>
                    <a:lnTo>
                      <a:pt x="414" y="1014"/>
                    </a:lnTo>
                    <a:lnTo>
                      <a:pt x="418" y="1014"/>
                    </a:lnTo>
                    <a:lnTo>
                      <a:pt x="423" y="1010"/>
                    </a:lnTo>
                    <a:lnTo>
                      <a:pt x="427" y="1008"/>
                    </a:lnTo>
                    <a:lnTo>
                      <a:pt x="426" y="1005"/>
                    </a:lnTo>
                    <a:lnTo>
                      <a:pt x="424" y="1000"/>
                    </a:lnTo>
                    <a:lnTo>
                      <a:pt x="428" y="997"/>
                    </a:lnTo>
                    <a:lnTo>
                      <a:pt x="432" y="996"/>
                    </a:lnTo>
                    <a:lnTo>
                      <a:pt x="437" y="995"/>
                    </a:lnTo>
                    <a:lnTo>
                      <a:pt x="441" y="994"/>
                    </a:lnTo>
                    <a:lnTo>
                      <a:pt x="445" y="989"/>
                    </a:lnTo>
                    <a:lnTo>
                      <a:pt x="449" y="986"/>
                    </a:lnTo>
                    <a:lnTo>
                      <a:pt x="454" y="984"/>
                    </a:lnTo>
                    <a:lnTo>
                      <a:pt x="458" y="983"/>
                    </a:lnTo>
                    <a:lnTo>
                      <a:pt x="463" y="982"/>
                    </a:lnTo>
                    <a:lnTo>
                      <a:pt x="467" y="984"/>
                    </a:lnTo>
                    <a:lnTo>
                      <a:pt x="472" y="983"/>
                    </a:lnTo>
                    <a:lnTo>
                      <a:pt x="476" y="985"/>
                    </a:lnTo>
                    <a:lnTo>
                      <a:pt x="481" y="984"/>
                    </a:lnTo>
                    <a:lnTo>
                      <a:pt x="485" y="983"/>
                    </a:lnTo>
                    <a:lnTo>
                      <a:pt x="492" y="986"/>
                    </a:lnTo>
                    <a:lnTo>
                      <a:pt x="497" y="985"/>
                    </a:lnTo>
                    <a:lnTo>
                      <a:pt x="501" y="984"/>
                    </a:lnTo>
                    <a:lnTo>
                      <a:pt x="506" y="986"/>
                    </a:lnTo>
                    <a:lnTo>
                      <a:pt x="509" y="985"/>
                    </a:lnTo>
                    <a:lnTo>
                      <a:pt x="514" y="985"/>
                    </a:lnTo>
                    <a:lnTo>
                      <a:pt x="518" y="984"/>
                    </a:lnTo>
                    <a:lnTo>
                      <a:pt x="523" y="983"/>
                    </a:lnTo>
                    <a:lnTo>
                      <a:pt x="527" y="983"/>
                    </a:lnTo>
                    <a:lnTo>
                      <a:pt x="532" y="982"/>
                    </a:lnTo>
                    <a:lnTo>
                      <a:pt x="536" y="982"/>
                    </a:lnTo>
                    <a:lnTo>
                      <a:pt x="541" y="982"/>
                    </a:lnTo>
                    <a:lnTo>
                      <a:pt x="545" y="981"/>
                    </a:lnTo>
                    <a:lnTo>
                      <a:pt x="550" y="980"/>
                    </a:lnTo>
                    <a:lnTo>
                      <a:pt x="554" y="977"/>
                    </a:lnTo>
                    <a:lnTo>
                      <a:pt x="553" y="970"/>
                    </a:lnTo>
                    <a:lnTo>
                      <a:pt x="555" y="966"/>
                    </a:lnTo>
                    <a:lnTo>
                      <a:pt x="559" y="963"/>
                    </a:lnTo>
                    <a:lnTo>
                      <a:pt x="564" y="961"/>
                    </a:lnTo>
                    <a:lnTo>
                      <a:pt x="568" y="960"/>
                    </a:lnTo>
                    <a:lnTo>
                      <a:pt x="573" y="962"/>
                    </a:lnTo>
                    <a:lnTo>
                      <a:pt x="577" y="963"/>
                    </a:lnTo>
                    <a:lnTo>
                      <a:pt x="581" y="967"/>
                    </a:lnTo>
                    <a:lnTo>
                      <a:pt x="583" y="970"/>
                    </a:lnTo>
                    <a:lnTo>
                      <a:pt x="586" y="975"/>
                    </a:lnTo>
                    <a:lnTo>
                      <a:pt x="586" y="978"/>
                    </a:lnTo>
                    <a:lnTo>
                      <a:pt x="585" y="983"/>
                    </a:lnTo>
                    <a:lnTo>
                      <a:pt x="585" y="987"/>
                    </a:lnTo>
                    <a:lnTo>
                      <a:pt x="586" y="991"/>
                    </a:lnTo>
                    <a:lnTo>
                      <a:pt x="588" y="995"/>
                    </a:lnTo>
                    <a:lnTo>
                      <a:pt x="589" y="1000"/>
                    </a:lnTo>
                    <a:lnTo>
                      <a:pt x="589" y="1003"/>
                    </a:lnTo>
                    <a:lnTo>
                      <a:pt x="592" y="1006"/>
                    </a:lnTo>
                    <a:lnTo>
                      <a:pt x="598" y="1011"/>
                    </a:lnTo>
                    <a:lnTo>
                      <a:pt x="602" y="1011"/>
                    </a:lnTo>
                    <a:lnTo>
                      <a:pt x="607" y="1015"/>
                    </a:lnTo>
                    <a:lnTo>
                      <a:pt x="612" y="1017"/>
                    </a:lnTo>
                    <a:lnTo>
                      <a:pt x="612" y="1021"/>
                    </a:lnTo>
                    <a:lnTo>
                      <a:pt x="618" y="1024"/>
                    </a:lnTo>
                    <a:lnTo>
                      <a:pt x="618" y="1028"/>
                    </a:lnTo>
                    <a:lnTo>
                      <a:pt x="619" y="1033"/>
                    </a:lnTo>
                    <a:lnTo>
                      <a:pt x="619" y="1036"/>
                    </a:lnTo>
                    <a:lnTo>
                      <a:pt x="620" y="1041"/>
                    </a:lnTo>
                    <a:lnTo>
                      <a:pt x="620" y="1045"/>
                    </a:lnTo>
                    <a:lnTo>
                      <a:pt x="621" y="1049"/>
                    </a:lnTo>
                    <a:lnTo>
                      <a:pt x="621" y="1053"/>
                    </a:lnTo>
                    <a:lnTo>
                      <a:pt x="620" y="1057"/>
                    </a:lnTo>
                    <a:lnTo>
                      <a:pt x="618" y="1061"/>
                    </a:lnTo>
                    <a:lnTo>
                      <a:pt x="618" y="1066"/>
                    </a:lnTo>
                    <a:lnTo>
                      <a:pt x="622" y="1069"/>
                    </a:lnTo>
                    <a:lnTo>
                      <a:pt x="624" y="1073"/>
                    </a:lnTo>
                    <a:lnTo>
                      <a:pt x="629" y="1075"/>
                    </a:lnTo>
                    <a:lnTo>
                      <a:pt x="629" y="1079"/>
                    </a:lnTo>
                    <a:lnTo>
                      <a:pt x="634" y="1079"/>
                    </a:lnTo>
                    <a:lnTo>
                      <a:pt x="638" y="1082"/>
                    </a:lnTo>
                    <a:lnTo>
                      <a:pt x="644" y="1083"/>
                    </a:lnTo>
                    <a:lnTo>
                      <a:pt x="641" y="1079"/>
                    </a:lnTo>
                    <a:lnTo>
                      <a:pt x="638" y="1076"/>
                    </a:lnTo>
                    <a:lnTo>
                      <a:pt x="647" y="1077"/>
                    </a:lnTo>
                    <a:lnTo>
                      <a:pt x="653" y="1066"/>
                    </a:lnTo>
                    <a:lnTo>
                      <a:pt x="650" y="1047"/>
                    </a:lnTo>
                    <a:lnTo>
                      <a:pt x="652" y="1059"/>
                    </a:lnTo>
                    <a:lnTo>
                      <a:pt x="651" y="1051"/>
                    </a:lnTo>
                    <a:lnTo>
                      <a:pt x="656" y="1048"/>
                    </a:lnTo>
                    <a:lnTo>
                      <a:pt x="663" y="1045"/>
                    </a:lnTo>
                    <a:lnTo>
                      <a:pt x="670" y="1044"/>
                    </a:lnTo>
                    <a:lnTo>
                      <a:pt x="673" y="1042"/>
                    </a:lnTo>
                    <a:lnTo>
                      <a:pt x="678" y="1041"/>
                    </a:lnTo>
                    <a:lnTo>
                      <a:pt x="682" y="1041"/>
                    </a:lnTo>
                    <a:lnTo>
                      <a:pt x="687" y="1036"/>
                    </a:lnTo>
                    <a:lnTo>
                      <a:pt x="691" y="1034"/>
                    </a:lnTo>
                    <a:lnTo>
                      <a:pt x="695" y="1031"/>
                    </a:lnTo>
                    <a:lnTo>
                      <a:pt x="699" y="1027"/>
                    </a:lnTo>
                    <a:lnTo>
                      <a:pt x="704" y="1027"/>
                    </a:lnTo>
                    <a:lnTo>
                      <a:pt x="708" y="1026"/>
                    </a:lnTo>
                    <a:lnTo>
                      <a:pt x="713" y="1025"/>
                    </a:lnTo>
                    <a:lnTo>
                      <a:pt x="717" y="1025"/>
                    </a:lnTo>
                    <a:lnTo>
                      <a:pt x="722" y="1024"/>
                    </a:lnTo>
                    <a:lnTo>
                      <a:pt x="726" y="1024"/>
                    </a:lnTo>
                    <a:lnTo>
                      <a:pt x="730" y="1023"/>
                    </a:lnTo>
                    <a:lnTo>
                      <a:pt x="737" y="1018"/>
                    </a:lnTo>
                    <a:lnTo>
                      <a:pt x="741" y="1017"/>
                    </a:lnTo>
                    <a:lnTo>
                      <a:pt x="745" y="1014"/>
                    </a:lnTo>
                    <a:lnTo>
                      <a:pt x="745" y="1009"/>
                    </a:lnTo>
                    <a:lnTo>
                      <a:pt x="744" y="1005"/>
                    </a:lnTo>
                    <a:lnTo>
                      <a:pt x="741" y="1002"/>
                    </a:lnTo>
                    <a:lnTo>
                      <a:pt x="738" y="995"/>
                    </a:lnTo>
                    <a:lnTo>
                      <a:pt x="743" y="993"/>
                    </a:lnTo>
                    <a:lnTo>
                      <a:pt x="748" y="984"/>
                    </a:lnTo>
                    <a:lnTo>
                      <a:pt x="745" y="984"/>
                    </a:lnTo>
                    <a:lnTo>
                      <a:pt x="746" y="976"/>
                    </a:lnTo>
                    <a:lnTo>
                      <a:pt x="742" y="974"/>
                    </a:lnTo>
                    <a:lnTo>
                      <a:pt x="746" y="972"/>
                    </a:lnTo>
                    <a:lnTo>
                      <a:pt x="750" y="969"/>
                    </a:lnTo>
                    <a:lnTo>
                      <a:pt x="750" y="965"/>
                    </a:lnTo>
                    <a:lnTo>
                      <a:pt x="751" y="961"/>
                    </a:lnTo>
                    <a:lnTo>
                      <a:pt x="753" y="956"/>
                    </a:lnTo>
                    <a:lnTo>
                      <a:pt x="755" y="952"/>
                    </a:lnTo>
                    <a:lnTo>
                      <a:pt x="756" y="947"/>
                    </a:lnTo>
                    <a:lnTo>
                      <a:pt x="757" y="943"/>
                    </a:lnTo>
                    <a:lnTo>
                      <a:pt x="756" y="939"/>
                    </a:lnTo>
                    <a:lnTo>
                      <a:pt x="754" y="935"/>
                    </a:lnTo>
                    <a:lnTo>
                      <a:pt x="761" y="915"/>
                    </a:lnTo>
                    <a:lnTo>
                      <a:pt x="760" y="927"/>
                    </a:lnTo>
                    <a:lnTo>
                      <a:pt x="752" y="913"/>
                    </a:lnTo>
                    <a:lnTo>
                      <a:pt x="742" y="916"/>
                    </a:lnTo>
                    <a:lnTo>
                      <a:pt x="745" y="915"/>
                    </a:lnTo>
                    <a:lnTo>
                      <a:pt x="731" y="918"/>
                    </a:lnTo>
                    <a:lnTo>
                      <a:pt x="733" y="918"/>
                    </a:lnTo>
                    <a:lnTo>
                      <a:pt x="727" y="918"/>
                    </a:lnTo>
                    <a:lnTo>
                      <a:pt x="727" y="913"/>
                    </a:lnTo>
                    <a:lnTo>
                      <a:pt x="714" y="915"/>
                    </a:lnTo>
                    <a:lnTo>
                      <a:pt x="722" y="909"/>
                    </a:lnTo>
                    <a:lnTo>
                      <a:pt x="718" y="909"/>
                    </a:lnTo>
                    <a:lnTo>
                      <a:pt x="713" y="906"/>
                    </a:lnTo>
                    <a:lnTo>
                      <a:pt x="709" y="903"/>
                    </a:lnTo>
                    <a:lnTo>
                      <a:pt x="707" y="895"/>
                    </a:lnTo>
                    <a:lnTo>
                      <a:pt x="704" y="892"/>
                    </a:lnTo>
                    <a:lnTo>
                      <a:pt x="713" y="886"/>
                    </a:lnTo>
                    <a:lnTo>
                      <a:pt x="706" y="891"/>
                    </a:lnTo>
                    <a:lnTo>
                      <a:pt x="711" y="891"/>
                    </a:lnTo>
                    <a:lnTo>
                      <a:pt x="714" y="886"/>
                    </a:lnTo>
                    <a:lnTo>
                      <a:pt x="715" y="882"/>
                    </a:lnTo>
                    <a:lnTo>
                      <a:pt x="718" y="877"/>
                    </a:lnTo>
                    <a:lnTo>
                      <a:pt x="722" y="875"/>
                    </a:lnTo>
                    <a:lnTo>
                      <a:pt x="726" y="871"/>
                    </a:lnTo>
                    <a:lnTo>
                      <a:pt x="730" y="871"/>
                    </a:lnTo>
                    <a:lnTo>
                      <a:pt x="735" y="870"/>
                    </a:lnTo>
                    <a:lnTo>
                      <a:pt x="739" y="873"/>
                    </a:lnTo>
                    <a:lnTo>
                      <a:pt x="745" y="876"/>
                    </a:lnTo>
                    <a:lnTo>
                      <a:pt x="749" y="880"/>
                    </a:lnTo>
                    <a:lnTo>
                      <a:pt x="754" y="881"/>
                    </a:lnTo>
                    <a:lnTo>
                      <a:pt x="758" y="882"/>
                    </a:lnTo>
                    <a:lnTo>
                      <a:pt x="760" y="886"/>
                    </a:lnTo>
                    <a:lnTo>
                      <a:pt x="765" y="885"/>
                    </a:lnTo>
                    <a:lnTo>
                      <a:pt x="770" y="890"/>
                    </a:lnTo>
                    <a:lnTo>
                      <a:pt x="775" y="889"/>
                    </a:lnTo>
                    <a:lnTo>
                      <a:pt x="779" y="891"/>
                    </a:lnTo>
                    <a:lnTo>
                      <a:pt x="785" y="896"/>
                    </a:lnTo>
                    <a:lnTo>
                      <a:pt x="785" y="900"/>
                    </a:lnTo>
                    <a:lnTo>
                      <a:pt x="788" y="903"/>
                    </a:lnTo>
                    <a:lnTo>
                      <a:pt x="789" y="907"/>
                    </a:lnTo>
                    <a:lnTo>
                      <a:pt x="789" y="912"/>
                    </a:lnTo>
                    <a:lnTo>
                      <a:pt x="794" y="913"/>
                    </a:lnTo>
                    <a:lnTo>
                      <a:pt x="798" y="912"/>
                    </a:lnTo>
                    <a:lnTo>
                      <a:pt x="803" y="910"/>
                    </a:lnTo>
                    <a:lnTo>
                      <a:pt x="804" y="905"/>
                    </a:lnTo>
                    <a:lnTo>
                      <a:pt x="806" y="901"/>
                    </a:lnTo>
                    <a:lnTo>
                      <a:pt x="810" y="897"/>
                    </a:lnTo>
                    <a:lnTo>
                      <a:pt x="810" y="894"/>
                    </a:lnTo>
                    <a:lnTo>
                      <a:pt x="807" y="891"/>
                    </a:lnTo>
                    <a:lnTo>
                      <a:pt x="804" y="886"/>
                    </a:lnTo>
                    <a:lnTo>
                      <a:pt x="803" y="883"/>
                    </a:lnTo>
                    <a:lnTo>
                      <a:pt x="803" y="878"/>
                    </a:lnTo>
                    <a:lnTo>
                      <a:pt x="802" y="873"/>
                    </a:lnTo>
                    <a:lnTo>
                      <a:pt x="801" y="868"/>
                    </a:lnTo>
                    <a:lnTo>
                      <a:pt x="801" y="864"/>
                    </a:lnTo>
                    <a:lnTo>
                      <a:pt x="798" y="861"/>
                    </a:lnTo>
                    <a:lnTo>
                      <a:pt x="798" y="857"/>
                    </a:lnTo>
                    <a:lnTo>
                      <a:pt x="799" y="851"/>
                    </a:lnTo>
                    <a:lnTo>
                      <a:pt x="799" y="848"/>
                    </a:lnTo>
                    <a:lnTo>
                      <a:pt x="801" y="843"/>
                    </a:lnTo>
                    <a:lnTo>
                      <a:pt x="803" y="839"/>
                    </a:lnTo>
                    <a:lnTo>
                      <a:pt x="802" y="835"/>
                    </a:lnTo>
                    <a:lnTo>
                      <a:pt x="801" y="831"/>
                    </a:lnTo>
                    <a:lnTo>
                      <a:pt x="801" y="826"/>
                    </a:lnTo>
                    <a:lnTo>
                      <a:pt x="798" y="823"/>
                    </a:lnTo>
                    <a:lnTo>
                      <a:pt x="798" y="818"/>
                    </a:lnTo>
                    <a:lnTo>
                      <a:pt x="794" y="815"/>
                    </a:lnTo>
                    <a:lnTo>
                      <a:pt x="794" y="811"/>
                    </a:lnTo>
                    <a:lnTo>
                      <a:pt x="791" y="807"/>
                    </a:lnTo>
                    <a:lnTo>
                      <a:pt x="788" y="801"/>
                    </a:lnTo>
                    <a:lnTo>
                      <a:pt x="788" y="797"/>
                    </a:lnTo>
                    <a:lnTo>
                      <a:pt x="785" y="793"/>
                    </a:lnTo>
                    <a:lnTo>
                      <a:pt x="780" y="793"/>
                    </a:lnTo>
                    <a:lnTo>
                      <a:pt x="778" y="791"/>
                    </a:lnTo>
                    <a:lnTo>
                      <a:pt x="772" y="786"/>
                    </a:lnTo>
                    <a:lnTo>
                      <a:pt x="770" y="783"/>
                    </a:lnTo>
                    <a:lnTo>
                      <a:pt x="769" y="779"/>
                    </a:lnTo>
                    <a:lnTo>
                      <a:pt x="769" y="775"/>
                    </a:lnTo>
                    <a:lnTo>
                      <a:pt x="768" y="770"/>
                    </a:lnTo>
                    <a:lnTo>
                      <a:pt x="768" y="767"/>
                    </a:lnTo>
                    <a:lnTo>
                      <a:pt x="765" y="763"/>
                    </a:lnTo>
                    <a:lnTo>
                      <a:pt x="761" y="759"/>
                    </a:lnTo>
                    <a:lnTo>
                      <a:pt x="761" y="756"/>
                    </a:lnTo>
                    <a:lnTo>
                      <a:pt x="758" y="749"/>
                    </a:lnTo>
                    <a:lnTo>
                      <a:pt x="754" y="748"/>
                    </a:lnTo>
                    <a:lnTo>
                      <a:pt x="749" y="747"/>
                    </a:lnTo>
                    <a:lnTo>
                      <a:pt x="744" y="745"/>
                    </a:lnTo>
                    <a:lnTo>
                      <a:pt x="741" y="741"/>
                    </a:lnTo>
                    <a:lnTo>
                      <a:pt x="738" y="736"/>
                    </a:lnTo>
                    <a:lnTo>
                      <a:pt x="738" y="734"/>
                    </a:lnTo>
                    <a:lnTo>
                      <a:pt x="735" y="729"/>
                    </a:lnTo>
                    <a:lnTo>
                      <a:pt x="733" y="725"/>
                    </a:lnTo>
                    <a:lnTo>
                      <a:pt x="729" y="722"/>
                    </a:lnTo>
                    <a:lnTo>
                      <a:pt x="724" y="718"/>
                    </a:lnTo>
                    <a:lnTo>
                      <a:pt x="720" y="714"/>
                    </a:lnTo>
                    <a:lnTo>
                      <a:pt x="718" y="711"/>
                    </a:lnTo>
                    <a:lnTo>
                      <a:pt x="714" y="712"/>
                    </a:lnTo>
                    <a:lnTo>
                      <a:pt x="709" y="710"/>
                    </a:lnTo>
                    <a:lnTo>
                      <a:pt x="705" y="711"/>
                    </a:lnTo>
                    <a:lnTo>
                      <a:pt x="700" y="711"/>
                    </a:lnTo>
                    <a:lnTo>
                      <a:pt x="699" y="706"/>
                    </a:lnTo>
                    <a:lnTo>
                      <a:pt x="699" y="703"/>
                    </a:lnTo>
                    <a:lnTo>
                      <a:pt x="696" y="699"/>
                    </a:lnTo>
                    <a:lnTo>
                      <a:pt x="695" y="695"/>
                    </a:lnTo>
                    <a:lnTo>
                      <a:pt x="693" y="691"/>
                    </a:lnTo>
                    <a:lnTo>
                      <a:pt x="689" y="688"/>
                    </a:lnTo>
                    <a:lnTo>
                      <a:pt x="687" y="683"/>
                    </a:lnTo>
                    <a:lnTo>
                      <a:pt x="682" y="680"/>
                    </a:lnTo>
                    <a:lnTo>
                      <a:pt x="682" y="676"/>
                    </a:lnTo>
                    <a:lnTo>
                      <a:pt x="676" y="671"/>
                    </a:lnTo>
                    <a:lnTo>
                      <a:pt x="673" y="667"/>
                    </a:lnTo>
                    <a:lnTo>
                      <a:pt x="673" y="663"/>
                    </a:lnTo>
                    <a:lnTo>
                      <a:pt x="670" y="657"/>
                    </a:lnTo>
                    <a:lnTo>
                      <a:pt x="666" y="650"/>
                    </a:lnTo>
                    <a:lnTo>
                      <a:pt x="664" y="648"/>
                    </a:lnTo>
                    <a:lnTo>
                      <a:pt x="663" y="644"/>
                    </a:lnTo>
                    <a:lnTo>
                      <a:pt x="663" y="639"/>
                    </a:lnTo>
                    <a:lnTo>
                      <a:pt x="662" y="636"/>
                    </a:lnTo>
                    <a:lnTo>
                      <a:pt x="663" y="631"/>
                    </a:lnTo>
                    <a:lnTo>
                      <a:pt x="666" y="626"/>
                    </a:lnTo>
                    <a:lnTo>
                      <a:pt x="665" y="622"/>
                    </a:lnTo>
                    <a:lnTo>
                      <a:pt x="665" y="618"/>
                    </a:lnTo>
                    <a:lnTo>
                      <a:pt x="664" y="613"/>
                    </a:lnTo>
                    <a:lnTo>
                      <a:pt x="666" y="610"/>
                    </a:lnTo>
                    <a:lnTo>
                      <a:pt x="665" y="605"/>
                    </a:lnTo>
                    <a:lnTo>
                      <a:pt x="667" y="601"/>
                    </a:lnTo>
                    <a:lnTo>
                      <a:pt x="662" y="597"/>
                    </a:lnTo>
                    <a:lnTo>
                      <a:pt x="657" y="594"/>
                    </a:lnTo>
                    <a:lnTo>
                      <a:pt x="651" y="590"/>
                    </a:lnTo>
                    <a:lnTo>
                      <a:pt x="647" y="590"/>
                    </a:lnTo>
                    <a:lnTo>
                      <a:pt x="642" y="591"/>
                    </a:lnTo>
                    <a:lnTo>
                      <a:pt x="638" y="592"/>
                    </a:lnTo>
                    <a:lnTo>
                      <a:pt x="633" y="589"/>
                    </a:lnTo>
                    <a:lnTo>
                      <a:pt x="630" y="585"/>
                    </a:lnTo>
                    <a:lnTo>
                      <a:pt x="630" y="581"/>
                    </a:lnTo>
                    <a:lnTo>
                      <a:pt x="629" y="578"/>
                    </a:lnTo>
                    <a:lnTo>
                      <a:pt x="625" y="575"/>
                    </a:lnTo>
                    <a:lnTo>
                      <a:pt x="619" y="572"/>
                    </a:lnTo>
                    <a:lnTo>
                      <a:pt x="615" y="572"/>
                    </a:lnTo>
                    <a:lnTo>
                      <a:pt x="610" y="573"/>
                    </a:lnTo>
                    <a:lnTo>
                      <a:pt x="606" y="574"/>
                    </a:lnTo>
                    <a:lnTo>
                      <a:pt x="601" y="570"/>
                    </a:lnTo>
                    <a:lnTo>
                      <a:pt x="598" y="567"/>
                    </a:lnTo>
                    <a:lnTo>
                      <a:pt x="598" y="562"/>
                    </a:lnTo>
                    <a:lnTo>
                      <a:pt x="597" y="559"/>
                    </a:lnTo>
                    <a:lnTo>
                      <a:pt x="597" y="554"/>
                    </a:lnTo>
                    <a:lnTo>
                      <a:pt x="598" y="550"/>
                    </a:lnTo>
                    <a:lnTo>
                      <a:pt x="596" y="547"/>
                    </a:lnTo>
                    <a:lnTo>
                      <a:pt x="592" y="542"/>
                    </a:lnTo>
                    <a:lnTo>
                      <a:pt x="588" y="541"/>
                    </a:lnTo>
                    <a:lnTo>
                      <a:pt x="583" y="541"/>
                    </a:lnTo>
                    <a:lnTo>
                      <a:pt x="579" y="542"/>
                    </a:lnTo>
                    <a:lnTo>
                      <a:pt x="576" y="542"/>
                    </a:lnTo>
                    <a:lnTo>
                      <a:pt x="571" y="541"/>
                    </a:lnTo>
                    <a:lnTo>
                      <a:pt x="566" y="542"/>
                    </a:lnTo>
                    <a:lnTo>
                      <a:pt x="562" y="540"/>
                    </a:lnTo>
                    <a:lnTo>
                      <a:pt x="556" y="539"/>
                    </a:lnTo>
                    <a:lnTo>
                      <a:pt x="552" y="538"/>
                    </a:lnTo>
                    <a:lnTo>
                      <a:pt x="547" y="536"/>
                    </a:lnTo>
                    <a:lnTo>
                      <a:pt x="543" y="537"/>
                    </a:lnTo>
                    <a:lnTo>
                      <a:pt x="538" y="537"/>
                    </a:lnTo>
                    <a:lnTo>
                      <a:pt x="534" y="535"/>
                    </a:lnTo>
                    <a:lnTo>
                      <a:pt x="526" y="534"/>
                    </a:lnTo>
                    <a:lnTo>
                      <a:pt x="522" y="533"/>
                    </a:lnTo>
                    <a:lnTo>
                      <a:pt x="517" y="534"/>
                    </a:lnTo>
                    <a:lnTo>
                      <a:pt x="513" y="533"/>
                    </a:lnTo>
                    <a:lnTo>
                      <a:pt x="508" y="533"/>
                    </a:lnTo>
                    <a:lnTo>
                      <a:pt x="503" y="534"/>
                    </a:lnTo>
                    <a:lnTo>
                      <a:pt x="499" y="532"/>
                    </a:lnTo>
                    <a:lnTo>
                      <a:pt x="494" y="532"/>
                    </a:lnTo>
                    <a:lnTo>
                      <a:pt x="490" y="531"/>
                    </a:lnTo>
                    <a:lnTo>
                      <a:pt x="485" y="533"/>
                    </a:lnTo>
                    <a:lnTo>
                      <a:pt x="481" y="537"/>
                    </a:lnTo>
                    <a:lnTo>
                      <a:pt x="482" y="540"/>
                    </a:lnTo>
                    <a:lnTo>
                      <a:pt x="480" y="545"/>
                    </a:lnTo>
                    <a:lnTo>
                      <a:pt x="476" y="548"/>
                    </a:lnTo>
                    <a:lnTo>
                      <a:pt x="472" y="548"/>
                    </a:lnTo>
                    <a:lnTo>
                      <a:pt x="467" y="551"/>
                    </a:lnTo>
                    <a:lnTo>
                      <a:pt x="463" y="552"/>
                    </a:lnTo>
                    <a:lnTo>
                      <a:pt x="458" y="554"/>
                    </a:lnTo>
                    <a:lnTo>
                      <a:pt x="454" y="557"/>
                    </a:lnTo>
                    <a:lnTo>
                      <a:pt x="452" y="561"/>
                    </a:lnTo>
                    <a:lnTo>
                      <a:pt x="452" y="566"/>
                    </a:lnTo>
                    <a:lnTo>
                      <a:pt x="452" y="569"/>
                    </a:lnTo>
                    <a:lnTo>
                      <a:pt x="453" y="573"/>
                    </a:lnTo>
                    <a:lnTo>
                      <a:pt x="456" y="576"/>
                    </a:lnTo>
                    <a:lnTo>
                      <a:pt x="460" y="578"/>
                    </a:lnTo>
                    <a:lnTo>
                      <a:pt x="464" y="580"/>
                    </a:lnTo>
                    <a:lnTo>
                      <a:pt x="470" y="584"/>
                    </a:lnTo>
                    <a:lnTo>
                      <a:pt x="472" y="588"/>
                    </a:lnTo>
                    <a:lnTo>
                      <a:pt x="475" y="593"/>
                    </a:lnTo>
                    <a:lnTo>
                      <a:pt x="476" y="598"/>
                    </a:lnTo>
                    <a:lnTo>
                      <a:pt x="476" y="601"/>
                    </a:lnTo>
                    <a:lnTo>
                      <a:pt x="476" y="605"/>
                    </a:lnTo>
                    <a:lnTo>
                      <a:pt x="477" y="610"/>
                    </a:lnTo>
                    <a:lnTo>
                      <a:pt x="476" y="613"/>
                    </a:lnTo>
                    <a:lnTo>
                      <a:pt x="472" y="614"/>
                    </a:lnTo>
                    <a:lnTo>
                      <a:pt x="467" y="615"/>
                    </a:lnTo>
                    <a:lnTo>
                      <a:pt x="464" y="612"/>
                    </a:lnTo>
                    <a:lnTo>
                      <a:pt x="464" y="607"/>
                    </a:lnTo>
                    <a:lnTo>
                      <a:pt x="460" y="603"/>
                    </a:lnTo>
                    <a:lnTo>
                      <a:pt x="459" y="597"/>
                    </a:lnTo>
                    <a:lnTo>
                      <a:pt x="462" y="593"/>
                    </a:lnTo>
                    <a:lnTo>
                      <a:pt x="461" y="589"/>
                    </a:lnTo>
                    <a:lnTo>
                      <a:pt x="456" y="592"/>
                    </a:lnTo>
                    <a:lnTo>
                      <a:pt x="456" y="596"/>
                    </a:lnTo>
                    <a:lnTo>
                      <a:pt x="452" y="598"/>
                    </a:lnTo>
                    <a:lnTo>
                      <a:pt x="450" y="604"/>
                    </a:lnTo>
                    <a:lnTo>
                      <a:pt x="448" y="607"/>
                    </a:lnTo>
                    <a:lnTo>
                      <a:pt x="449" y="612"/>
                    </a:lnTo>
                    <a:lnTo>
                      <a:pt x="450" y="617"/>
                    </a:lnTo>
                    <a:lnTo>
                      <a:pt x="450" y="622"/>
                    </a:lnTo>
                    <a:lnTo>
                      <a:pt x="451" y="626"/>
                    </a:lnTo>
                    <a:lnTo>
                      <a:pt x="447" y="629"/>
                    </a:lnTo>
                    <a:lnTo>
                      <a:pt x="443" y="631"/>
                    </a:lnTo>
                    <a:lnTo>
                      <a:pt x="438" y="634"/>
                    </a:lnTo>
                    <a:lnTo>
                      <a:pt x="434" y="636"/>
                    </a:lnTo>
                    <a:lnTo>
                      <a:pt x="430" y="640"/>
                    </a:lnTo>
                    <a:lnTo>
                      <a:pt x="426" y="640"/>
                    </a:lnTo>
                    <a:lnTo>
                      <a:pt x="423" y="636"/>
                    </a:lnTo>
                    <a:lnTo>
                      <a:pt x="423" y="633"/>
                    </a:lnTo>
                    <a:lnTo>
                      <a:pt x="422" y="628"/>
                    </a:lnTo>
                    <a:lnTo>
                      <a:pt x="423" y="623"/>
                    </a:lnTo>
                    <a:lnTo>
                      <a:pt x="423" y="620"/>
                    </a:lnTo>
                    <a:lnTo>
                      <a:pt x="424" y="615"/>
                    </a:lnTo>
                    <a:lnTo>
                      <a:pt x="429" y="612"/>
                    </a:lnTo>
                    <a:lnTo>
                      <a:pt x="430" y="607"/>
                    </a:lnTo>
                    <a:lnTo>
                      <a:pt x="430" y="604"/>
                    </a:lnTo>
                    <a:lnTo>
                      <a:pt x="425" y="605"/>
                    </a:lnTo>
                    <a:lnTo>
                      <a:pt x="421" y="606"/>
                    </a:lnTo>
                    <a:lnTo>
                      <a:pt x="416" y="606"/>
                    </a:lnTo>
                    <a:lnTo>
                      <a:pt x="412" y="604"/>
                    </a:lnTo>
                    <a:lnTo>
                      <a:pt x="411" y="600"/>
                    </a:lnTo>
                    <a:lnTo>
                      <a:pt x="408" y="594"/>
                    </a:lnTo>
                    <a:lnTo>
                      <a:pt x="408" y="590"/>
                    </a:lnTo>
                    <a:lnTo>
                      <a:pt x="402" y="588"/>
                    </a:lnTo>
                    <a:lnTo>
                      <a:pt x="399" y="588"/>
                    </a:lnTo>
                    <a:lnTo>
                      <a:pt x="394" y="592"/>
                    </a:lnTo>
                    <a:lnTo>
                      <a:pt x="393" y="598"/>
                    </a:lnTo>
                    <a:lnTo>
                      <a:pt x="393" y="602"/>
                    </a:lnTo>
                    <a:lnTo>
                      <a:pt x="396" y="606"/>
                    </a:lnTo>
                    <a:lnTo>
                      <a:pt x="398" y="611"/>
                    </a:lnTo>
                    <a:lnTo>
                      <a:pt x="404" y="611"/>
                    </a:lnTo>
                    <a:lnTo>
                      <a:pt x="404" y="615"/>
                    </a:lnTo>
                    <a:lnTo>
                      <a:pt x="407" y="620"/>
                    </a:lnTo>
                    <a:lnTo>
                      <a:pt x="407" y="623"/>
                    </a:lnTo>
                    <a:lnTo>
                      <a:pt x="406" y="628"/>
                    </a:lnTo>
                    <a:lnTo>
                      <a:pt x="404" y="632"/>
                    </a:lnTo>
                    <a:lnTo>
                      <a:pt x="405" y="636"/>
                    </a:lnTo>
                    <a:lnTo>
                      <a:pt x="400" y="639"/>
                    </a:lnTo>
                    <a:lnTo>
                      <a:pt x="399" y="644"/>
                    </a:lnTo>
                    <a:lnTo>
                      <a:pt x="394" y="645"/>
                    </a:lnTo>
                    <a:lnTo>
                      <a:pt x="390" y="645"/>
                    </a:lnTo>
                    <a:lnTo>
                      <a:pt x="385" y="643"/>
                    </a:lnTo>
                    <a:lnTo>
                      <a:pt x="382" y="639"/>
                    </a:lnTo>
                    <a:lnTo>
                      <a:pt x="377" y="636"/>
                    </a:lnTo>
                    <a:lnTo>
                      <a:pt x="374" y="632"/>
                    </a:lnTo>
                    <a:lnTo>
                      <a:pt x="371" y="627"/>
                    </a:lnTo>
                    <a:lnTo>
                      <a:pt x="371" y="624"/>
                    </a:lnTo>
                    <a:lnTo>
                      <a:pt x="370" y="620"/>
                    </a:lnTo>
                    <a:lnTo>
                      <a:pt x="370" y="616"/>
                    </a:lnTo>
                    <a:lnTo>
                      <a:pt x="369" y="613"/>
                    </a:lnTo>
                    <a:lnTo>
                      <a:pt x="367" y="606"/>
                    </a:lnTo>
                    <a:lnTo>
                      <a:pt x="366" y="602"/>
                    </a:lnTo>
                    <a:lnTo>
                      <a:pt x="363" y="598"/>
                    </a:lnTo>
                    <a:lnTo>
                      <a:pt x="359" y="599"/>
                    </a:lnTo>
                    <a:lnTo>
                      <a:pt x="354" y="600"/>
                    </a:lnTo>
                    <a:lnTo>
                      <a:pt x="350" y="600"/>
                    </a:lnTo>
                    <a:lnTo>
                      <a:pt x="345" y="603"/>
                    </a:lnTo>
                    <a:lnTo>
                      <a:pt x="341" y="603"/>
                    </a:lnTo>
                    <a:lnTo>
                      <a:pt x="336" y="606"/>
                    </a:lnTo>
                    <a:lnTo>
                      <a:pt x="333" y="608"/>
                    </a:lnTo>
                    <a:lnTo>
                      <a:pt x="329" y="611"/>
                    </a:lnTo>
                    <a:lnTo>
                      <a:pt x="325" y="615"/>
                    </a:lnTo>
                    <a:lnTo>
                      <a:pt x="319" y="616"/>
                    </a:lnTo>
                    <a:lnTo>
                      <a:pt x="315" y="620"/>
                    </a:lnTo>
                    <a:lnTo>
                      <a:pt x="310" y="621"/>
                    </a:lnTo>
                    <a:lnTo>
                      <a:pt x="306" y="621"/>
                    </a:lnTo>
                    <a:lnTo>
                      <a:pt x="301" y="622"/>
                    </a:lnTo>
                    <a:lnTo>
                      <a:pt x="296" y="622"/>
                    </a:lnTo>
                    <a:lnTo>
                      <a:pt x="292" y="620"/>
                    </a:lnTo>
                    <a:lnTo>
                      <a:pt x="285" y="621"/>
                    </a:lnTo>
                    <a:lnTo>
                      <a:pt x="281" y="620"/>
                    </a:lnTo>
                    <a:lnTo>
                      <a:pt x="280" y="616"/>
                    </a:lnTo>
                    <a:lnTo>
                      <a:pt x="282" y="611"/>
                    </a:lnTo>
                    <a:lnTo>
                      <a:pt x="281" y="607"/>
                    </a:lnTo>
                    <a:lnTo>
                      <a:pt x="284" y="601"/>
                    </a:lnTo>
                    <a:lnTo>
                      <a:pt x="286" y="596"/>
                    </a:lnTo>
                    <a:lnTo>
                      <a:pt x="288" y="591"/>
                    </a:lnTo>
                    <a:lnTo>
                      <a:pt x="289" y="588"/>
                    </a:lnTo>
                    <a:lnTo>
                      <a:pt x="291" y="581"/>
                    </a:lnTo>
                    <a:lnTo>
                      <a:pt x="293" y="576"/>
                    </a:lnTo>
                    <a:lnTo>
                      <a:pt x="294" y="572"/>
                    </a:lnTo>
                    <a:lnTo>
                      <a:pt x="299" y="567"/>
                    </a:lnTo>
                    <a:lnTo>
                      <a:pt x="300" y="561"/>
                    </a:lnTo>
                    <a:lnTo>
                      <a:pt x="301" y="554"/>
                    </a:lnTo>
                    <a:lnTo>
                      <a:pt x="302" y="546"/>
                    </a:lnTo>
                    <a:lnTo>
                      <a:pt x="304" y="539"/>
                    </a:lnTo>
                    <a:lnTo>
                      <a:pt x="304" y="536"/>
                    </a:lnTo>
                    <a:lnTo>
                      <a:pt x="305" y="528"/>
                    </a:lnTo>
                    <a:lnTo>
                      <a:pt x="304" y="526"/>
                    </a:lnTo>
                    <a:lnTo>
                      <a:pt x="304" y="521"/>
                    </a:lnTo>
                    <a:lnTo>
                      <a:pt x="303" y="517"/>
                    </a:lnTo>
                    <a:lnTo>
                      <a:pt x="303" y="513"/>
                    </a:lnTo>
                    <a:lnTo>
                      <a:pt x="302" y="509"/>
                    </a:lnTo>
                    <a:lnTo>
                      <a:pt x="303" y="503"/>
                    </a:lnTo>
                    <a:lnTo>
                      <a:pt x="308" y="503"/>
                    </a:lnTo>
                    <a:lnTo>
                      <a:pt x="311" y="507"/>
                    </a:lnTo>
                    <a:lnTo>
                      <a:pt x="312" y="502"/>
                    </a:lnTo>
                    <a:lnTo>
                      <a:pt x="312" y="497"/>
                    </a:lnTo>
                    <a:lnTo>
                      <a:pt x="313" y="492"/>
                    </a:lnTo>
                    <a:lnTo>
                      <a:pt x="315" y="487"/>
                    </a:lnTo>
                    <a:lnTo>
                      <a:pt x="315" y="482"/>
                    </a:lnTo>
                    <a:lnTo>
                      <a:pt x="314" y="477"/>
                    </a:lnTo>
                    <a:lnTo>
                      <a:pt x="313" y="474"/>
                    </a:lnTo>
                    <a:lnTo>
                      <a:pt x="314" y="470"/>
                    </a:lnTo>
                    <a:lnTo>
                      <a:pt x="312" y="455"/>
                    </a:lnTo>
                    <a:lnTo>
                      <a:pt x="311" y="452"/>
                    </a:lnTo>
                    <a:lnTo>
                      <a:pt x="310" y="447"/>
                    </a:lnTo>
                    <a:lnTo>
                      <a:pt x="309" y="443"/>
                    </a:lnTo>
                    <a:lnTo>
                      <a:pt x="310" y="439"/>
                    </a:lnTo>
                    <a:lnTo>
                      <a:pt x="309" y="435"/>
                    </a:lnTo>
                    <a:lnTo>
                      <a:pt x="309" y="430"/>
                    </a:lnTo>
                    <a:lnTo>
                      <a:pt x="308" y="424"/>
                    </a:lnTo>
                    <a:lnTo>
                      <a:pt x="307" y="420"/>
                    </a:lnTo>
                    <a:lnTo>
                      <a:pt x="307" y="415"/>
                    </a:lnTo>
                    <a:lnTo>
                      <a:pt x="306" y="412"/>
                    </a:lnTo>
                    <a:lnTo>
                      <a:pt x="310" y="414"/>
                    </a:lnTo>
                    <a:lnTo>
                      <a:pt x="310" y="410"/>
                    </a:lnTo>
                    <a:lnTo>
                      <a:pt x="312" y="404"/>
                    </a:lnTo>
                    <a:lnTo>
                      <a:pt x="316" y="401"/>
                    </a:lnTo>
                    <a:lnTo>
                      <a:pt x="313" y="396"/>
                    </a:lnTo>
                    <a:lnTo>
                      <a:pt x="313" y="392"/>
                    </a:lnTo>
                    <a:lnTo>
                      <a:pt x="312" y="388"/>
                    </a:lnTo>
                    <a:lnTo>
                      <a:pt x="310" y="385"/>
                    </a:lnTo>
                    <a:lnTo>
                      <a:pt x="309" y="380"/>
                    </a:lnTo>
                    <a:lnTo>
                      <a:pt x="308" y="377"/>
                    </a:lnTo>
                    <a:lnTo>
                      <a:pt x="305" y="373"/>
                    </a:lnTo>
                    <a:lnTo>
                      <a:pt x="304" y="368"/>
                    </a:lnTo>
                    <a:lnTo>
                      <a:pt x="304" y="365"/>
                    </a:lnTo>
                    <a:lnTo>
                      <a:pt x="303" y="360"/>
                    </a:lnTo>
                    <a:lnTo>
                      <a:pt x="306" y="356"/>
                    </a:lnTo>
                    <a:lnTo>
                      <a:pt x="309" y="351"/>
                    </a:lnTo>
                    <a:lnTo>
                      <a:pt x="314" y="349"/>
                    </a:lnTo>
                    <a:lnTo>
                      <a:pt x="317" y="346"/>
                    </a:lnTo>
                    <a:lnTo>
                      <a:pt x="322" y="341"/>
                    </a:lnTo>
                    <a:lnTo>
                      <a:pt x="321" y="338"/>
                    </a:lnTo>
                    <a:lnTo>
                      <a:pt x="318" y="333"/>
                    </a:lnTo>
                    <a:lnTo>
                      <a:pt x="313" y="331"/>
                    </a:lnTo>
                    <a:lnTo>
                      <a:pt x="308" y="329"/>
                    </a:lnTo>
                    <a:lnTo>
                      <a:pt x="305" y="325"/>
                    </a:lnTo>
                    <a:lnTo>
                      <a:pt x="305" y="321"/>
                    </a:lnTo>
                    <a:lnTo>
                      <a:pt x="304" y="317"/>
                    </a:lnTo>
                    <a:lnTo>
                      <a:pt x="304" y="313"/>
                    </a:lnTo>
                    <a:lnTo>
                      <a:pt x="303" y="308"/>
                    </a:lnTo>
                    <a:lnTo>
                      <a:pt x="303" y="305"/>
                    </a:lnTo>
                    <a:lnTo>
                      <a:pt x="304" y="300"/>
                    </a:lnTo>
                    <a:lnTo>
                      <a:pt x="307" y="295"/>
                    </a:lnTo>
                    <a:lnTo>
                      <a:pt x="299" y="292"/>
                    </a:lnTo>
                    <a:lnTo>
                      <a:pt x="301" y="288"/>
                    </a:lnTo>
                    <a:lnTo>
                      <a:pt x="305" y="282"/>
                    </a:lnTo>
                    <a:lnTo>
                      <a:pt x="306" y="279"/>
                    </a:lnTo>
                    <a:lnTo>
                      <a:pt x="308" y="274"/>
                    </a:lnTo>
                    <a:lnTo>
                      <a:pt x="309" y="270"/>
                    </a:lnTo>
                    <a:lnTo>
                      <a:pt x="309" y="267"/>
                    </a:lnTo>
                    <a:lnTo>
                      <a:pt x="308" y="262"/>
                    </a:lnTo>
                    <a:lnTo>
                      <a:pt x="306" y="258"/>
                    </a:lnTo>
                    <a:lnTo>
                      <a:pt x="305" y="254"/>
                    </a:lnTo>
                    <a:lnTo>
                      <a:pt x="305" y="250"/>
                    </a:lnTo>
                    <a:lnTo>
                      <a:pt x="304" y="246"/>
                    </a:lnTo>
                    <a:lnTo>
                      <a:pt x="301" y="242"/>
                    </a:lnTo>
                    <a:lnTo>
                      <a:pt x="301" y="237"/>
                    </a:lnTo>
                    <a:lnTo>
                      <a:pt x="300" y="234"/>
                    </a:lnTo>
                    <a:lnTo>
                      <a:pt x="300" y="229"/>
                    </a:lnTo>
                    <a:lnTo>
                      <a:pt x="301" y="225"/>
                    </a:lnTo>
                    <a:lnTo>
                      <a:pt x="301" y="221"/>
                    </a:lnTo>
                    <a:lnTo>
                      <a:pt x="302" y="217"/>
                    </a:lnTo>
                    <a:lnTo>
                      <a:pt x="304" y="212"/>
                    </a:lnTo>
                    <a:lnTo>
                      <a:pt x="308" y="209"/>
                    </a:lnTo>
                    <a:lnTo>
                      <a:pt x="310" y="206"/>
                    </a:lnTo>
                    <a:lnTo>
                      <a:pt x="314" y="203"/>
                    </a:lnTo>
                    <a:lnTo>
                      <a:pt x="316" y="198"/>
                    </a:lnTo>
                    <a:lnTo>
                      <a:pt x="317" y="195"/>
                    </a:lnTo>
                    <a:lnTo>
                      <a:pt x="320" y="189"/>
                    </a:lnTo>
                    <a:lnTo>
                      <a:pt x="321" y="185"/>
                    </a:lnTo>
                    <a:lnTo>
                      <a:pt x="326" y="182"/>
                    </a:lnTo>
                    <a:lnTo>
                      <a:pt x="329" y="180"/>
                    </a:lnTo>
                    <a:lnTo>
                      <a:pt x="334" y="175"/>
                    </a:lnTo>
                    <a:lnTo>
                      <a:pt x="337" y="172"/>
                    </a:lnTo>
                    <a:lnTo>
                      <a:pt x="342" y="167"/>
                    </a:lnTo>
                    <a:lnTo>
                      <a:pt x="343" y="164"/>
                    </a:lnTo>
                    <a:lnTo>
                      <a:pt x="347" y="164"/>
                    </a:lnTo>
                    <a:lnTo>
                      <a:pt x="352" y="158"/>
                    </a:lnTo>
                    <a:lnTo>
                      <a:pt x="355" y="155"/>
                    </a:lnTo>
                    <a:lnTo>
                      <a:pt x="360" y="155"/>
                    </a:lnTo>
                    <a:lnTo>
                      <a:pt x="364" y="150"/>
                    </a:lnTo>
                    <a:lnTo>
                      <a:pt x="370" y="145"/>
                    </a:lnTo>
                    <a:lnTo>
                      <a:pt x="375" y="143"/>
                    </a:lnTo>
                    <a:lnTo>
                      <a:pt x="378" y="139"/>
                    </a:lnTo>
                    <a:lnTo>
                      <a:pt x="381" y="136"/>
                    </a:lnTo>
                    <a:lnTo>
                      <a:pt x="385" y="133"/>
                    </a:lnTo>
                    <a:lnTo>
                      <a:pt x="386" y="128"/>
                    </a:lnTo>
                    <a:lnTo>
                      <a:pt x="391" y="127"/>
                    </a:lnTo>
                    <a:lnTo>
                      <a:pt x="394" y="127"/>
                    </a:lnTo>
                    <a:lnTo>
                      <a:pt x="397" y="132"/>
                    </a:lnTo>
                    <a:lnTo>
                      <a:pt x="402" y="133"/>
                    </a:lnTo>
                    <a:lnTo>
                      <a:pt x="407" y="132"/>
                    </a:lnTo>
                    <a:lnTo>
                      <a:pt x="411" y="132"/>
                    </a:lnTo>
                    <a:lnTo>
                      <a:pt x="412" y="127"/>
                    </a:lnTo>
                    <a:lnTo>
                      <a:pt x="411" y="123"/>
                    </a:lnTo>
                    <a:lnTo>
                      <a:pt x="411" y="120"/>
                    </a:lnTo>
                    <a:lnTo>
                      <a:pt x="408" y="115"/>
                    </a:lnTo>
                    <a:lnTo>
                      <a:pt x="408" y="111"/>
                    </a:lnTo>
                    <a:lnTo>
                      <a:pt x="404" y="110"/>
                    </a:lnTo>
                    <a:lnTo>
                      <a:pt x="403" y="106"/>
                    </a:lnTo>
                    <a:lnTo>
                      <a:pt x="404" y="100"/>
                    </a:lnTo>
                    <a:lnTo>
                      <a:pt x="408" y="100"/>
                    </a:lnTo>
                    <a:lnTo>
                      <a:pt x="413" y="97"/>
                    </a:lnTo>
                    <a:lnTo>
                      <a:pt x="417" y="97"/>
                    </a:lnTo>
                    <a:lnTo>
                      <a:pt x="422" y="96"/>
                    </a:lnTo>
                    <a:lnTo>
                      <a:pt x="426" y="95"/>
                    </a:lnTo>
                    <a:lnTo>
                      <a:pt x="426" y="92"/>
                    </a:lnTo>
                    <a:lnTo>
                      <a:pt x="423" y="88"/>
                    </a:lnTo>
                    <a:lnTo>
                      <a:pt x="420" y="84"/>
                    </a:lnTo>
                    <a:lnTo>
                      <a:pt x="415" y="84"/>
                    </a:lnTo>
                    <a:lnTo>
                      <a:pt x="425" y="87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0" name="Freeform 107"/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6584079" y="2013301"/>
                <a:ext cx="677941" cy="754361"/>
              </a:xfrm>
              <a:custGeom>
                <a:avLst/>
                <a:gdLst>
                  <a:gd name="T0" fmla="*/ 2147483647 w 546"/>
                  <a:gd name="T1" fmla="*/ 2147483647 h 636"/>
                  <a:gd name="T2" fmla="*/ 2147483647 w 546"/>
                  <a:gd name="T3" fmla="*/ 2147483647 h 636"/>
                  <a:gd name="T4" fmla="*/ 2147483647 w 546"/>
                  <a:gd name="T5" fmla="*/ 2147483647 h 636"/>
                  <a:gd name="T6" fmla="*/ 2147483647 w 546"/>
                  <a:gd name="T7" fmla="*/ 2147483647 h 636"/>
                  <a:gd name="T8" fmla="*/ 2147483647 w 546"/>
                  <a:gd name="T9" fmla="*/ 2147483647 h 636"/>
                  <a:gd name="T10" fmla="*/ 2147483647 w 546"/>
                  <a:gd name="T11" fmla="*/ 2147483647 h 636"/>
                  <a:gd name="T12" fmla="*/ 2147483647 w 546"/>
                  <a:gd name="T13" fmla="*/ 2147483647 h 636"/>
                  <a:gd name="T14" fmla="*/ 2147483647 w 546"/>
                  <a:gd name="T15" fmla="*/ 2147483647 h 636"/>
                  <a:gd name="T16" fmla="*/ 2147483647 w 546"/>
                  <a:gd name="T17" fmla="*/ 2147483647 h 636"/>
                  <a:gd name="T18" fmla="*/ 2147483647 w 546"/>
                  <a:gd name="T19" fmla="*/ 2147483647 h 636"/>
                  <a:gd name="T20" fmla="*/ 2147483647 w 546"/>
                  <a:gd name="T21" fmla="*/ 2147483647 h 636"/>
                  <a:gd name="T22" fmla="*/ 2147483647 w 546"/>
                  <a:gd name="T23" fmla="*/ 2147483647 h 636"/>
                  <a:gd name="T24" fmla="*/ 2147483647 w 546"/>
                  <a:gd name="T25" fmla="*/ 2147483647 h 636"/>
                  <a:gd name="T26" fmla="*/ 2147483647 w 546"/>
                  <a:gd name="T27" fmla="*/ 2147483647 h 636"/>
                  <a:gd name="T28" fmla="*/ 2147483647 w 546"/>
                  <a:gd name="T29" fmla="*/ 2147483647 h 636"/>
                  <a:gd name="T30" fmla="*/ 2147483647 w 546"/>
                  <a:gd name="T31" fmla="*/ 2147483647 h 636"/>
                  <a:gd name="T32" fmla="*/ 2147483647 w 546"/>
                  <a:gd name="T33" fmla="*/ 2147483647 h 636"/>
                  <a:gd name="T34" fmla="*/ 2147483647 w 546"/>
                  <a:gd name="T35" fmla="*/ 2147483647 h 636"/>
                  <a:gd name="T36" fmla="*/ 2147483647 w 546"/>
                  <a:gd name="T37" fmla="*/ 2147483647 h 636"/>
                  <a:gd name="T38" fmla="*/ 2147483647 w 546"/>
                  <a:gd name="T39" fmla="*/ 2147483647 h 636"/>
                  <a:gd name="T40" fmla="*/ 2147483647 w 546"/>
                  <a:gd name="T41" fmla="*/ 2147483647 h 636"/>
                  <a:gd name="T42" fmla="*/ 2147483647 w 546"/>
                  <a:gd name="T43" fmla="*/ 2147483647 h 636"/>
                  <a:gd name="T44" fmla="*/ 2147483647 w 546"/>
                  <a:gd name="T45" fmla="*/ 2147483647 h 636"/>
                  <a:gd name="T46" fmla="*/ 2147483647 w 546"/>
                  <a:gd name="T47" fmla="*/ 2147483647 h 636"/>
                  <a:gd name="T48" fmla="*/ 2147483647 w 546"/>
                  <a:gd name="T49" fmla="*/ 2147483647 h 636"/>
                  <a:gd name="T50" fmla="*/ 2147483647 w 546"/>
                  <a:gd name="T51" fmla="*/ 2147483647 h 636"/>
                  <a:gd name="T52" fmla="*/ 2147483647 w 546"/>
                  <a:gd name="T53" fmla="*/ 2147483647 h 636"/>
                  <a:gd name="T54" fmla="*/ 2147483647 w 546"/>
                  <a:gd name="T55" fmla="*/ 2147483647 h 636"/>
                  <a:gd name="T56" fmla="*/ 2147483647 w 546"/>
                  <a:gd name="T57" fmla="*/ 2147483647 h 636"/>
                  <a:gd name="T58" fmla="*/ 2147483647 w 546"/>
                  <a:gd name="T59" fmla="*/ 2147483647 h 636"/>
                  <a:gd name="T60" fmla="*/ 2147483647 w 546"/>
                  <a:gd name="T61" fmla="*/ 2147483647 h 636"/>
                  <a:gd name="T62" fmla="*/ 2147483647 w 546"/>
                  <a:gd name="T63" fmla="*/ 2147483647 h 636"/>
                  <a:gd name="T64" fmla="*/ 2147483647 w 546"/>
                  <a:gd name="T65" fmla="*/ 2147483647 h 636"/>
                  <a:gd name="T66" fmla="*/ 2147483647 w 546"/>
                  <a:gd name="T67" fmla="*/ 2147483647 h 636"/>
                  <a:gd name="T68" fmla="*/ 2147483647 w 546"/>
                  <a:gd name="T69" fmla="*/ 2147483647 h 636"/>
                  <a:gd name="T70" fmla="*/ 2147483647 w 546"/>
                  <a:gd name="T71" fmla="*/ 2147483647 h 636"/>
                  <a:gd name="T72" fmla="*/ 2147483647 w 546"/>
                  <a:gd name="T73" fmla="*/ 2147483647 h 636"/>
                  <a:gd name="T74" fmla="*/ 2147483647 w 546"/>
                  <a:gd name="T75" fmla="*/ 2147483647 h 636"/>
                  <a:gd name="T76" fmla="*/ 2147483647 w 546"/>
                  <a:gd name="T77" fmla="*/ 2147483647 h 636"/>
                  <a:gd name="T78" fmla="*/ 2147483647 w 546"/>
                  <a:gd name="T79" fmla="*/ 2147483647 h 636"/>
                  <a:gd name="T80" fmla="*/ 2147483647 w 546"/>
                  <a:gd name="T81" fmla="*/ 2147483647 h 636"/>
                  <a:gd name="T82" fmla="*/ 2147483647 w 546"/>
                  <a:gd name="T83" fmla="*/ 2147483647 h 636"/>
                  <a:gd name="T84" fmla="*/ 2147483647 w 546"/>
                  <a:gd name="T85" fmla="*/ 2147483647 h 636"/>
                  <a:gd name="T86" fmla="*/ 2147483647 w 546"/>
                  <a:gd name="T87" fmla="*/ 2147483647 h 636"/>
                  <a:gd name="T88" fmla="*/ 2147483647 w 546"/>
                  <a:gd name="T89" fmla="*/ 2147483647 h 636"/>
                  <a:gd name="T90" fmla="*/ 2147483647 w 546"/>
                  <a:gd name="T91" fmla="*/ 2147483647 h 636"/>
                  <a:gd name="T92" fmla="*/ 2147483647 w 546"/>
                  <a:gd name="T93" fmla="*/ 2147483647 h 636"/>
                  <a:gd name="T94" fmla="*/ 2147483647 w 546"/>
                  <a:gd name="T95" fmla="*/ 2147483647 h 636"/>
                  <a:gd name="T96" fmla="*/ 2147483647 w 546"/>
                  <a:gd name="T97" fmla="*/ 2147483647 h 636"/>
                  <a:gd name="T98" fmla="*/ 2147483647 w 546"/>
                  <a:gd name="T99" fmla="*/ 2147483647 h 636"/>
                  <a:gd name="T100" fmla="*/ 2147483647 w 546"/>
                  <a:gd name="T101" fmla="*/ 2147483647 h 636"/>
                  <a:gd name="T102" fmla="*/ 2147483647 w 546"/>
                  <a:gd name="T103" fmla="*/ 2147483647 h 636"/>
                  <a:gd name="T104" fmla="*/ 2147483647 w 546"/>
                  <a:gd name="T105" fmla="*/ 2147483647 h 636"/>
                  <a:gd name="T106" fmla="*/ 2147483647 w 546"/>
                  <a:gd name="T107" fmla="*/ 2147483647 h 636"/>
                  <a:gd name="T108" fmla="*/ 2147483647 w 546"/>
                  <a:gd name="T109" fmla="*/ 0 h 636"/>
                  <a:gd name="T110" fmla="*/ 2147483647 w 546"/>
                  <a:gd name="T111" fmla="*/ 2147483647 h 636"/>
                  <a:gd name="T112" fmla="*/ 2147483647 w 546"/>
                  <a:gd name="T113" fmla="*/ 2147483647 h 636"/>
                  <a:gd name="T114" fmla="*/ 2147483647 w 546"/>
                  <a:gd name="T115" fmla="*/ 2147483647 h 636"/>
                  <a:gd name="T116" fmla="*/ 2147483647 w 546"/>
                  <a:gd name="T117" fmla="*/ 2147483647 h 6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46"/>
                  <a:gd name="T178" fmla="*/ 0 h 636"/>
                  <a:gd name="T179" fmla="*/ 546 w 546"/>
                  <a:gd name="T180" fmla="*/ 636 h 6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46" h="636">
                    <a:moveTo>
                      <a:pt x="324" y="1"/>
                    </a:moveTo>
                    <a:lnTo>
                      <a:pt x="320" y="5"/>
                    </a:lnTo>
                    <a:lnTo>
                      <a:pt x="316" y="7"/>
                    </a:lnTo>
                    <a:lnTo>
                      <a:pt x="311" y="9"/>
                    </a:lnTo>
                    <a:lnTo>
                      <a:pt x="311" y="13"/>
                    </a:lnTo>
                    <a:lnTo>
                      <a:pt x="308" y="17"/>
                    </a:lnTo>
                    <a:lnTo>
                      <a:pt x="306" y="20"/>
                    </a:lnTo>
                    <a:lnTo>
                      <a:pt x="301" y="21"/>
                    </a:lnTo>
                    <a:lnTo>
                      <a:pt x="298" y="23"/>
                    </a:lnTo>
                    <a:lnTo>
                      <a:pt x="295" y="29"/>
                    </a:lnTo>
                    <a:lnTo>
                      <a:pt x="291" y="29"/>
                    </a:lnTo>
                    <a:lnTo>
                      <a:pt x="286" y="30"/>
                    </a:lnTo>
                    <a:lnTo>
                      <a:pt x="282" y="30"/>
                    </a:lnTo>
                    <a:lnTo>
                      <a:pt x="278" y="31"/>
                    </a:lnTo>
                    <a:lnTo>
                      <a:pt x="273" y="29"/>
                    </a:lnTo>
                    <a:lnTo>
                      <a:pt x="268" y="30"/>
                    </a:lnTo>
                    <a:lnTo>
                      <a:pt x="265" y="33"/>
                    </a:lnTo>
                    <a:lnTo>
                      <a:pt x="260" y="35"/>
                    </a:lnTo>
                    <a:lnTo>
                      <a:pt x="256" y="38"/>
                    </a:lnTo>
                    <a:lnTo>
                      <a:pt x="251" y="40"/>
                    </a:lnTo>
                    <a:lnTo>
                      <a:pt x="250" y="45"/>
                    </a:lnTo>
                    <a:lnTo>
                      <a:pt x="245" y="47"/>
                    </a:lnTo>
                    <a:lnTo>
                      <a:pt x="244" y="53"/>
                    </a:lnTo>
                    <a:lnTo>
                      <a:pt x="240" y="53"/>
                    </a:lnTo>
                    <a:lnTo>
                      <a:pt x="235" y="54"/>
                    </a:lnTo>
                    <a:lnTo>
                      <a:pt x="232" y="54"/>
                    </a:lnTo>
                    <a:lnTo>
                      <a:pt x="227" y="52"/>
                    </a:lnTo>
                    <a:lnTo>
                      <a:pt x="223" y="52"/>
                    </a:lnTo>
                    <a:lnTo>
                      <a:pt x="218" y="53"/>
                    </a:lnTo>
                    <a:lnTo>
                      <a:pt x="214" y="54"/>
                    </a:lnTo>
                    <a:lnTo>
                      <a:pt x="209" y="52"/>
                    </a:lnTo>
                    <a:lnTo>
                      <a:pt x="202" y="55"/>
                    </a:lnTo>
                    <a:lnTo>
                      <a:pt x="199" y="59"/>
                    </a:lnTo>
                    <a:lnTo>
                      <a:pt x="194" y="60"/>
                    </a:lnTo>
                    <a:lnTo>
                      <a:pt x="190" y="61"/>
                    </a:lnTo>
                    <a:lnTo>
                      <a:pt x="185" y="62"/>
                    </a:lnTo>
                    <a:lnTo>
                      <a:pt x="181" y="64"/>
                    </a:lnTo>
                    <a:lnTo>
                      <a:pt x="176" y="65"/>
                    </a:lnTo>
                    <a:lnTo>
                      <a:pt x="175" y="70"/>
                    </a:lnTo>
                    <a:lnTo>
                      <a:pt x="170" y="73"/>
                    </a:lnTo>
                    <a:lnTo>
                      <a:pt x="167" y="68"/>
                    </a:lnTo>
                    <a:lnTo>
                      <a:pt x="165" y="64"/>
                    </a:lnTo>
                    <a:lnTo>
                      <a:pt x="160" y="64"/>
                    </a:lnTo>
                    <a:lnTo>
                      <a:pt x="157" y="59"/>
                    </a:lnTo>
                    <a:lnTo>
                      <a:pt x="155" y="56"/>
                    </a:lnTo>
                    <a:lnTo>
                      <a:pt x="149" y="53"/>
                    </a:lnTo>
                    <a:lnTo>
                      <a:pt x="145" y="53"/>
                    </a:lnTo>
                    <a:lnTo>
                      <a:pt x="140" y="51"/>
                    </a:lnTo>
                    <a:lnTo>
                      <a:pt x="136" y="50"/>
                    </a:lnTo>
                    <a:lnTo>
                      <a:pt x="131" y="51"/>
                    </a:lnTo>
                    <a:lnTo>
                      <a:pt x="127" y="51"/>
                    </a:lnTo>
                    <a:lnTo>
                      <a:pt x="125" y="55"/>
                    </a:lnTo>
                    <a:lnTo>
                      <a:pt x="126" y="59"/>
                    </a:lnTo>
                    <a:lnTo>
                      <a:pt x="127" y="63"/>
                    </a:lnTo>
                    <a:lnTo>
                      <a:pt x="129" y="68"/>
                    </a:lnTo>
                    <a:lnTo>
                      <a:pt x="133" y="69"/>
                    </a:lnTo>
                    <a:lnTo>
                      <a:pt x="138" y="70"/>
                    </a:lnTo>
                    <a:lnTo>
                      <a:pt x="142" y="69"/>
                    </a:lnTo>
                    <a:lnTo>
                      <a:pt x="138" y="70"/>
                    </a:lnTo>
                    <a:lnTo>
                      <a:pt x="134" y="71"/>
                    </a:lnTo>
                    <a:lnTo>
                      <a:pt x="134" y="75"/>
                    </a:lnTo>
                    <a:lnTo>
                      <a:pt x="130" y="78"/>
                    </a:lnTo>
                    <a:lnTo>
                      <a:pt x="129" y="81"/>
                    </a:lnTo>
                    <a:lnTo>
                      <a:pt x="127" y="87"/>
                    </a:lnTo>
                    <a:lnTo>
                      <a:pt x="125" y="91"/>
                    </a:lnTo>
                    <a:lnTo>
                      <a:pt x="126" y="95"/>
                    </a:lnTo>
                    <a:lnTo>
                      <a:pt x="128" y="98"/>
                    </a:lnTo>
                    <a:lnTo>
                      <a:pt x="129" y="103"/>
                    </a:lnTo>
                    <a:lnTo>
                      <a:pt x="127" y="107"/>
                    </a:lnTo>
                    <a:lnTo>
                      <a:pt x="125" y="109"/>
                    </a:lnTo>
                    <a:lnTo>
                      <a:pt x="120" y="113"/>
                    </a:lnTo>
                    <a:lnTo>
                      <a:pt x="116" y="113"/>
                    </a:lnTo>
                    <a:lnTo>
                      <a:pt x="111" y="114"/>
                    </a:lnTo>
                    <a:lnTo>
                      <a:pt x="107" y="114"/>
                    </a:lnTo>
                    <a:lnTo>
                      <a:pt x="102" y="115"/>
                    </a:lnTo>
                    <a:lnTo>
                      <a:pt x="98" y="118"/>
                    </a:lnTo>
                    <a:lnTo>
                      <a:pt x="96" y="121"/>
                    </a:lnTo>
                    <a:lnTo>
                      <a:pt x="92" y="123"/>
                    </a:lnTo>
                    <a:lnTo>
                      <a:pt x="88" y="129"/>
                    </a:lnTo>
                    <a:lnTo>
                      <a:pt x="85" y="134"/>
                    </a:lnTo>
                    <a:lnTo>
                      <a:pt x="80" y="136"/>
                    </a:lnTo>
                    <a:lnTo>
                      <a:pt x="76" y="141"/>
                    </a:lnTo>
                    <a:lnTo>
                      <a:pt x="72" y="143"/>
                    </a:lnTo>
                    <a:lnTo>
                      <a:pt x="68" y="147"/>
                    </a:lnTo>
                    <a:lnTo>
                      <a:pt x="66" y="150"/>
                    </a:lnTo>
                    <a:lnTo>
                      <a:pt x="64" y="156"/>
                    </a:lnTo>
                    <a:lnTo>
                      <a:pt x="61" y="158"/>
                    </a:lnTo>
                    <a:lnTo>
                      <a:pt x="58" y="162"/>
                    </a:lnTo>
                    <a:lnTo>
                      <a:pt x="57" y="167"/>
                    </a:lnTo>
                    <a:lnTo>
                      <a:pt x="57" y="171"/>
                    </a:lnTo>
                    <a:lnTo>
                      <a:pt x="62" y="172"/>
                    </a:lnTo>
                    <a:lnTo>
                      <a:pt x="67" y="174"/>
                    </a:lnTo>
                    <a:lnTo>
                      <a:pt x="69" y="177"/>
                    </a:lnTo>
                    <a:lnTo>
                      <a:pt x="70" y="182"/>
                    </a:lnTo>
                    <a:lnTo>
                      <a:pt x="68" y="186"/>
                    </a:lnTo>
                    <a:lnTo>
                      <a:pt x="67" y="189"/>
                    </a:lnTo>
                    <a:lnTo>
                      <a:pt x="62" y="190"/>
                    </a:lnTo>
                    <a:lnTo>
                      <a:pt x="61" y="195"/>
                    </a:lnTo>
                    <a:lnTo>
                      <a:pt x="59" y="200"/>
                    </a:lnTo>
                    <a:lnTo>
                      <a:pt x="62" y="203"/>
                    </a:lnTo>
                    <a:lnTo>
                      <a:pt x="64" y="207"/>
                    </a:lnTo>
                    <a:lnTo>
                      <a:pt x="65" y="211"/>
                    </a:lnTo>
                    <a:lnTo>
                      <a:pt x="70" y="212"/>
                    </a:lnTo>
                    <a:lnTo>
                      <a:pt x="73" y="217"/>
                    </a:lnTo>
                    <a:lnTo>
                      <a:pt x="78" y="218"/>
                    </a:lnTo>
                    <a:lnTo>
                      <a:pt x="80" y="221"/>
                    </a:lnTo>
                    <a:lnTo>
                      <a:pt x="84" y="222"/>
                    </a:lnTo>
                    <a:lnTo>
                      <a:pt x="90" y="225"/>
                    </a:lnTo>
                    <a:lnTo>
                      <a:pt x="90" y="229"/>
                    </a:lnTo>
                    <a:lnTo>
                      <a:pt x="86" y="233"/>
                    </a:lnTo>
                    <a:lnTo>
                      <a:pt x="82" y="238"/>
                    </a:lnTo>
                    <a:lnTo>
                      <a:pt x="81" y="243"/>
                    </a:lnTo>
                    <a:lnTo>
                      <a:pt x="79" y="246"/>
                    </a:lnTo>
                    <a:lnTo>
                      <a:pt x="79" y="250"/>
                    </a:lnTo>
                    <a:lnTo>
                      <a:pt x="84" y="253"/>
                    </a:lnTo>
                    <a:lnTo>
                      <a:pt x="87" y="256"/>
                    </a:lnTo>
                    <a:lnTo>
                      <a:pt x="87" y="260"/>
                    </a:lnTo>
                    <a:lnTo>
                      <a:pt x="88" y="264"/>
                    </a:lnTo>
                    <a:lnTo>
                      <a:pt x="89" y="269"/>
                    </a:lnTo>
                    <a:lnTo>
                      <a:pt x="94" y="270"/>
                    </a:lnTo>
                    <a:lnTo>
                      <a:pt x="98" y="269"/>
                    </a:lnTo>
                    <a:lnTo>
                      <a:pt x="103" y="268"/>
                    </a:lnTo>
                    <a:lnTo>
                      <a:pt x="107" y="268"/>
                    </a:lnTo>
                    <a:lnTo>
                      <a:pt x="112" y="267"/>
                    </a:lnTo>
                    <a:lnTo>
                      <a:pt x="116" y="267"/>
                    </a:lnTo>
                    <a:lnTo>
                      <a:pt x="116" y="271"/>
                    </a:lnTo>
                    <a:lnTo>
                      <a:pt x="115" y="276"/>
                    </a:lnTo>
                    <a:lnTo>
                      <a:pt x="115" y="279"/>
                    </a:lnTo>
                    <a:lnTo>
                      <a:pt x="118" y="284"/>
                    </a:lnTo>
                    <a:lnTo>
                      <a:pt x="123" y="287"/>
                    </a:lnTo>
                    <a:lnTo>
                      <a:pt x="127" y="287"/>
                    </a:lnTo>
                    <a:lnTo>
                      <a:pt x="130" y="284"/>
                    </a:lnTo>
                    <a:lnTo>
                      <a:pt x="127" y="287"/>
                    </a:lnTo>
                    <a:lnTo>
                      <a:pt x="126" y="292"/>
                    </a:lnTo>
                    <a:lnTo>
                      <a:pt x="122" y="295"/>
                    </a:lnTo>
                    <a:lnTo>
                      <a:pt x="118" y="298"/>
                    </a:lnTo>
                    <a:lnTo>
                      <a:pt x="113" y="301"/>
                    </a:lnTo>
                    <a:lnTo>
                      <a:pt x="110" y="305"/>
                    </a:lnTo>
                    <a:lnTo>
                      <a:pt x="108" y="309"/>
                    </a:lnTo>
                    <a:lnTo>
                      <a:pt x="104" y="313"/>
                    </a:lnTo>
                    <a:lnTo>
                      <a:pt x="102" y="316"/>
                    </a:lnTo>
                    <a:lnTo>
                      <a:pt x="101" y="321"/>
                    </a:lnTo>
                    <a:lnTo>
                      <a:pt x="98" y="325"/>
                    </a:lnTo>
                    <a:lnTo>
                      <a:pt x="97" y="330"/>
                    </a:lnTo>
                    <a:lnTo>
                      <a:pt x="97" y="334"/>
                    </a:lnTo>
                    <a:lnTo>
                      <a:pt x="98" y="339"/>
                    </a:lnTo>
                    <a:lnTo>
                      <a:pt x="100" y="341"/>
                    </a:lnTo>
                    <a:lnTo>
                      <a:pt x="97" y="344"/>
                    </a:lnTo>
                    <a:lnTo>
                      <a:pt x="92" y="347"/>
                    </a:lnTo>
                    <a:lnTo>
                      <a:pt x="88" y="350"/>
                    </a:lnTo>
                    <a:lnTo>
                      <a:pt x="83" y="351"/>
                    </a:lnTo>
                    <a:lnTo>
                      <a:pt x="79" y="351"/>
                    </a:lnTo>
                    <a:lnTo>
                      <a:pt x="74" y="349"/>
                    </a:lnTo>
                    <a:lnTo>
                      <a:pt x="70" y="345"/>
                    </a:lnTo>
                    <a:lnTo>
                      <a:pt x="69" y="343"/>
                    </a:lnTo>
                    <a:lnTo>
                      <a:pt x="64" y="340"/>
                    </a:lnTo>
                    <a:lnTo>
                      <a:pt x="60" y="341"/>
                    </a:lnTo>
                    <a:lnTo>
                      <a:pt x="55" y="341"/>
                    </a:lnTo>
                    <a:lnTo>
                      <a:pt x="51" y="342"/>
                    </a:lnTo>
                    <a:lnTo>
                      <a:pt x="52" y="347"/>
                    </a:lnTo>
                    <a:lnTo>
                      <a:pt x="54" y="350"/>
                    </a:lnTo>
                    <a:lnTo>
                      <a:pt x="53" y="355"/>
                    </a:lnTo>
                    <a:lnTo>
                      <a:pt x="50" y="359"/>
                    </a:lnTo>
                    <a:lnTo>
                      <a:pt x="49" y="363"/>
                    </a:lnTo>
                    <a:lnTo>
                      <a:pt x="47" y="368"/>
                    </a:lnTo>
                    <a:lnTo>
                      <a:pt x="43" y="368"/>
                    </a:lnTo>
                    <a:lnTo>
                      <a:pt x="42" y="373"/>
                    </a:lnTo>
                    <a:lnTo>
                      <a:pt x="38" y="375"/>
                    </a:lnTo>
                    <a:lnTo>
                      <a:pt x="33" y="376"/>
                    </a:lnTo>
                    <a:lnTo>
                      <a:pt x="29" y="375"/>
                    </a:lnTo>
                    <a:lnTo>
                      <a:pt x="24" y="377"/>
                    </a:lnTo>
                    <a:lnTo>
                      <a:pt x="25" y="381"/>
                    </a:lnTo>
                    <a:lnTo>
                      <a:pt x="26" y="386"/>
                    </a:lnTo>
                    <a:lnTo>
                      <a:pt x="28" y="388"/>
                    </a:lnTo>
                    <a:lnTo>
                      <a:pt x="33" y="390"/>
                    </a:lnTo>
                    <a:lnTo>
                      <a:pt x="37" y="389"/>
                    </a:lnTo>
                    <a:lnTo>
                      <a:pt x="41" y="394"/>
                    </a:lnTo>
                    <a:lnTo>
                      <a:pt x="43" y="396"/>
                    </a:lnTo>
                    <a:lnTo>
                      <a:pt x="44" y="401"/>
                    </a:lnTo>
                    <a:lnTo>
                      <a:pt x="46" y="405"/>
                    </a:lnTo>
                    <a:lnTo>
                      <a:pt x="47" y="409"/>
                    </a:lnTo>
                    <a:lnTo>
                      <a:pt x="49" y="413"/>
                    </a:lnTo>
                    <a:lnTo>
                      <a:pt x="50" y="418"/>
                    </a:lnTo>
                    <a:lnTo>
                      <a:pt x="46" y="418"/>
                    </a:lnTo>
                    <a:lnTo>
                      <a:pt x="41" y="421"/>
                    </a:lnTo>
                    <a:lnTo>
                      <a:pt x="37" y="419"/>
                    </a:lnTo>
                    <a:lnTo>
                      <a:pt x="32" y="420"/>
                    </a:lnTo>
                    <a:lnTo>
                      <a:pt x="28" y="421"/>
                    </a:lnTo>
                    <a:lnTo>
                      <a:pt x="23" y="421"/>
                    </a:lnTo>
                    <a:lnTo>
                      <a:pt x="20" y="424"/>
                    </a:lnTo>
                    <a:lnTo>
                      <a:pt x="18" y="427"/>
                    </a:lnTo>
                    <a:lnTo>
                      <a:pt x="13" y="428"/>
                    </a:lnTo>
                    <a:lnTo>
                      <a:pt x="12" y="433"/>
                    </a:lnTo>
                    <a:lnTo>
                      <a:pt x="7" y="436"/>
                    </a:lnTo>
                    <a:lnTo>
                      <a:pt x="3" y="436"/>
                    </a:lnTo>
                    <a:lnTo>
                      <a:pt x="4" y="439"/>
                    </a:lnTo>
                    <a:lnTo>
                      <a:pt x="4" y="444"/>
                    </a:lnTo>
                    <a:lnTo>
                      <a:pt x="3" y="451"/>
                    </a:lnTo>
                    <a:lnTo>
                      <a:pt x="4" y="454"/>
                    </a:lnTo>
                    <a:lnTo>
                      <a:pt x="6" y="459"/>
                    </a:lnTo>
                    <a:lnTo>
                      <a:pt x="5" y="463"/>
                    </a:lnTo>
                    <a:lnTo>
                      <a:pt x="0" y="468"/>
                    </a:lnTo>
                    <a:lnTo>
                      <a:pt x="1" y="472"/>
                    </a:lnTo>
                    <a:lnTo>
                      <a:pt x="3" y="475"/>
                    </a:lnTo>
                    <a:lnTo>
                      <a:pt x="7" y="479"/>
                    </a:lnTo>
                    <a:lnTo>
                      <a:pt x="9" y="483"/>
                    </a:lnTo>
                    <a:lnTo>
                      <a:pt x="10" y="487"/>
                    </a:lnTo>
                    <a:lnTo>
                      <a:pt x="12" y="490"/>
                    </a:lnTo>
                    <a:lnTo>
                      <a:pt x="15" y="495"/>
                    </a:lnTo>
                    <a:lnTo>
                      <a:pt x="18" y="498"/>
                    </a:lnTo>
                    <a:lnTo>
                      <a:pt x="23" y="499"/>
                    </a:lnTo>
                    <a:lnTo>
                      <a:pt x="25" y="504"/>
                    </a:lnTo>
                    <a:lnTo>
                      <a:pt x="31" y="508"/>
                    </a:lnTo>
                    <a:lnTo>
                      <a:pt x="33" y="511"/>
                    </a:lnTo>
                    <a:lnTo>
                      <a:pt x="36" y="515"/>
                    </a:lnTo>
                    <a:lnTo>
                      <a:pt x="40" y="519"/>
                    </a:lnTo>
                    <a:lnTo>
                      <a:pt x="42" y="522"/>
                    </a:lnTo>
                    <a:lnTo>
                      <a:pt x="43" y="527"/>
                    </a:lnTo>
                    <a:lnTo>
                      <a:pt x="43" y="531"/>
                    </a:lnTo>
                    <a:lnTo>
                      <a:pt x="47" y="530"/>
                    </a:lnTo>
                    <a:lnTo>
                      <a:pt x="51" y="534"/>
                    </a:lnTo>
                    <a:lnTo>
                      <a:pt x="55" y="533"/>
                    </a:lnTo>
                    <a:lnTo>
                      <a:pt x="57" y="537"/>
                    </a:lnTo>
                    <a:lnTo>
                      <a:pt x="61" y="541"/>
                    </a:lnTo>
                    <a:lnTo>
                      <a:pt x="61" y="544"/>
                    </a:lnTo>
                    <a:lnTo>
                      <a:pt x="64" y="549"/>
                    </a:lnTo>
                    <a:lnTo>
                      <a:pt x="66" y="552"/>
                    </a:lnTo>
                    <a:lnTo>
                      <a:pt x="67" y="557"/>
                    </a:lnTo>
                    <a:lnTo>
                      <a:pt x="69" y="560"/>
                    </a:lnTo>
                    <a:lnTo>
                      <a:pt x="72" y="563"/>
                    </a:lnTo>
                    <a:lnTo>
                      <a:pt x="72" y="568"/>
                    </a:lnTo>
                    <a:lnTo>
                      <a:pt x="77" y="570"/>
                    </a:lnTo>
                    <a:lnTo>
                      <a:pt x="82" y="571"/>
                    </a:lnTo>
                    <a:lnTo>
                      <a:pt x="86" y="570"/>
                    </a:lnTo>
                    <a:lnTo>
                      <a:pt x="91" y="570"/>
                    </a:lnTo>
                    <a:lnTo>
                      <a:pt x="94" y="567"/>
                    </a:lnTo>
                    <a:lnTo>
                      <a:pt x="96" y="563"/>
                    </a:lnTo>
                    <a:lnTo>
                      <a:pt x="101" y="562"/>
                    </a:lnTo>
                    <a:lnTo>
                      <a:pt x="102" y="558"/>
                    </a:lnTo>
                    <a:lnTo>
                      <a:pt x="105" y="554"/>
                    </a:lnTo>
                    <a:lnTo>
                      <a:pt x="108" y="548"/>
                    </a:lnTo>
                    <a:lnTo>
                      <a:pt x="113" y="546"/>
                    </a:lnTo>
                    <a:lnTo>
                      <a:pt x="117" y="544"/>
                    </a:lnTo>
                    <a:lnTo>
                      <a:pt x="121" y="543"/>
                    </a:lnTo>
                    <a:lnTo>
                      <a:pt x="126" y="544"/>
                    </a:lnTo>
                    <a:lnTo>
                      <a:pt x="131" y="543"/>
                    </a:lnTo>
                    <a:lnTo>
                      <a:pt x="135" y="543"/>
                    </a:lnTo>
                    <a:lnTo>
                      <a:pt x="140" y="544"/>
                    </a:lnTo>
                    <a:lnTo>
                      <a:pt x="144" y="546"/>
                    </a:lnTo>
                    <a:lnTo>
                      <a:pt x="149" y="548"/>
                    </a:lnTo>
                    <a:lnTo>
                      <a:pt x="154" y="549"/>
                    </a:lnTo>
                    <a:lnTo>
                      <a:pt x="159" y="550"/>
                    </a:lnTo>
                    <a:lnTo>
                      <a:pt x="161" y="554"/>
                    </a:lnTo>
                    <a:lnTo>
                      <a:pt x="164" y="558"/>
                    </a:lnTo>
                    <a:lnTo>
                      <a:pt x="169" y="557"/>
                    </a:lnTo>
                    <a:lnTo>
                      <a:pt x="171" y="562"/>
                    </a:lnTo>
                    <a:lnTo>
                      <a:pt x="174" y="565"/>
                    </a:lnTo>
                    <a:lnTo>
                      <a:pt x="177" y="569"/>
                    </a:lnTo>
                    <a:lnTo>
                      <a:pt x="180" y="573"/>
                    </a:lnTo>
                    <a:lnTo>
                      <a:pt x="182" y="576"/>
                    </a:lnTo>
                    <a:lnTo>
                      <a:pt x="185" y="580"/>
                    </a:lnTo>
                    <a:lnTo>
                      <a:pt x="188" y="584"/>
                    </a:lnTo>
                    <a:lnTo>
                      <a:pt x="192" y="585"/>
                    </a:lnTo>
                    <a:lnTo>
                      <a:pt x="192" y="589"/>
                    </a:lnTo>
                    <a:lnTo>
                      <a:pt x="193" y="594"/>
                    </a:lnTo>
                    <a:lnTo>
                      <a:pt x="191" y="598"/>
                    </a:lnTo>
                    <a:lnTo>
                      <a:pt x="188" y="603"/>
                    </a:lnTo>
                    <a:lnTo>
                      <a:pt x="187" y="607"/>
                    </a:lnTo>
                    <a:lnTo>
                      <a:pt x="187" y="610"/>
                    </a:lnTo>
                    <a:lnTo>
                      <a:pt x="188" y="615"/>
                    </a:lnTo>
                    <a:lnTo>
                      <a:pt x="188" y="619"/>
                    </a:lnTo>
                    <a:lnTo>
                      <a:pt x="189" y="623"/>
                    </a:lnTo>
                    <a:lnTo>
                      <a:pt x="191" y="627"/>
                    </a:lnTo>
                    <a:lnTo>
                      <a:pt x="196" y="629"/>
                    </a:lnTo>
                    <a:lnTo>
                      <a:pt x="200" y="631"/>
                    </a:lnTo>
                    <a:lnTo>
                      <a:pt x="205" y="630"/>
                    </a:lnTo>
                    <a:lnTo>
                      <a:pt x="209" y="629"/>
                    </a:lnTo>
                    <a:lnTo>
                      <a:pt x="214" y="629"/>
                    </a:lnTo>
                    <a:lnTo>
                      <a:pt x="217" y="626"/>
                    </a:lnTo>
                    <a:lnTo>
                      <a:pt x="220" y="621"/>
                    </a:lnTo>
                    <a:lnTo>
                      <a:pt x="223" y="618"/>
                    </a:lnTo>
                    <a:lnTo>
                      <a:pt x="228" y="616"/>
                    </a:lnTo>
                    <a:lnTo>
                      <a:pt x="232" y="613"/>
                    </a:lnTo>
                    <a:lnTo>
                      <a:pt x="236" y="611"/>
                    </a:lnTo>
                    <a:lnTo>
                      <a:pt x="240" y="610"/>
                    </a:lnTo>
                    <a:lnTo>
                      <a:pt x="246" y="611"/>
                    </a:lnTo>
                    <a:lnTo>
                      <a:pt x="253" y="610"/>
                    </a:lnTo>
                    <a:lnTo>
                      <a:pt x="257" y="610"/>
                    </a:lnTo>
                    <a:lnTo>
                      <a:pt x="262" y="609"/>
                    </a:lnTo>
                    <a:lnTo>
                      <a:pt x="266" y="611"/>
                    </a:lnTo>
                    <a:lnTo>
                      <a:pt x="271" y="610"/>
                    </a:lnTo>
                    <a:lnTo>
                      <a:pt x="275" y="611"/>
                    </a:lnTo>
                    <a:lnTo>
                      <a:pt x="277" y="615"/>
                    </a:lnTo>
                    <a:lnTo>
                      <a:pt x="281" y="620"/>
                    </a:lnTo>
                    <a:lnTo>
                      <a:pt x="283" y="622"/>
                    </a:lnTo>
                    <a:lnTo>
                      <a:pt x="284" y="627"/>
                    </a:lnTo>
                    <a:lnTo>
                      <a:pt x="285" y="631"/>
                    </a:lnTo>
                    <a:lnTo>
                      <a:pt x="289" y="632"/>
                    </a:lnTo>
                    <a:lnTo>
                      <a:pt x="294" y="634"/>
                    </a:lnTo>
                    <a:lnTo>
                      <a:pt x="298" y="636"/>
                    </a:lnTo>
                    <a:lnTo>
                      <a:pt x="303" y="635"/>
                    </a:lnTo>
                    <a:lnTo>
                      <a:pt x="307" y="634"/>
                    </a:lnTo>
                    <a:lnTo>
                      <a:pt x="312" y="634"/>
                    </a:lnTo>
                    <a:lnTo>
                      <a:pt x="315" y="631"/>
                    </a:lnTo>
                    <a:lnTo>
                      <a:pt x="314" y="627"/>
                    </a:lnTo>
                    <a:lnTo>
                      <a:pt x="319" y="625"/>
                    </a:lnTo>
                    <a:lnTo>
                      <a:pt x="320" y="619"/>
                    </a:lnTo>
                    <a:lnTo>
                      <a:pt x="320" y="616"/>
                    </a:lnTo>
                    <a:lnTo>
                      <a:pt x="318" y="613"/>
                    </a:lnTo>
                    <a:lnTo>
                      <a:pt x="319" y="608"/>
                    </a:lnTo>
                    <a:lnTo>
                      <a:pt x="324" y="607"/>
                    </a:lnTo>
                    <a:lnTo>
                      <a:pt x="328" y="606"/>
                    </a:lnTo>
                    <a:lnTo>
                      <a:pt x="333" y="606"/>
                    </a:lnTo>
                    <a:lnTo>
                      <a:pt x="337" y="605"/>
                    </a:lnTo>
                    <a:lnTo>
                      <a:pt x="342" y="605"/>
                    </a:lnTo>
                    <a:lnTo>
                      <a:pt x="346" y="604"/>
                    </a:lnTo>
                    <a:lnTo>
                      <a:pt x="350" y="601"/>
                    </a:lnTo>
                    <a:lnTo>
                      <a:pt x="354" y="601"/>
                    </a:lnTo>
                    <a:lnTo>
                      <a:pt x="357" y="596"/>
                    </a:lnTo>
                    <a:lnTo>
                      <a:pt x="353" y="593"/>
                    </a:lnTo>
                    <a:lnTo>
                      <a:pt x="349" y="593"/>
                    </a:lnTo>
                    <a:lnTo>
                      <a:pt x="344" y="592"/>
                    </a:lnTo>
                    <a:lnTo>
                      <a:pt x="340" y="590"/>
                    </a:lnTo>
                    <a:lnTo>
                      <a:pt x="341" y="586"/>
                    </a:lnTo>
                    <a:lnTo>
                      <a:pt x="343" y="582"/>
                    </a:lnTo>
                    <a:lnTo>
                      <a:pt x="342" y="577"/>
                    </a:lnTo>
                    <a:lnTo>
                      <a:pt x="338" y="577"/>
                    </a:lnTo>
                    <a:lnTo>
                      <a:pt x="333" y="575"/>
                    </a:lnTo>
                    <a:lnTo>
                      <a:pt x="332" y="571"/>
                    </a:lnTo>
                    <a:lnTo>
                      <a:pt x="331" y="567"/>
                    </a:lnTo>
                    <a:lnTo>
                      <a:pt x="334" y="562"/>
                    </a:lnTo>
                    <a:lnTo>
                      <a:pt x="335" y="558"/>
                    </a:lnTo>
                    <a:lnTo>
                      <a:pt x="339" y="554"/>
                    </a:lnTo>
                    <a:lnTo>
                      <a:pt x="341" y="551"/>
                    </a:lnTo>
                    <a:lnTo>
                      <a:pt x="345" y="549"/>
                    </a:lnTo>
                    <a:lnTo>
                      <a:pt x="350" y="546"/>
                    </a:lnTo>
                    <a:lnTo>
                      <a:pt x="353" y="542"/>
                    </a:lnTo>
                    <a:lnTo>
                      <a:pt x="358" y="540"/>
                    </a:lnTo>
                    <a:lnTo>
                      <a:pt x="362" y="537"/>
                    </a:lnTo>
                    <a:lnTo>
                      <a:pt x="367" y="536"/>
                    </a:lnTo>
                    <a:lnTo>
                      <a:pt x="371" y="535"/>
                    </a:lnTo>
                    <a:lnTo>
                      <a:pt x="375" y="531"/>
                    </a:lnTo>
                    <a:lnTo>
                      <a:pt x="379" y="529"/>
                    </a:lnTo>
                    <a:lnTo>
                      <a:pt x="378" y="525"/>
                    </a:lnTo>
                    <a:lnTo>
                      <a:pt x="383" y="524"/>
                    </a:lnTo>
                    <a:lnTo>
                      <a:pt x="387" y="520"/>
                    </a:lnTo>
                    <a:lnTo>
                      <a:pt x="391" y="517"/>
                    </a:lnTo>
                    <a:lnTo>
                      <a:pt x="395" y="515"/>
                    </a:lnTo>
                    <a:lnTo>
                      <a:pt x="400" y="512"/>
                    </a:lnTo>
                    <a:lnTo>
                      <a:pt x="404" y="511"/>
                    </a:lnTo>
                    <a:lnTo>
                      <a:pt x="409" y="511"/>
                    </a:lnTo>
                    <a:lnTo>
                      <a:pt x="412" y="512"/>
                    </a:lnTo>
                    <a:lnTo>
                      <a:pt x="415" y="516"/>
                    </a:lnTo>
                    <a:lnTo>
                      <a:pt x="419" y="515"/>
                    </a:lnTo>
                    <a:lnTo>
                      <a:pt x="424" y="513"/>
                    </a:lnTo>
                    <a:lnTo>
                      <a:pt x="426" y="508"/>
                    </a:lnTo>
                    <a:lnTo>
                      <a:pt x="430" y="508"/>
                    </a:lnTo>
                    <a:lnTo>
                      <a:pt x="434" y="504"/>
                    </a:lnTo>
                    <a:lnTo>
                      <a:pt x="438" y="504"/>
                    </a:lnTo>
                    <a:lnTo>
                      <a:pt x="443" y="501"/>
                    </a:lnTo>
                    <a:lnTo>
                      <a:pt x="447" y="503"/>
                    </a:lnTo>
                    <a:lnTo>
                      <a:pt x="448" y="508"/>
                    </a:lnTo>
                    <a:lnTo>
                      <a:pt x="446" y="512"/>
                    </a:lnTo>
                    <a:lnTo>
                      <a:pt x="445" y="516"/>
                    </a:lnTo>
                    <a:lnTo>
                      <a:pt x="440" y="519"/>
                    </a:lnTo>
                    <a:lnTo>
                      <a:pt x="439" y="523"/>
                    </a:lnTo>
                    <a:lnTo>
                      <a:pt x="435" y="526"/>
                    </a:lnTo>
                    <a:lnTo>
                      <a:pt x="435" y="529"/>
                    </a:lnTo>
                    <a:lnTo>
                      <a:pt x="433" y="535"/>
                    </a:lnTo>
                    <a:lnTo>
                      <a:pt x="434" y="539"/>
                    </a:lnTo>
                    <a:lnTo>
                      <a:pt x="439" y="538"/>
                    </a:lnTo>
                    <a:lnTo>
                      <a:pt x="443" y="537"/>
                    </a:lnTo>
                    <a:lnTo>
                      <a:pt x="447" y="535"/>
                    </a:lnTo>
                    <a:lnTo>
                      <a:pt x="451" y="529"/>
                    </a:lnTo>
                    <a:lnTo>
                      <a:pt x="450" y="525"/>
                    </a:lnTo>
                    <a:lnTo>
                      <a:pt x="452" y="521"/>
                    </a:lnTo>
                    <a:lnTo>
                      <a:pt x="456" y="518"/>
                    </a:lnTo>
                    <a:lnTo>
                      <a:pt x="461" y="516"/>
                    </a:lnTo>
                    <a:lnTo>
                      <a:pt x="462" y="511"/>
                    </a:lnTo>
                    <a:lnTo>
                      <a:pt x="466" y="507"/>
                    </a:lnTo>
                    <a:lnTo>
                      <a:pt x="470" y="504"/>
                    </a:lnTo>
                    <a:lnTo>
                      <a:pt x="475" y="504"/>
                    </a:lnTo>
                    <a:lnTo>
                      <a:pt x="479" y="501"/>
                    </a:lnTo>
                    <a:lnTo>
                      <a:pt x="478" y="496"/>
                    </a:lnTo>
                    <a:lnTo>
                      <a:pt x="480" y="493"/>
                    </a:lnTo>
                    <a:lnTo>
                      <a:pt x="476" y="491"/>
                    </a:lnTo>
                    <a:lnTo>
                      <a:pt x="475" y="487"/>
                    </a:lnTo>
                    <a:lnTo>
                      <a:pt x="475" y="483"/>
                    </a:lnTo>
                    <a:lnTo>
                      <a:pt x="474" y="479"/>
                    </a:lnTo>
                    <a:lnTo>
                      <a:pt x="473" y="474"/>
                    </a:lnTo>
                    <a:lnTo>
                      <a:pt x="477" y="472"/>
                    </a:lnTo>
                    <a:lnTo>
                      <a:pt x="482" y="470"/>
                    </a:lnTo>
                    <a:lnTo>
                      <a:pt x="486" y="467"/>
                    </a:lnTo>
                    <a:lnTo>
                      <a:pt x="491" y="466"/>
                    </a:lnTo>
                    <a:lnTo>
                      <a:pt x="494" y="464"/>
                    </a:lnTo>
                    <a:lnTo>
                      <a:pt x="499" y="463"/>
                    </a:lnTo>
                    <a:lnTo>
                      <a:pt x="503" y="463"/>
                    </a:lnTo>
                    <a:lnTo>
                      <a:pt x="508" y="459"/>
                    </a:lnTo>
                    <a:lnTo>
                      <a:pt x="507" y="456"/>
                    </a:lnTo>
                    <a:lnTo>
                      <a:pt x="502" y="455"/>
                    </a:lnTo>
                    <a:lnTo>
                      <a:pt x="499" y="450"/>
                    </a:lnTo>
                    <a:lnTo>
                      <a:pt x="499" y="446"/>
                    </a:lnTo>
                    <a:lnTo>
                      <a:pt x="504" y="445"/>
                    </a:lnTo>
                    <a:lnTo>
                      <a:pt x="505" y="441"/>
                    </a:lnTo>
                    <a:lnTo>
                      <a:pt x="509" y="439"/>
                    </a:lnTo>
                    <a:lnTo>
                      <a:pt x="514" y="438"/>
                    </a:lnTo>
                    <a:lnTo>
                      <a:pt x="517" y="436"/>
                    </a:lnTo>
                    <a:lnTo>
                      <a:pt x="519" y="430"/>
                    </a:lnTo>
                    <a:lnTo>
                      <a:pt x="521" y="427"/>
                    </a:lnTo>
                    <a:lnTo>
                      <a:pt x="522" y="422"/>
                    </a:lnTo>
                    <a:lnTo>
                      <a:pt x="518" y="422"/>
                    </a:lnTo>
                    <a:lnTo>
                      <a:pt x="514" y="419"/>
                    </a:lnTo>
                    <a:lnTo>
                      <a:pt x="511" y="418"/>
                    </a:lnTo>
                    <a:lnTo>
                      <a:pt x="506" y="419"/>
                    </a:lnTo>
                    <a:lnTo>
                      <a:pt x="503" y="420"/>
                    </a:lnTo>
                    <a:lnTo>
                      <a:pt x="498" y="423"/>
                    </a:lnTo>
                    <a:lnTo>
                      <a:pt x="496" y="428"/>
                    </a:lnTo>
                    <a:lnTo>
                      <a:pt x="495" y="433"/>
                    </a:lnTo>
                    <a:lnTo>
                      <a:pt x="490" y="434"/>
                    </a:lnTo>
                    <a:lnTo>
                      <a:pt x="489" y="439"/>
                    </a:lnTo>
                    <a:lnTo>
                      <a:pt x="485" y="442"/>
                    </a:lnTo>
                    <a:lnTo>
                      <a:pt x="481" y="445"/>
                    </a:lnTo>
                    <a:lnTo>
                      <a:pt x="477" y="445"/>
                    </a:lnTo>
                    <a:lnTo>
                      <a:pt x="473" y="442"/>
                    </a:lnTo>
                    <a:lnTo>
                      <a:pt x="470" y="437"/>
                    </a:lnTo>
                    <a:lnTo>
                      <a:pt x="466" y="436"/>
                    </a:lnTo>
                    <a:lnTo>
                      <a:pt x="466" y="432"/>
                    </a:lnTo>
                    <a:lnTo>
                      <a:pt x="465" y="427"/>
                    </a:lnTo>
                    <a:lnTo>
                      <a:pt x="462" y="425"/>
                    </a:lnTo>
                    <a:lnTo>
                      <a:pt x="459" y="420"/>
                    </a:lnTo>
                    <a:lnTo>
                      <a:pt x="459" y="416"/>
                    </a:lnTo>
                    <a:lnTo>
                      <a:pt x="458" y="412"/>
                    </a:lnTo>
                    <a:lnTo>
                      <a:pt x="457" y="408"/>
                    </a:lnTo>
                    <a:lnTo>
                      <a:pt x="457" y="403"/>
                    </a:lnTo>
                    <a:lnTo>
                      <a:pt x="452" y="404"/>
                    </a:lnTo>
                    <a:lnTo>
                      <a:pt x="448" y="405"/>
                    </a:lnTo>
                    <a:lnTo>
                      <a:pt x="447" y="402"/>
                    </a:lnTo>
                    <a:lnTo>
                      <a:pt x="445" y="397"/>
                    </a:lnTo>
                    <a:lnTo>
                      <a:pt x="444" y="393"/>
                    </a:lnTo>
                    <a:lnTo>
                      <a:pt x="441" y="387"/>
                    </a:lnTo>
                    <a:lnTo>
                      <a:pt x="440" y="383"/>
                    </a:lnTo>
                    <a:lnTo>
                      <a:pt x="439" y="379"/>
                    </a:lnTo>
                    <a:lnTo>
                      <a:pt x="439" y="375"/>
                    </a:lnTo>
                    <a:lnTo>
                      <a:pt x="438" y="371"/>
                    </a:lnTo>
                    <a:lnTo>
                      <a:pt x="438" y="368"/>
                    </a:lnTo>
                    <a:lnTo>
                      <a:pt x="443" y="368"/>
                    </a:lnTo>
                    <a:lnTo>
                      <a:pt x="444" y="373"/>
                    </a:lnTo>
                    <a:lnTo>
                      <a:pt x="445" y="368"/>
                    </a:lnTo>
                    <a:lnTo>
                      <a:pt x="445" y="365"/>
                    </a:lnTo>
                    <a:lnTo>
                      <a:pt x="444" y="360"/>
                    </a:lnTo>
                    <a:lnTo>
                      <a:pt x="443" y="356"/>
                    </a:lnTo>
                    <a:lnTo>
                      <a:pt x="441" y="352"/>
                    </a:lnTo>
                    <a:lnTo>
                      <a:pt x="440" y="348"/>
                    </a:lnTo>
                    <a:lnTo>
                      <a:pt x="438" y="343"/>
                    </a:lnTo>
                    <a:lnTo>
                      <a:pt x="437" y="340"/>
                    </a:lnTo>
                    <a:lnTo>
                      <a:pt x="437" y="335"/>
                    </a:lnTo>
                    <a:lnTo>
                      <a:pt x="433" y="332"/>
                    </a:lnTo>
                    <a:lnTo>
                      <a:pt x="431" y="328"/>
                    </a:lnTo>
                    <a:lnTo>
                      <a:pt x="428" y="324"/>
                    </a:lnTo>
                    <a:lnTo>
                      <a:pt x="428" y="322"/>
                    </a:lnTo>
                    <a:lnTo>
                      <a:pt x="425" y="317"/>
                    </a:lnTo>
                    <a:lnTo>
                      <a:pt x="424" y="313"/>
                    </a:lnTo>
                    <a:lnTo>
                      <a:pt x="424" y="309"/>
                    </a:lnTo>
                    <a:lnTo>
                      <a:pt x="425" y="305"/>
                    </a:lnTo>
                    <a:lnTo>
                      <a:pt x="420" y="300"/>
                    </a:lnTo>
                    <a:lnTo>
                      <a:pt x="416" y="299"/>
                    </a:lnTo>
                    <a:lnTo>
                      <a:pt x="413" y="296"/>
                    </a:lnTo>
                    <a:lnTo>
                      <a:pt x="408" y="294"/>
                    </a:lnTo>
                    <a:lnTo>
                      <a:pt x="405" y="288"/>
                    </a:lnTo>
                    <a:lnTo>
                      <a:pt x="402" y="285"/>
                    </a:lnTo>
                    <a:lnTo>
                      <a:pt x="402" y="281"/>
                    </a:lnTo>
                    <a:lnTo>
                      <a:pt x="401" y="276"/>
                    </a:lnTo>
                    <a:lnTo>
                      <a:pt x="398" y="273"/>
                    </a:lnTo>
                    <a:lnTo>
                      <a:pt x="400" y="268"/>
                    </a:lnTo>
                    <a:lnTo>
                      <a:pt x="402" y="263"/>
                    </a:lnTo>
                    <a:lnTo>
                      <a:pt x="403" y="259"/>
                    </a:lnTo>
                    <a:lnTo>
                      <a:pt x="408" y="257"/>
                    </a:lnTo>
                    <a:lnTo>
                      <a:pt x="409" y="252"/>
                    </a:lnTo>
                    <a:lnTo>
                      <a:pt x="413" y="249"/>
                    </a:lnTo>
                    <a:lnTo>
                      <a:pt x="415" y="245"/>
                    </a:lnTo>
                    <a:lnTo>
                      <a:pt x="417" y="240"/>
                    </a:lnTo>
                    <a:lnTo>
                      <a:pt x="420" y="238"/>
                    </a:lnTo>
                    <a:lnTo>
                      <a:pt x="423" y="234"/>
                    </a:lnTo>
                    <a:lnTo>
                      <a:pt x="427" y="232"/>
                    </a:lnTo>
                    <a:lnTo>
                      <a:pt x="431" y="228"/>
                    </a:lnTo>
                    <a:lnTo>
                      <a:pt x="431" y="224"/>
                    </a:lnTo>
                    <a:lnTo>
                      <a:pt x="430" y="220"/>
                    </a:lnTo>
                    <a:lnTo>
                      <a:pt x="430" y="216"/>
                    </a:lnTo>
                    <a:lnTo>
                      <a:pt x="431" y="211"/>
                    </a:lnTo>
                    <a:lnTo>
                      <a:pt x="431" y="208"/>
                    </a:lnTo>
                    <a:lnTo>
                      <a:pt x="432" y="203"/>
                    </a:lnTo>
                    <a:lnTo>
                      <a:pt x="437" y="205"/>
                    </a:lnTo>
                    <a:lnTo>
                      <a:pt x="441" y="205"/>
                    </a:lnTo>
                    <a:lnTo>
                      <a:pt x="446" y="201"/>
                    </a:lnTo>
                    <a:lnTo>
                      <a:pt x="450" y="200"/>
                    </a:lnTo>
                    <a:lnTo>
                      <a:pt x="455" y="200"/>
                    </a:lnTo>
                    <a:lnTo>
                      <a:pt x="456" y="196"/>
                    </a:lnTo>
                    <a:lnTo>
                      <a:pt x="458" y="192"/>
                    </a:lnTo>
                    <a:lnTo>
                      <a:pt x="457" y="187"/>
                    </a:lnTo>
                    <a:lnTo>
                      <a:pt x="456" y="183"/>
                    </a:lnTo>
                    <a:lnTo>
                      <a:pt x="459" y="179"/>
                    </a:lnTo>
                    <a:lnTo>
                      <a:pt x="463" y="179"/>
                    </a:lnTo>
                    <a:lnTo>
                      <a:pt x="465" y="182"/>
                    </a:lnTo>
                    <a:lnTo>
                      <a:pt x="471" y="184"/>
                    </a:lnTo>
                    <a:lnTo>
                      <a:pt x="475" y="185"/>
                    </a:lnTo>
                    <a:lnTo>
                      <a:pt x="476" y="190"/>
                    </a:lnTo>
                    <a:lnTo>
                      <a:pt x="476" y="193"/>
                    </a:lnTo>
                    <a:lnTo>
                      <a:pt x="479" y="196"/>
                    </a:lnTo>
                    <a:lnTo>
                      <a:pt x="480" y="201"/>
                    </a:lnTo>
                    <a:lnTo>
                      <a:pt x="484" y="204"/>
                    </a:lnTo>
                    <a:lnTo>
                      <a:pt x="489" y="206"/>
                    </a:lnTo>
                    <a:lnTo>
                      <a:pt x="491" y="210"/>
                    </a:lnTo>
                    <a:lnTo>
                      <a:pt x="496" y="214"/>
                    </a:lnTo>
                    <a:lnTo>
                      <a:pt x="501" y="215"/>
                    </a:lnTo>
                    <a:lnTo>
                      <a:pt x="505" y="216"/>
                    </a:lnTo>
                    <a:lnTo>
                      <a:pt x="510" y="214"/>
                    </a:lnTo>
                    <a:lnTo>
                      <a:pt x="514" y="213"/>
                    </a:lnTo>
                    <a:lnTo>
                      <a:pt x="519" y="216"/>
                    </a:lnTo>
                    <a:lnTo>
                      <a:pt x="525" y="221"/>
                    </a:lnTo>
                    <a:lnTo>
                      <a:pt x="529" y="222"/>
                    </a:lnTo>
                    <a:lnTo>
                      <a:pt x="534" y="222"/>
                    </a:lnTo>
                    <a:lnTo>
                      <a:pt x="539" y="224"/>
                    </a:lnTo>
                    <a:lnTo>
                      <a:pt x="541" y="229"/>
                    </a:lnTo>
                    <a:lnTo>
                      <a:pt x="546" y="228"/>
                    </a:lnTo>
                    <a:lnTo>
                      <a:pt x="545" y="221"/>
                    </a:lnTo>
                    <a:lnTo>
                      <a:pt x="543" y="218"/>
                    </a:lnTo>
                    <a:lnTo>
                      <a:pt x="539" y="214"/>
                    </a:lnTo>
                    <a:lnTo>
                      <a:pt x="539" y="210"/>
                    </a:lnTo>
                    <a:lnTo>
                      <a:pt x="536" y="206"/>
                    </a:lnTo>
                    <a:lnTo>
                      <a:pt x="536" y="202"/>
                    </a:lnTo>
                    <a:lnTo>
                      <a:pt x="533" y="197"/>
                    </a:lnTo>
                    <a:lnTo>
                      <a:pt x="533" y="194"/>
                    </a:lnTo>
                    <a:lnTo>
                      <a:pt x="532" y="189"/>
                    </a:lnTo>
                    <a:lnTo>
                      <a:pt x="526" y="186"/>
                    </a:lnTo>
                    <a:lnTo>
                      <a:pt x="526" y="183"/>
                    </a:lnTo>
                    <a:lnTo>
                      <a:pt x="523" y="178"/>
                    </a:lnTo>
                    <a:lnTo>
                      <a:pt x="523" y="174"/>
                    </a:lnTo>
                    <a:lnTo>
                      <a:pt x="522" y="171"/>
                    </a:lnTo>
                    <a:lnTo>
                      <a:pt x="522" y="167"/>
                    </a:lnTo>
                    <a:lnTo>
                      <a:pt x="521" y="162"/>
                    </a:lnTo>
                    <a:lnTo>
                      <a:pt x="521" y="159"/>
                    </a:lnTo>
                    <a:lnTo>
                      <a:pt x="520" y="154"/>
                    </a:lnTo>
                    <a:lnTo>
                      <a:pt x="520" y="150"/>
                    </a:lnTo>
                    <a:lnTo>
                      <a:pt x="519" y="146"/>
                    </a:lnTo>
                    <a:lnTo>
                      <a:pt x="518" y="142"/>
                    </a:lnTo>
                    <a:lnTo>
                      <a:pt x="520" y="138"/>
                    </a:lnTo>
                    <a:lnTo>
                      <a:pt x="519" y="134"/>
                    </a:lnTo>
                    <a:lnTo>
                      <a:pt x="517" y="129"/>
                    </a:lnTo>
                    <a:lnTo>
                      <a:pt x="516" y="126"/>
                    </a:lnTo>
                    <a:lnTo>
                      <a:pt x="514" y="122"/>
                    </a:lnTo>
                    <a:lnTo>
                      <a:pt x="513" y="117"/>
                    </a:lnTo>
                    <a:lnTo>
                      <a:pt x="508" y="116"/>
                    </a:lnTo>
                    <a:lnTo>
                      <a:pt x="501" y="112"/>
                    </a:lnTo>
                    <a:lnTo>
                      <a:pt x="505" y="108"/>
                    </a:lnTo>
                    <a:lnTo>
                      <a:pt x="502" y="106"/>
                    </a:lnTo>
                    <a:lnTo>
                      <a:pt x="490" y="106"/>
                    </a:lnTo>
                    <a:lnTo>
                      <a:pt x="493" y="104"/>
                    </a:lnTo>
                    <a:lnTo>
                      <a:pt x="490" y="100"/>
                    </a:lnTo>
                    <a:lnTo>
                      <a:pt x="485" y="99"/>
                    </a:lnTo>
                    <a:lnTo>
                      <a:pt x="483" y="94"/>
                    </a:lnTo>
                    <a:lnTo>
                      <a:pt x="478" y="94"/>
                    </a:lnTo>
                    <a:lnTo>
                      <a:pt x="475" y="89"/>
                    </a:lnTo>
                    <a:lnTo>
                      <a:pt x="470" y="86"/>
                    </a:lnTo>
                    <a:lnTo>
                      <a:pt x="466" y="82"/>
                    </a:lnTo>
                    <a:lnTo>
                      <a:pt x="461" y="81"/>
                    </a:lnTo>
                    <a:lnTo>
                      <a:pt x="458" y="77"/>
                    </a:lnTo>
                    <a:lnTo>
                      <a:pt x="454" y="75"/>
                    </a:lnTo>
                    <a:lnTo>
                      <a:pt x="447" y="79"/>
                    </a:lnTo>
                    <a:lnTo>
                      <a:pt x="442" y="79"/>
                    </a:lnTo>
                    <a:lnTo>
                      <a:pt x="439" y="82"/>
                    </a:lnTo>
                    <a:lnTo>
                      <a:pt x="439" y="72"/>
                    </a:lnTo>
                    <a:lnTo>
                      <a:pt x="430" y="83"/>
                    </a:lnTo>
                    <a:lnTo>
                      <a:pt x="432" y="79"/>
                    </a:lnTo>
                    <a:lnTo>
                      <a:pt x="420" y="76"/>
                    </a:lnTo>
                    <a:lnTo>
                      <a:pt x="421" y="75"/>
                    </a:lnTo>
                    <a:lnTo>
                      <a:pt x="411" y="79"/>
                    </a:lnTo>
                    <a:lnTo>
                      <a:pt x="410" y="74"/>
                    </a:lnTo>
                    <a:lnTo>
                      <a:pt x="410" y="69"/>
                    </a:lnTo>
                    <a:lnTo>
                      <a:pt x="409" y="66"/>
                    </a:lnTo>
                    <a:lnTo>
                      <a:pt x="406" y="61"/>
                    </a:lnTo>
                    <a:lnTo>
                      <a:pt x="405" y="57"/>
                    </a:lnTo>
                    <a:lnTo>
                      <a:pt x="403" y="53"/>
                    </a:lnTo>
                    <a:lnTo>
                      <a:pt x="400" y="50"/>
                    </a:lnTo>
                    <a:lnTo>
                      <a:pt x="397" y="45"/>
                    </a:lnTo>
                    <a:lnTo>
                      <a:pt x="392" y="45"/>
                    </a:lnTo>
                    <a:lnTo>
                      <a:pt x="388" y="41"/>
                    </a:lnTo>
                    <a:lnTo>
                      <a:pt x="384" y="37"/>
                    </a:lnTo>
                    <a:lnTo>
                      <a:pt x="380" y="35"/>
                    </a:lnTo>
                    <a:lnTo>
                      <a:pt x="375" y="36"/>
                    </a:lnTo>
                    <a:lnTo>
                      <a:pt x="371" y="37"/>
                    </a:lnTo>
                    <a:lnTo>
                      <a:pt x="366" y="33"/>
                    </a:lnTo>
                    <a:lnTo>
                      <a:pt x="361" y="28"/>
                    </a:lnTo>
                    <a:lnTo>
                      <a:pt x="358" y="24"/>
                    </a:lnTo>
                    <a:lnTo>
                      <a:pt x="358" y="20"/>
                    </a:lnTo>
                    <a:lnTo>
                      <a:pt x="357" y="15"/>
                    </a:lnTo>
                    <a:lnTo>
                      <a:pt x="357" y="12"/>
                    </a:lnTo>
                    <a:lnTo>
                      <a:pt x="353" y="8"/>
                    </a:lnTo>
                    <a:lnTo>
                      <a:pt x="351" y="4"/>
                    </a:lnTo>
                    <a:lnTo>
                      <a:pt x="346" y="3"/>
                    </a:lnTo>
                    <a:lnTo>
                      <a:pt x="343" y="5"/>
                    </a:lnTo>
                    <a:lnTo>
                      <a:pt x="339" y="6"/>
                    </a:lnTo>
                    <a:lnTo>
                      <a:pt x="334" y="6"/>
                    </a:lnTo>
                    <a:lnTo>
                      <a:pt x="330" y="5"/>
                    </a:lnTo>
                    <a:lnTo>
                      <a:pt x="326" y="1"/>
                    </a:lnTo>
                    <a:lnTo>
                      <a:pt x="322" y="0"/>
                    </a:lnTo>
                    <a:lnTo>
                      <a:pt x="317" y="2"/>
                    </a:lnTo>
                    <a:lnTo>
                      <a:pt x="316" y="7"/>
                    </a:lnTo>
                    <a:lnTo>
                      <a:pt x="314" y="11"/>
                    </a:lnTo>
                    <a:lnTo>
                      <a:pt x="310" y="17"/>
                    </a:lnTo>
                    <a:lnTo>
                      <a:pt x="306" y="19"/>
                    </a:lnTo>
                    <a:lnTo>
                      <a:pt x="304" y="22"/>
                    </a:lnTo>
                    <a:lnTo>
                      <a:pt x="300" y="23"/>
                    </a:lnTo>
                    <a:lnTo>
                      <a:pt x="295" y="27"/>
                    </a:lnTo>
                    <a:lnTo>
                      <a:pt x="291" y="27"/>
                    </a:lnTo>
                    <a:lnTo>
                      <a:pt x="286" y="30"/>
                    </a:lnTo>
                    <a:lnTo>
                      <a:pt x="282" y="30"/>
                    </a:lnTo>
                    <a:lnTo>
                      <a:pt x="278" y="31"/>
                    </a:lnTo>
                    <a:lnTo>
                      <a:pt x="274" y="31"/>
                    </a:lnTo>
                    <a:lnTo>
                      <a:pt x="268" y="30"/>
                    </a:lnTo>
                    <a:lnTo>
                      <a:pt x="265" y="33"/>
                    </a:lnTo>
                    <a:lnTo>
                      <a:pt x="260" y="35"/>
                    </a:lnTo>
                    <a:lnTo>
                      <a:pt x="256" y="38"/>
                    </a:lnTo>
                    <a:lnTo>
                      <a:pt x="251" y="40"/>
                    </a:lnTo>
                    <a:lnTo>
                      <a:pt x="248" y="43"/>
                    </a:lnTo>
                    <a:lnTo>
                      <a:pt x="245" y="47"/>
                    </a:lnTo>
                    <a:lnTo>
                      <a:pt x="242" y="50"/>
                    </a:lnTo>
                    <a:lnTo>
                      <a:pt x="237" y="54"/>
                    </a:lnTo>
                    <a:lnTo>
                      <a:pt x="234" y="54"/>
                    </a:lnTo>
                    <a:lnTo>
                      <a:pt x="229" y="55"/>
                    </a:lnTo>
                    <a:lnTo>
                      <a:pt x="225" y="55"/>
                    </a:lnTo>
                    <a:lnTo>
                      <a:pt x="220" y="56"/>
                    </a:lnTo>
                    <a:lnTo>
                      <a:pt x="216" y="56"/>
                    </a:lnTo>
                    <a:lnTo>
                      <a:pt x="211" y="57"/>
                    </a:lnTo>
                    <a:lnTo>
                      <a:pt x="207" y="58"/>
                    </a:lnTo>
                    <a:lnTo>
                      <a:pt x="202" y="58"/>
                    </a:lnTo>
                    <a:lnTo>
                      <a:pt x="199" y="59"/>
                    </a:lnTo>
                    <a:lnTo>
                      <a:pt x="194" y="59"/>
                    </a:lnTo>
                    <a:lnTo>
                      <a:pt x="190" y="60"/>
                    </a:lnTo>
                    <a:lnTo>
                      <a:pt x="185" y="62"/>
                    </a:lnTo>
                    <a:lnTo>
                      <a:pt x="179" y="62"/>
                    </a:lnTo>
                    <a:lnTo>
                      <a:pt x="174" y="63"/>
                    </a:lnTo>
                    <a:lnTo>
                      <a:pt x="169" y="64"/>
                    </a:lnTo>
                    <a:lnTo>
                      <a:pt x="165" y="66"/>
                    </a:lnTo>
                    <a:lnTo>
                      <a:pt x="160" y="64"/>
                    </a:lnTo>
                    <a:lnTo>
                      <a:pt x="157" y="59"/>
                    </a:lnTo>
                    <a:lnTo>
                      <a:pt x="153" y="58"/>
                    </a:lnTo>
                    <a:lnTo>
                      <a:pt x="149" y="53"/>
                    </a:lnTo>
                    <a:lnTo>
                      <a:pt x="147" y="51"/>
                    </a:lnTo>
                    <a:lnTo>
                      <a:pt x="143" y="51"/>
                    </a:lnTo>
                    <a:lnTo>
                      <a:pt x="138" y="54"/>
                    </a:lnTo>
                    <a:lnTo>
                      <a:pt x="134" y="54"/>
                    </a:lnTo>
                    <a:lnTo>
                      <a:pt x="130" y="56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1" name="Freeform 112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 rot="-459984">
                <a:off x="7482013" y="2148341"/>
                <a:ext cx="56120" cy="67521"/>
              </a:xfrm>
              <a:custGeom>
                <a:avLst/>
                <a:gdLst>
                  <a:gd name="T0" fmla="*/ 2147483647 w 38"/>
                  <a:gd name="T1" fmla="*/ 2147483647 h 50"/>
                  <a:gd name="T2" fmla="*/ 2147483647 w 38"/>
                  <a:gd name="T3" fmla="*/ 2147483647 h 50"/>
                  <a:gd name="T4" fmla="*/ 2147483647 w 38"/>
                  <a:gd name="T5" fmla="*/ 0 h 50"/>
                  <a:gd name="T6" fmla="*/ 2147483647 w 38"/>
                  <a:gd name="T7" fmla="*/ 2147483647 h 50"/>
                  <a:gd name="T8" fmla="*/ 2147483647 w 38"/>
                  <a:gd name="T9" fmla="*/ 2147483647 h 50"/>
                  <a:gd name="T10" fmla="*/ 2147483647 w 38"/>
                  <a:gd name="T11" fmla="*/ 2147483647 h 50"/>
                  <a:gd name="T12" fmla="*/ 0 w 38"/>
                  <a:gd name="T13" fmla="*/ 2147483647 h 50"/>
                  <a:gd name="T14" fmla="*/ 0 w 38"/>
                  <a:gd name="T15" fmla="*/ 2147483647 h 50"/>
                  <a:gd name="T16" fmla="*/ 2147483647 w 38"/>
                  <a:gd name="T17" fmla="*/ 2147483647 h 50"/>
                  <a:gd name="T18" fmla="*/ 2147483647 w 38"/>
                  <a:gd name="T19" fmla="*/ 2147483647 h 50"/>
                  <a:gd name="T20" fmla="*/ 2147483647 w 38"/>
                  <a:gd name="T21" fmla="*/ 2147483647 h 50"/>
                  <a:gd name="T22" fmla="*/ 2147483647 w 38"/>
                  <a:gd name="T23" fmla="*/ 2147483647 h 50"/>
                  <a:gd name="T24" fmla="*/ 2147483647 w 38"/>
                  <a:gd name="T25" fmla="*/ 2147483647 h 50"/>
                  <a:gd name="T26" fmla="*/ 2147483647 w 38"/>
                  <a:gd name="T27" fmla="*/ 2147483647 h 50"/>
                  <a:gd name="T28" fmla="*/ 2147483647 w 38"/>
                  <a:gd name="T29" fmla="*/ 2147483647 h 50"/>
                  <a:gd name="T30" fmla="*/ 2147483647 w 38"/>
                  <a:gd name="T31" fmla="*/ 2147483647 h 50"/>
                  <a:gd name="T32" fmla="*/ 2147483647 w 38"/>
                  <a:gd name="T33" fmla="*/ 2147483647 h 50"/>
                  <a:gd name="T34" fmla="*/ 2147483647 w 38"/>
                  <a:gd name="T35" fmla="*/ 2147483647 h 50"/>
                  <a:gd name="T36" fmla="*/ 2147483647 w 38"/>
                  <a:gd name="T37" fmla="*/ 2147483647 h 50"/>
                  <a:gd name="T38" fmla="*/ 2147483647 w 38"/>
                  <a:gd name="T39" fmla="*/ 2147483647 h 50"/>
                  <a:gd name="T40" fmla="*/ 2147483647 w 38"/>
                  <a:gd name="T41" fmla="*/ 2147483647 h 50"/>
                  <a:gd name="T42" fmla="*/ 2147483647 w 38"/>
                  <a:gd name="T43" fmla="*/ 2147483647 h 50"/>
                  <a:gd name="T44" fmla="*/ 2147483647 w 38"/>
                  <a:gd name="T45" fmla="*/ 2147483647 h 50"/>
                  <a:gd name="T46" fmla="*/ 2147483647 w 38"/>
                  <a:gd name="T47" fmla="*/ 2147483647 h 50"/>
                  <a:gd name="T48" fmla="*/ 2147483647 w 38"/>
                  <a:gd name="T49" fmla="*/ 2147483647 h 50"/>
                  <a:gd name="T50" fmla="*/ 2147483647 w 38"/>
                  <a:gd name="T51" fmla="*/ 2147483647 h 50"/>
                  <a:gd name="T52" fmla="*/ 2147483647 w 38"/>
                  <a:gd name="T53" fmla="*/ 2147483647 h 50"/>
                  <a:gd name="T54" fmla="*/ 2147483647 w 38"/>
                  <a:gd name="T55" fmla="*/ 2147483647 h 50"/>
                  <a:gd name="T56" fmla="*/ 2147483647 w 38"/>
                  <a:gd name="T57" fmla="*/ 2147483647 h 50"/>
                  <a:gd name="T58" fmla="*/ 2147483647 w 38"/>
                  <a:gd name="T59" fmla="*/ 2147483647 h 50"/>
                  <a:gd name="T60" fmla="*/ 2147483647 w 38"/>
                  <a:gd name="T61" fmla="*/ 2147483647 h 50"/>
                  <a:gd name="T62" fmla="*/ 2147483647 w 38"/>
                  <a:gd name="T63" fmla="*/ 2147483647 h 50"/>
                  <a:gd name="T64" fmla="*/ 2147483647 w 38"/>
                  <a:gd name="T65" fmla="*/ 2147483647 h 50"/>
                  <a:gd name="T66" fmla="*/ 2147483647 w 38"/>
                  <a:gd name="T67" fmla="*/ 2147483647 h 50"/>
                  <a:gd name="T68" fmla="*/ 2147483647 w 38"/>
                  <a:gd name="T69" fmla="*/ 2147483647 h 5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8"/>
                  <a:gd name="T106" fmla="*/ 0 h 50"/>
                  <a:gd name="T107" fmla="*/ 38 w 38"/>
                  <a:gd name="T108" fmla="*/ 50 h 5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8" h="50">
                    <a:moveTo>
                      <a:pt x="27" y="2"/>
                    </a:moveTo>
                    <a:lnTo>
                      <a:pt x="23" y="2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8" y="2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2" y="15"/>
                    </a:lnTo>
                    <a:lnTo>
                      <a:pt x="4" y="20"/>
                    </a:lnTo>
                    <a:lnTo>
                      <a:pt x="8" y="22"/>
                    </a:lnTo>
                    <a:lnTo>
                      <a:pt x="10" y="25"/>
                    </a:lnTo>
                    <a:lnTo>
                      <a:pt x="10" y="29"/>
                    </a:lnTo>
                    <a:lnTo>
                      <a:pt x="10" y="33"/>
                    </a:lnTo>
                    <a:lnTo>
                      <a:pt x="10" y="36"/>
                    </a:lnTo>
                    <a:lnTo>
                      <a:pt x="10" y="40"/>
                    </a:lnTo>
                    <a:lnTo>
                      <a:pt x="14" y="44"/>
                    </a:lnTo>
                    <a:lnTo>
                      <a:pt x="18" y="45"/>
                    </a:lnTo>
                    <a:lnTo>
                      <a:pt x="21" y="44"/>
                    </a:lnTo>
                    <a:lnTo>
                      <a:pt x="27" y="49"/>
                    </a:lnTo>
                    <a:lnTo>
                      <a:pt x="29" y="45"/>
                    </a:lnTo>
                    <a:lnTo>
                      <a:pt x="33" y="42"/>
                    </a:lnTo>
                    <a:lnTo>
                      <a:pt x="37" y="38"/>
                    </a:lnTo>
                    <a:lnTo>
                      <a:pt x="37" y="35"/>
                    </a:lnTo>
                    <a:lnTo>
                      <a:pt x="33" y="29"/>
                    </a:lnTo>
                    <a:lnTo>
                      <a:pt x="29" y="24"/>
                    </a:lnTo>
                    <a:lnTo>
                      <a:pt x="29" y="18"/>
                    </a:lnTo>
                    <a:lnTo>
                      <a:pt x="31" y="15"/>
                    </a:lnTo>
                    <a:lnTo>
                      <a:pt x="35" y="11"/>
                    </a:lnTo>
                    <a:lnTo>
                      <a:pt x="33" y="5"/>
                    </a:lnTo>
                    <a:lnTo>
                      <a:pt x="31" y="2"/>
                    </a:lnTo>
                    <a:lnTo>
                      <a:pt x="27" y="2"/>
                    </a:lnTo>
                    <a:lnTo>
                      <a:pt x="23" y="4"/>
                    </a:lnTo>
                    <a:lnTo>
                      <a:pt x="19" y="4"/>
                    </a:lnTo>
                    <a:lnTo>
                      <a:pt x="27" y="2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2" name="Freeform 113"/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 rot="-459984">
                <a:off x="7951183" y="2818884"/>
                <a:ext cx="40407" cy="93131"/>
              </a:xfrm>
              <a:custGeom>
                <a:avLst/>
                <a:gdLst>
                  <a:gd name="T0" fmla="*/ 2147483647 w 30"/>
                  <a:gd name="T1" fmla="*/ 2147483647 h 68"/>
                  <a:gd name="T2" fmla="*/ 2147483647 w 30"/>
                  <a:gd name="T3" fmla="*/ 2147483647 h 68"/>
                  <a:gd name="T4" fmla="*/ 2147483647 w 30"/>
                  <a:gd name="T5" fmla="*/ 2147483647 h 68"/>
                  <a:gd name="T6" fmla="*/ 0 w 30"/>
                  <a:gd name="T7" fmla="*/ 2147483647 h 68"/>
                  <a:gd name="T8" fmla="*/ 0 w 30"/>
                  <a:gd name="T9" fmla="*/ 2147483647 h 68"/>
                  <a:gd name="T10" fmla="*/ 0 w 30"/>
                  <a:gd name="T11" fmla="*/ 2147483647 h 68"/>
                  <a:gd name="T12" fmla="*/ 2147483647 w 30"/>
                  <a:gd name="T13" fmla="*/ 2147483647 h 68"/>
                  <a:gd name="T14" fmla="*/ 2147483647 w 30"/>
                  <a:gd name="T15" fmla="*/ 2147483647 h 68"/>
                  <a:gd name="T16" fmla="*/ 2147483647 w 30"/>
                  <a:gd name="T17" fmla="*/ 2147483647 h 68"/>
                  <a:gd name="T18" fmla="*/ 2147483647 w 30"/>
                  <a:gd name="T19" fmla="*/ 2147483647 h 68"/>
                  <a:gd name="T20" fmla="*/ 2147483647 w 30"/>
                  <a:gd name="T21" fmla="*/ 2147483647 h 68"/>
                  <a:gd name="T22" fmla="*/ 2147483647 w 30"/>
                  <a:gd name="T23" fmla="*/ 2147483647 h 68"/>
                  <a:gd name="T24" fmla="*/ 2147483647 w 30"/>
                  <a:gd name="T25" fmla="*/ 2147483647 h 68"/>
                  <a:gd name="T26" fmla="*/ 2147483647 w 30"/>
                  <a:gd name="T27" fmla="*/ 2147483647 h 68"/>
                  <a:gd name="T28" fmla="*/ 2147483647 w 30"/>
                  <a:gd name="T29" fmla="*/ 2147483647 h 68"/>
                  <a:gd name="T30" fmla="*/ 2147483647 w 30"/>
                  <a:gd name="T31" fmla="*/ 2147483647 h 68"/>
                  <a:gd name="T32" fmla="*/ 2147483647 w 30"/>
                  <a:gd name="T33" fmla="*/ 2147483647 h 68"/>
                  <a:gd name="T34" fmla="*/ 2147483647 w 30"/>
                  <a:gd name="T35" fmla="*/ 2147483647 h 68"/>
                  <a:gd name="T36" fmla="*/ 2147483647 w 30"/>
                  <a:gd name="T37" fmla="*/ 2147483647 h 68"/>
                  <a:gd name="T38" fmla="*/ 2147483647 w 30"/>
                  <a:gd name="T39" fmla="*/ 2147483647 h 68"/>
                  <a:gd name="T40" fmla="*/ 2147483647 w 30"/>
                  <a:gd name="T41" fmla="*/ 2147483647 h 68"/>
                  <a:gd name="T42" fmla="*/ 2147483647 w 30"/>
                  <a:gd name="T43" fmla="*/ 2147483647 h 68"/>
                  <a:gd name="T44" fmla="*/ 2147483647 w 30"/>
                  <a:gd name="T45" fmla="*/ 2147483647 h 68"/>
                  <a:gd name="T46" fmla="*/ 2147483647 w 30"/>
                  <a:gd name="T47" fmla="*/ 2147483647 h 68"/>
                  <a:gd name="T48" fmla="*/ 2147483647 w 30"/>
                  <a:gd name="T49" fmla="*/ 2147483647 h 68"/>
                  <a:gd name="T50" fmla="*/ 2147483647 w 30"/>
                  <a:gd name="T51" fmla="*/ 2147483647 h 68"/>
                  <a:gd name="T52" fmla="*/ 2147483647 w 30"/>
                  <a:gd name="T53" fmla="*/ 2147483647 h 68"/>
                  <a:gd name="T54" fmla="*/ 2147483647 w 30"/>
                  <a:gd name="T55" fmla="*/ 2147483647 h 68"/>
                  <a:gd name="T56" fmla="*/ 2147483647 w 30"/>
                  <a:gd name="T57" fmla="*/ 2147483647 h 68"/>
                  <a:gd name="T58" fmla="*/ 2147483647 w 30"/>
                  <a:gd name="T59" fmla="*/ 2147483647 h 68"/>
                  <a:gd name="T60" fmla="*/ 2147483647 w 30"/>
                  <a:gd name="T61" fmla="*/ 2147483647 h 68"/>
                  <a:gd name="T62" fmla="*/ 2147483647 w 30"/>
                  <a:gd name="T63" fmla="*/ 2147483647 h 68"/>
                  <a:gd name="T64" fmla="*/ 2147483647 w 30"/>
                  <a:gd name="T65" fmla="*/ 2147483647 h 68"/>
                  <a:gd name="T66" fmla="*/ 2147483647 w 30"/>
                  <a:gd name="T67" fmla="*/ 2147483647 h 68"/>
                  <a:gd name="T68" fmla="*/ 2147483647 w 30"/>
                  <a:gd name="T69" fmla="*/ 2147483647 h 68"/>
                  <a:gd name="T70" fmla="*/ 2147483647 w 30"/>
                  <a:gd name="T71" fmla="*/ 2147483647 h 68"/>
                  <a:gd name="T72" fmla="*/ 2147483647 w 30"/>
                  <a:gd name="T73" fmla="*/ 2147483647 h 68"/>
                  <a:gd name="T74" fmla="*/ 2147483647 w 30"/>
                  <a:gd name="T75" fmla="*/ 2147483647 h 68"/>
                  <a:gd name="T76" fmla="*/ 2147483647 w 30"/>
                  <a:gd name="T77" fmla="*/ 2147483647 h 68"/>
                  <a:gd name="T78" fmla="*/ 2147483647 w 30"/>
                  <a:gd name="T79" fmla="*/ 0 h 68"/>
                  <a:gd name="T80" fmla="*/ 2147483647 w 30"/>
                  <a:gd name="T81" fmla="*/ 2147483647 h 6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0"/>
                  <a:gd name="T124" fmla="*/ 0 h 68"/>
                  <a:gd name="T125" fmla="*/ 30 w 30"/>
                  <a:gd name="T126" fmla="*/ 68 h 6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0" h="68">
                    <a:moveTo>
                      <a:pt x="4" y="7"/>
                    </a:moveTo>
                    <a:lnTo>
                      <a:pt x="2" y="11"/>
                    </a:lnTo>
                    <a:lnTo>
                      <a:pt x="2" y="15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0" y="25"/>
                    </a:lnTo>
                    <a:lnTo>
                      <a:pt x="4" y="29"/>
                    </a:lnTo>
                    <a:lnTo>
                      <a:pt x="8" y="33"/>
                    </a:lnTo>
                    <a:lnTo>
                      <a:pt x="12" y="33"/>
                    </a:lnTo>
                    <a:lnTo>
                      <a:pt x="12" y="36"/>
                    </a:lnTo>
                    <a:lnTo>
                      <a:pt x="10" y="40"/>
                    </a:lnTo>
                    <a:lnTo>
                      <a:pt x="8" y="44"/>
                    </a:lnTo>
                    <a:lnTo>
                      <a:pt x="4" y="47"/>
                    </a:lnTo>
                    <a:lnTo>
                      <a:pt x="2" y="51"/>
                    </a:lnTo>
                    <a:lnTo>
                      <a:pt x="2" y="54"/>
                    </a:lnTo>
                    <a:lnTo>
                      <a:pt x="8" y="60"/>
                    </a:lnTo>
                    <a:lnTo>
                      <a:pt x="12" y="62"/>
                    </a:lnTo>
                    <a:lnTo>
                      <a:pt x="17" y="65"/>
                    </a:lnTo>
                    <a:lnTo>
                      <a:pt x="21" y="67"/>
                    </a:lnTo>
                    <a:lnTo>
                      <a:pt x="25" y="67"/>
                    </a:lnTo>
                    <a:lnTo>
                      <a:pt x="27" y="62"/>
                    </a:lnTo>
                    <a:lnTo>
                      <a:pt x="27" y="58"/>
                    </a:lnTo>
                    <a:lnTo>
                      <a:pt x="29" y="54"/>
                    </a:lnTo>
                    <a:lnTo>
                      <a:pt x="27" y="51"/>
                    </a:lnTo>
                    <a:lnTo>
                      <a:pt x="25" y="47"/>
                    </a:lnTo>
                    <a:lnTo>
                      <a:pt x="21" y="44"/>
                    </a:lnTo>
                    <a:lnTo>
                      <a:pt x="17" y="42"/>
                    </a:lnTo>
                    <a:lnTo>
                      <a:pt x="17" y="38"/>
                    </a:lnTo>
                    <a:lnTo>
                      <a:pt x="19" y="34"/>
                    </a:lnTo>
                    <a:lnTo>
                      <a:pt x="23" y="29"/>
                    </a:lnTo>
                    <a:lnTo>
                      <a:pt x="23" y="25"/>
                    </a:lnTo>
                    <a:lnTo>
                      <a:pt x="21" y="22"/>
                    </a:lnTo>
                    <a:lnTo>
                      <a:pt x="17" y="18"/>
                    </a:lnTo>
                    <a:lnTo>
                      <a:pt x="14" y="18"/>
                    </a:lnTo>
                    <a:lnTo>
                      <a:pt x="10" y="16"/>
                    </a:lnTo>
                    <a:lnTo>
                      <a:pt x="6" y="15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4" y="7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3" name="Freeform 115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 rot="-459984">
                <a:off x="7129573" y="3666376"/>
                <a:ext cx="343461" cy="684513"/>
              </a:xfrm>
              <a:custGeom>
                <a:avLst/>
                <a:gdLst>
                  <a:gd name="T0" fmla="*/ 2147483647 w 245"/>
                  <a:gd name="T1" fmla="*/ 2147483647 h 513"/>
                  <a:gd name="T2" fmla="*/ 2147483647 w 245"/>
                  <a:gd name="T3" fmla="*/ 2147483647 h 513"/>
                  <a:gd name="T4" fmla="*/ 2147483647 w 245"/>
                  <a:gd name="T5" fmla="*/ 2147483647 h 513"/>
                  <a:gd name="T6" fmla="*/ 2147483647 w 245"/>
                  <a:gd name="T7" fmla="*/ 2147483647 h 513"/>
                  <a:gd name="T8" fmla="*/ 2147483647 w 245"/>
                  <a:gd name="T9" fmla="*/ 2147483647 h 513"/>
                  <a:gd name="T10" fmla="*/ 2147483647 w 245"/>
                  <a:gd name="T11" fmla="*/ 2147483647 h 513"/>
                  <a:gd name="T12" fmla="*/ 2147483647 w 245"/>
                  <a:gd name="T13" fmla="*/ 2147483647 h 513"/>
                  <a:gd name="T14" fmla="*/ 2147483647 w 245"/>
                  <a:gd name="T15" fmla="*/ 2147483647 h 513"/>
                  <a:gd name="T16" fmla="*/ 2147483647 w 245"/>
                  <a:gd name="T17" fmla="*/ 2147483647 h 513"/>
                  <a:gd name="T18" fmla="*/ 2147483647 w 245"/>
                  <a:gd name="T19" fmla="*/ 2147483647 h 513"/>
                  <a:gd name="T20" fmla="*/ 2147483647 w 245"/>
                  <a:gd name="T21" fmla="*/ 2147483647 h 513"/>
                  <a:gd name="T22" fmla="*/ 2147483647 w 245"/>
                  <a:gd name="T23" fmla="*/ 2147483647 h 513"/>
                  <a:gd name="T24" fmla="*/ 2147483647 w 245"/>
                  <a:gd name="T25" fmla="*/ 2147483647 h 513"/>
                  <a:gd name="T26" fmla="*/ 2147483647 w 245"/>
                  <a:gd name="T27" fmla="*/ 2147483647 h 513"/>
                  <a:gd name="T28" fmla="*/ 2147483647 w 245"/>
                  <a:gd name="T29" fmla="*/ 2147483647 h 513"/>
                  <a:gd name="T30" fmla="*/ 2147483647 w 245"/>
                  <a:gd name="T31" fmla="*/ 2147483647 h 513"/>
                  <a:gd name="T32" fmla="*/ 2147483647 w 245"/>
                  <a:gd name="T33" fmla="*/ 2147483647 h 513"/>
                  <a:gd name="T34" fmla="*/ 2147483647 w 245"/>
                  <a:gd name="T35" fmla="*/ 2147483647 h 513"/>
                  <a:gd name="T36" fmla="*/ 2147483647 w 245"/>
                  <a:gd name="T37" fmla="*/ 2147483647 h 513"/>
                  <a:gd name="T38" fmla="*/ 2147483647 w 245"/>
                  <a:gd name="T39" fmla="*/ 2147483647 h 513"/>
                  <a:gd name="T40" fmla="*/ 2147483647 w 245"/>
                  <a:gd name="T41" fmla="*/ 2147483647 h 513"/>
                  <a:gd name="T42" fmla="*/ 2147483647 w 245"/>
                  <a:gd name="T43" fmla="*/ 2147483647 h 513"/>
                  <a:gd name="T44" fmla="*/ 2147483647 w 245"/>
                  <a:gd name="T45" fmla="*/ 2147483647 h 513"/>
                  <a:gd name="T46" fmla="*/ 2147483647 w 245"/>
                  <a:gd name="T47" fmla="*/ 2147483647 h 513"/>
                  <a:gd name="T48" fmla="*/ 2147483647 w 245"/>
                  <a:gd name="T49" fmla="*/ 2147483647 h 513"/>
                  <a:gd name="T50" fmla="*/ 2147483647 w 245"/>
                  <a:gd name="T51" fmla="*/ 2147483647 h 513"/>
                  <a:gd name="T52" fmla="*/ 2147483647 w 245"/>
                  <a:gd name="T53" fmla="*/ 2147483647 h 513"/>
                  <a:gd name="T54" fmla="*/ 2147483647 w 245"/>
                  <a:gd name="T55" fmla="*/ 2147483647 h 513"/>
                  <a:gd name="T56" fmla="*/ 2147483647 w 245"/>
                  <a:gd name="T57" fmla="*/ 2147483647 h 513"/>
                  <a:gd name="T58" fmla="*/ 2147483647 w 245"/>
                  <a:gd name="T59" fmla="*/ 2147483647 h 513"/>
                  <a:gd name="T60" fmla="*/ 2147483647 w 245"/>
                  <a:gd name="T61" fmla="*/ 2147483647 h 513"/>
                  <a:gd name="T62" fmla="*/ 2147483647 w 245"/>
                  <a:gd name="T63" fmla="*/ 2147483647 h 513"/>
                  <a:gd name="T64" fmla="*/ 2147483647 w 245"/>
                  <a:gd name="T65" fmla="*/ 2147483647 h 513"/>
                  <a:gd name="T66" fmla="*/ 2147483647 w 245"/>
                  <a:gd name="T67" fmla="*/ 2147483647 h 513"/>
                  <a:gd name="T68" fmla="*/ 2147483647 w 245"/>
                  <a:gd name="T69" fmla="*/ 2147483647 h 513"/>
                  <a:gd name="T70" fmla="*/ 2147483647 w 245"/>
                  <a:gd name="T71" fmla="*/ 2147483647 h 513"/>
                  <a:gd name="T72" fmla="*/ 2147483647 w 245"/>
                  <a:gd name="T73" fmla="*/ 2147483647 h 513"/>
                  <a:gd name="T74" fmla="*/ 2147483647 w 245"/>
                  <a:gd name="T75" fmla="*/ 2147483647 h 513"/>
                  <a:gd name="T76" fmla="*/ 2147483647 w 245"/>
                  <a:gd name="T77" fmla="*/ 2147483647 h 513"/>
                  <a:gd name="T78" fmla="*/ 2147483647 w 245"/>
                  <a:gd name="T79" fmla="*/ 2147483647 h 513"/>
                  <a:gd name="T80" fmla="*/ 2147483647 w 245"/>
                  <a:gd name="T81" fmla="*/ 2147483647 h 513"/>
                  <a:gd name="T82" fmla="*/ 2147483647 w 245"/>
                  <a:gd name="T83" fmla="*/ 2147483647 h 513"/>
                  <a:gd name="T84" fmla="*/ 2147483647 w 245"/>
                  <a:gd name="T85" fmla="*/ 2147483647 h 513"/>
                  <a:gd name="T86" fmla="*/ 2147483647 w 245"/>
                  <a:gd name="T87" fmla="*/ 2147483647 h 513"/>
                  <a:gd name="T88" fmla="*/ 2147483647 w 245"/>
                  <a:gd name="T89" fmla="*/ 2147483647 h 513"/>
                  <a:gd name="T90" fmla="*/ 2147483647 w 245"/>
                  <a:gd name="T91" fmla="*/ 2147483647 h 513"/>
                  <a:gd name="T92" fmla="*/ 2147483647 w 245"/>
                  <a:gd name="T93" fmla="*/ 2147483647 h 513"/>
                  <a:gd name="T94" fmla="*/ 2147483647 w 245"/>
                  <a:gd name="T95" fmla="*/ 2147483647 h 513"/>
                  <a:gd name="T96" fmla="*/ 2147483647 w 245"/>
                  <a:gd name="T97" fmla="*/ 2147483647 h 513"/>
                  <a:gd name="T98" fmla="*/ 2147483647 w 245"/>
                  <a:gd name="T99" fmla="*/ 2147483647 h 513"/>
                  <a:gd name="T100" fmla="*/ 2147483647 w 245"/>
                  <a:gd name="T101" fmla="*/ 2147483647 h 513"/>
                  <a:gd name="T102" fmla="*/ 2147483647 w 245"/>
                  <a:gd name="T103" fmla="*/ 2147483647 h 513"/>
                  <a:gd name="T104" fmla="*/ 2147483647 w 245"/>
                  <a:gd name="T105" fmla="*/ 2147483647 h 513"/>
                  <a:gd name="T106" fmla="*/ 2147483647 w 245"/>
                  <a:gd name="T107" fmla="*/ 2147483647 h 513"/>
                  <a:gd name="T108" fmla="*/ 2147483647 w 245"/>
                  <a:gd name="T109" fmla="*/ 2147483647 h 513"/>
                  <a:gd name="T110" fmla="*/ 2147483647 w 245"/>
                  <a:gd name="T111" fmla="*/ 2147483647 h 513"/>
                  <a:gd name="T112" fmla="*/ 2147483647 w 245"/>
                  <a:gd name="T113" fmla="*/ 2147483647 h 513"/>
                  <a:gd name="T114" fmla="*/ 2147483647 w 245"/>
                  <a:gd name="T115" fmla="*/ 2147483647 h 513"/>
                  <a:gd name="T116" fmla="*/ 2147483647 w 245"/>
                  <a:gd name="T117" fmla="*/ 2147483647 h 513"/>
                  <a:gd name="T118" fmla="*/ 2147483647 w 245"/>
                  <a:gd name="T119" fmla="*/ 2147483647 h 513"/>
                  <a:gd name="T120" fmla="*/ 2147483647 w 245"/>
                  <a:gd name="T121" fmla="*/ 2147483647 h 513"/>
                  <a:gd name="T122" fmla="*/ 2147483647 w 245"/>
                  <a:gd name="T123" fmla="*/ 2147483647 h 513"/>
                  <a:gd name="T124" fmla="*/ 2147483647 w 245"/>
                  <a:gd name="T125" fmla="*/ 2147483647 h 51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45"/>
                  <a:gd name="T190" fmla="*/ 0 h 513"/>
                  <a:gd name="T191" fmla="*/ 245 w 245"/>
                  <a:gd name="T192" fmla="*/ 513 h 51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45" h="513">
                    <a:moveTo>
                      <a:pt x="234" y="42"/>
                    </a:moveTo>
                    <a:lnTo>
                      <a:pt x="230" y="42"/>
                    </a:lnTo>
                    <a:lnTo>
                      <a:pt x="226" y="44"/>
                    </a:lnTo>
                    <a:lnTo>
                      <a:pt x="222" y="44"/>
                    </a:lnTo>
                    <a:lnTo>
                      <a:pt x="218" y="44"/>
                    </a:lnTo>
                    <a:lnTo>
                      <a:pt x="214" y="44"/>
                    </a:lnTo>
                    <a:lnTo>
                      <a:pt x="212" y="40"/>
                    </a:lnTo>
                    <a:lnTo>
                      <a:pt x="212" y="37"/>
                    </a:lnTo>
                    <a:lnTo>
                      <a:pt x="212" y="33"/>
                    </a:lnTo>
                    <a:lnTo>
                      <a:pt x="212" y="29"/>
                    </a:lnTo>
                    <a:lnTo>
                      <a:pt x="212" y="26"/>
                    </a:lnTo>
                    <a:lnTo>
                      <a:pt x="212" y="22"/>
                    </a:lnTo>
                    <a:lnTo>
                      <a:pt x="208" y="20"/>
                    </a:lnTo>
                    <a:lnTo>
                      <a:pt x="204" y="18"/>
                    </a:lnTo>
                    <a:lnTo>
                      <a:pt x="200" y="16"/>
                    </a:lnTo>
                    <a:lnTo>
                      <a:pt x="196" y="15"/>
                    </a:lnTo>
                    <a:lnTo>
                      <a:pt x="192" y="11"/>
                    </a:lnTo>
                    <a:lnTo>
                      <a:pt x="188" y="7"/>
                    </a:lnTo>
                    <a:lnTo>
                      <a:pt x="184" y="5"/>
                    </a:lnTo>
                    <a:lnTo>
                      <a:pt x="181" y="4"/>
                    </a:lnTo>
                    <a:lnTo>
                      <a:pt x="177" y="2"/>
                    </a:lnTo>
                    <a:lnTo>
                      <a:pt x="173" y="0"/>
                    </a:lnTo>
                    <a:lnTo>
                      <a:pt x="169" y="2"/>
                    </a:lnTo>
                    <a:lnTo>
                      <a:pt x="167" y="5"/>
                    </a:lnTo>
                    <a:lnTo>
                      <a:pt x="165" y="9"/>
                    </a:lnTo>
                    <a:lnTo>
                      <a:pt x="165" y="13"/>
                    </a:lnTo>
                    <a:lnTo>
                      <a:pt x="165" y="16"/>
                    </a:lnTo>
                    <a:lnTo>
                      <a:pt x="161" y="18"/>
                    </a:lnTo>
                    <a:lnTo>
                      <a:pt x="157" y="18"/>
                    </a:lnTo>
                    <a:lnTo>
                      <a:pt x="153" y="20"/>
                    </a:lnTo>
                    <a:lnTo>
                      <a:pt x="149" y="22"/>
                    </a:lnTo>
                    <a:lnTo>
                      <a:pt x="145" y="26"/>
                    </a:lnTo>
                    <a:lnTo>
                      <a:pt x="145" y="29"/>
                    </a:lnTo>
                    <a:lnTo>
                      <a:pt x="145" y="33"/>
                    </a:lnTo>
                    <a:lnTo>
                      <a:pt x="145" y="37"/>
                    </a:lnTo>
                    <a:lnTo>
                      <a:pt x="149" y="40"/>
                    </a:lnTo>
                    <a:lnTo>
                      <a:pt x="153" y="42"/>
                    </a:lnTo>
                    <a:lnTo>
                      <a:pt x="157" y="44"/>
                    </a:lnTo>
                    <a:lnTo>
                      <a:pt x="161" y="46"/>
                    </a:lnTo>
                    <a:lnTo>
                      <a:pt x="161" y="49"/>
                    </a:lnTo>
                    <a:lnTo>
                      <a:pt x="161" y="53"/>
                    </a:lnTo>
                    <a:lnTo>
                      <a:pt x="165" y="55"/>
                    </a:lnTo>
                    <a:lnTo>
                      <a:pt x="169" y="55"/>
                    </a:lnTo>
                    <a:lnTo>
                      <a:pt x="173" y="53"/>
                    </a:lnTo>
                    <a:lnTo>
                      <a:pt x="177" y="53"/>
                    </a:lnTo>
                    <a:lnTo>
                      <a:pt x="181" y="51"/>
                    </a:lnTo>
                    <a:lnTo>
                      <a:pt x="184" y="51"/>
                    </a:lnTo>
                    <a:lnTo>
                      <a:pt x="188" y="53"/>
                    </a:lnTo>
                    <a:lnTo>
                      <a:pt x="192" y="55"/>
                    </a:lnTo>
                    <a:lnTo>
                      <a:pt x="192" y="59"/>
                    </a:lnTo>
                    <a:lnTo>
                      <a:pt x="190" y="62"/>
                    </a:lnTo>
                    <a:lnTo>
                      <a:pt x="186" y="64"/>
                    </a:lnTo>
                    <a:lnTo>
                      <a:pt x="186" y="68"/>
                    </a:lnTo>
                    <a:lnTo>
                      <a:pt x="184" y="71"/>
                    </a:lnTo>
                    <a:lnTo>
                      <a:pt x="183" y="77"/>
                    </a:lnTo>
                    <a:lnTo>
                      <a:pt x="181" y="80"/>
                    </a:lnTo>
                    <a:lnTo>
                      <a:pt x="181" y="84"/>
                    </a:lnTo>
                    <a:lnTo>
                      <a:pt x="181" y="88"/>
                    </a:lnTo>
                    <a:lnTo>
                      <a:pt x="179" y="91"/>
                    </a:lnTo>
                    <a:lnTo>
                      <a:pt x="175" y="91"/>
                    </a:lnTo>
                    <a:lnTo>
                      <a:pt x="171" y="90"/>
                    </a:lnTo>
                    <a:lnTo>
                      <a:pt x="167" y="90"/>
                    </a:lnTo>
                    <a:lnTo>
                      <a:pt x="167" y="93"/>
                    </a:lnTo>
                    <a:lnTo>
                      <a:pt x="167" y="97"/>
                    </a:lnTo>
                    <a:lnTo>
                      <a:pt x="167" y="101"/>
                    </a:lnTo>
                    <a:lnTo>
                      <a:pt x="169" y="104"/>
                    </a:lnTo>
                    <a:lnTo>
                      <a:pt x="169" y="108"/>
                    </a:lnTo>
                    <a:lnTo>
                      <a:pt x="169" y="112"/>
                    </a:lnTo>
                    <a:lnTo>
                      <a:pt x="169" y="115"/>
                    </a:lnTo>
                    <a:lnTo>
                      <a:pt x="165" y="119"/>
                    </a:lnTo>
                    <a:lnTo>
                      <a:pt x="163" y="123"/>
                    </a:lnTo>
                    <a:lnTo>
                      <a:pt x="161" y="126"/>
                    </a:lnTo>
                    <a:lnTo>
                      <a:pt x="159" y="130"/>
                    </a:lnTo>
                    <a:lnTo>
                      <a:pt x="155" y="132"/>
                    </a:lnTo>
                    <a:lnTo>
                      <a:pt x="153" y="135"/>
                    </a:lnTo>
                    <a:lnTo>
                      <a:pt x="151" y="139"/>
                    </a:lnTo>
                    <a:lnTo>
                      <a:pt x="147" y="139"/>
                    </a:lnTo>
                    <a:lnTo>
                      <a:pt x="143" y="139"/>
                    </a:lnTo>
                    <a:lnTo>
                      <a:pt x="139" y="139"/>
                    </a:lnTo>
                    <a:lnTo>
                      <a:pt x="135" y="139"/>
                    </a:lnTo>
                    <a:lnTo>
                      <a:pt x="131" y="137"/>
                    </a:lnTo>
                    <a:lnTo>
                      <a:pt x="127" y="137"/>
                    </a:lnTo>
                    <a:lnTo>
                      <a:pt x="123" y="139"/>
                    </a:lnTo>
                    <a:lnTo>
                      <a:pt x="119" y="139"/>
                    </a:lnTo>
                    <a:lnTo>
                      <a:pt x="115" y="141"/>
                    </a:lnTo>
                    <a:lnTo>
                      <a:pt x="111" y="143"/>
                    </a:lnTo>
                    <a:lnTo>
                      <a:pt x="107" y="143"/>
                    </a:lnTo>
                    <a:lnTo>
                      <a:pt x="103" y="143"/>
                    </a:lnTo>
                    <a:lnTo>
                      <a:pt x="99" y="144"/>
                    </a:lnTo>
                    <a:lnTo>
                      <a:pt x="95" y="144"/>
                    </a:lnTo>
                    <a:lnTo>
                      <a:pt x="91" y="144"/>
                    </a:lnTo>
                    <a:lnTo>
                      <a:pt x="87" y="146"/>
                    </a:lnTo>
                    <a:lnTo>
                      <a:pt x="83" y="146"/>
                    </a:lnTo>
                    <a:lnTo>
                      <a:pt x="79" y="148"/>
                    </a:lnTo>
                    <a:lnTo>
                      <a:pt x="75" y="150"/>
                    </a:lnTo>
                    <a:lnTo>
                      <a:pt x="73" y="154"/>
                    </a:lnTo>
                    <a:lnTo>
                      <a:pt x="73" y="157"/>
                    </a:lnTo>
                    <a:lnTo>
                      <a:pt x="75" y="161"/>
                    </a:lnTo>
                    <a:lnTo>
                      <a:pt x="77" y="165"/>
                    </a:lnTo>
                    <a:lnTo>
                      <a:pt x="77" y="168"/>
                    </a:lnTo>
                    <a:lnTo>
                      <a:pt x="75" y="174"/>
                    </a:lnTo>
                    <a:lnTo>
                      <a:pt x="71" y="177"/>
                    </a:lnTo>
                    <a:lnTo>
                      <a:pt x="71" y="181"/>
                    </a:lnTo>
                    <a:lnTo>
                      <a:pt x="69" y="185"/>
                    </a:lnTo>
                    <a:lnTo>
                      <a:pt x="65" y="187"/>
                    </a:lnTo>
                    <a:lnTo>
                      <a:pt x="65" y="190"/>
                    </a:lnTo>
                    <a:lnTo>
                      <a:pt x="65" y="194"/>
                    </a:lnTo>
                    <a:lnTo>
                      <a:pt x="65" y="198"/>
                    </a:lnTo>
                    <a:lnTo>
                      <a:pt x="65" y="201"/>
                    </a:lnTo>
                    <a:lnTo>
                      <a:pt x="65" y="192"/>
                    </a:lnTo>
                    <a:lnTo>
                      <a:pt x="67" y="198"/>
                    </a:lnTo>
                    <a:lnTo>
                      <a:pt x="69" y="201"/>
                    </a:lnTo>
                    <a:lnTo>
                      <a:pt x="73" y="203"/>
                    </a:lnTo>
                    <a:lnTo>
                      <a:pt x="73" y="207"/>
                    </a:lnTo>
                    <a:lnTo>
                      <a:pt x="73" y="210"/>
                    </a:lnTo>
                    <a:lnTo>
                      <a:pt x="73" y="214"/>
                    </a:lnTo>
                    <a:lnTo>
                      <a:pt x="73" y="218"/>
                    </a:lnTo>
                    <a:lnTo>
                      <a:pt x="71" y="221"/>
                    </a:lnTo>
                    <a:lnTo>
                      <a:pt x="69" y="225"/>
                    </a:lnTo>
                    <a:lnTo>
                      <a:pt x="69" y="229"/>
                    </a:lnTo>
                    <a:lnTo>
                      <a:pt x="69" y="232"/>
                    </a:lnTo>
                    <a:lnTo>
                      <a:pt x="69" y="236"/>
                    </a:lnTo>
                    <a:lnTo>
                      <a:pt x="69" y="240"/>
                    </a:lnTo>
                    <a:lnTo>
                      <a:pt x="69" y="243"/>
                    </a:lnTo>
                    <a:lnTo>
                      <a:pt x="71" y="247"/>
                    </a:lnTo>
                    <a:lnTo>
                      <a:pt x="71" y="251"/>
                    </a:lnTo>
                    <a:lnTo>
                      <a:pt x="73" y="254"/>
                    </a:lnTo>
                    <a:lnTo>
                      <a:pt x="73" y="258"/>
                    </a:lnTo>
                    <a:lnTo>
                      <a:pt x="73" y="262"/>
                    </a:lnTo>
                    <a:lnTo>
                      <a:pt x="73" y="265"/>
                    </a:lnTo>
                    <a:lnTo>
                      <a:pt x="71" y="269"/>
                    </a:lnTo>
                    <a:lnTo>
                      <a:pt x="69" y="273"/>
                    </a:lnTo>
                    <a:lnTo>
                      <a:pt x="69" y="276"/>
                    </a:lnTo>
                    <a:lnTo>
                      <a:pt x="69" y="280"/>
                    </a:lnTo>
                    <a:lnTo>
                      <a:pt x="73" y="283"/>
                    </a:lnTo>
                    <a:lnTo>
                      <a:pt x="75" y="287"/>
                    </a:lnTo>
                    <a:lnTo>
                      <a:pt x="75" y="291"/>
                    </a:lnTo>
                    <a:lnTo>
                      <a:pt x="75" y="294"/>
                    </a:lnTo>
                    <a:lnTo>
                      <a:pt x="73" y="298"/>
                    </a:lnTo>
                    <a:lnTo>
                      <a:pt x="73" y="302"/>
                    </a:lnTo>
                    <a:lnTo>
                      <a:pt x="71" y="305"/>
                    </a:lnTo>
                    <a:lnTo>
                      <a:pt x="67" y="307"/>
                    </a:lnTo>
                    <a:lnTo>
                      <a:pt x="65" y="311"/>
                    </a:lnTo>
                    <a:lnTo>
                      <a:pt x="65" y="315"/>
                    </a:lnTo>
                    <a:lnTo>
                      <a:pt x="65" y="318"/>
                    </a:lnTo>
                    <a:lnTo>
                      <a:pt x="69" y="320"/>
                    </a:lnTo>
                    <a:lnTo>
                      <a:pt x="69" y="324"/>
                    </a:lnTo>
                    <a:lnTo>
                      <a:pt x="71" y="327"/>
                    </a:lnTo>
                    <a:lnTo>
                      <a:pt x="69" y="331"/>
                    </a:lnTo>
                    <a:lnTo>
                      <a:pt x="65" y="333"/>
                    </a:lnTo>
                    <a:lnTo>
                      <a:pt x="61" y="335"/>
                    </a:lnTo>
                    <a:lnTo>
                      <a:pt x="58" y="337"/>
                    </a:lnTo>
                    <a:lnTo>
                      <a:pt x="52" y="333"/>
                    </a:lnTo>
                    <a:lnTo>
                      <a:pt x="48" y="331"/>
                    </a:lnTo>
                    <a:lnTo>
                      <a:pt x="44" y="329"/>
                    </a:lnTo>
                    <a:lnTo>
                      <a:pt x="42" y="326"/>
                    </a:lnTo>
                    <a:lnTo>
                      <a:pt x="38" y="326"/>
                    </a:lnTo>
                    <a:lnTo>
                      <a:pt x="36" y="322"/>
                    </a:lnTo>
                    <a:lnTo>
                      <a:pt x="32" y="322"/>
                    </a:lnTo>
                    <a:lnTo>
                      <a:pt x="30" y="318"/>
                    </a:lnTo>
                    <a:lnTo>
                      <a:pt x="26" y="316"/>
                    </a:lnTo>
                    <a:lnTo>
                      <a:pt x="22" y="316"/>
                    </a:lnTo>
                    <a:lnTo>
                      <a:pt x="20" y="313"/>
                    </a:lnTo>
                    <a:lnTo>
                      <a:pt x="16" y="315"/>
                    </a:lnTo>
                    <a:lnTo>
                      <a:pt x="12" y="318"/>
                    </a:lnTo>
                    <a:lnTo>
                      <a:pt x="10" y="322"/>
                    </a:lnTo>
                    <a:lnTo>
                      <a:pt x="10" y="326"/>
                    </a:lnTo>
                    <a:lnTo>
                      <a:pt x="12" y="329"/>
                    </a:lnTo>
                    <a:lnTo>
                      <a:pt x="12" y="333"/>
                    </a:lnTo>
                    <a:lnTo>
                      <a:pt x="14" y="337"/>
                    </a:lnTo>
                    <a:lnTo>
                      <a:pt x="10" y="338"/>
                    </a:lnTo>
                    <a:lnTo>
                      <a:pt x="6" y="342"/>
                    </a:lnTo>
                    <a:lnTo>
                      <a:pt x="4" y="346"/>
                    </a:lnTo>
                    <a:lnTo>
                      <a:pt x="2" y="349"/>
                    </a:lnTo>
                    <a:lnTo>
                      <a:pt x="0" y="355"/>
                    </a:lnTo>
                    <a:lnTo>
                      <a:pt x="0" y="358"/>
                    </a:lnTo>
                    <a:lnTo>
                      <a:pt x="2" y="362"/>
                    </a:lnTo>
                    <a:lnTo>
                      <a:pt x="6" y="364"/>
                    </a:lnTo>
                    <a:lnTo>
                      <a:pt x="10" y="368"/>
                    </a:lnTo>
                    <a:lnTo>
                      <a:pt x="14" y="371"/>
                    </a:lnTo>
                    <a:lnTo>
                      <a:pt x="16" y="375"/>
                    </a:lnTo>
                    <a:lnTo>
                      <a:pt x="18" y="380"/>
                    </a:lnTo>
                    <a:lnTo>
                      <a:pt x="20" y="384"/>
                    </a:lnTo>
                    <a:lnTo>
                      <a:pt x="22" y="388"/>
                    </a:lnTo>
                    <a:lnTo>
                      <a:pt x="26" y="388"/>
                    </a:lnTo>
                    <a:lnTo>
                      <a:pt x="30" y="390"/>
                    </a:lnTo>
                    <a:lnTo>
                      <a:pt x="32" y="393"/>
                    </a:lnTo>
                    <a:lnTo>
                      <a:pt x="36" y="395"/>
                    </a:lnTo>
                    <a:lnTo>
                      <a:pt x="36" y="399"/>
                    </a:lnTo>
                    <a:lnTo>
                      <a:pt x="40" y="402"/>
                    </a:lnTo>
                    <a:lnTo>
                      <a:pt x="42" y="406"/>
                    </a:lnTo>
                    <a:lnTo>
                      <a:pt x="44" y="411"/>
                    </a:lnTo>
                    <a:lnTo>
                      <a:pt x="48" y="415"/>
                    </a:lnTo>
                    <a:lnTo>
                      <a:pt x="50" y="419"/>
                    </a:lnTo>
                    <a:lnTo>
                      <a:pt x="52" y="422"/>
                    </a:lnTo>
                    <a:lnTo>
                      <a:pt x="56" y="426"/>
                    </a:lnTo>
                    <a:lnTo>
                      <a:pt x="58" y="430"/>
                    </a:lnTo>
                    <a:lnTo>
                      <a:pt x="60" y="433"/>
                    </a:lnTo>
                    <a:lnTo>
                      <a:pt x="61" y="437"/>
                    </a:lnTo>
                    <a:lnTo>
                      <a:pt x="61" y="441"/>
                    </a:lnTo>
                    <a:lnTo>
                      <a:pt x="61" y="444"/>
                    </a:lnTo>
                    <a:lnTo>
                      <a:pt x="61" y="448"/>
                    </a:lnTo>
                    <a:lnTo>
                      <a:pt x="61" y="452"/>
                    </a:lnTo>
                    <a:lnTo>
                      <a:pt x="61" y="455"/>
                    </a:lnTo>
                    <a:lnTo>
                      <a:pt x="61" y="459"/>
                    </a:lnTo>
                    <a:lnTo>
                      <a:pt x="61" y="463"/>
                    </a:lnTo>
                    <a:lnTo>
                      <a:pt x="58" y="465"/>
                    </a:lnTo>
                    <a:lnTo>
                      <a:pt x="56" y="468"/>
                    </a:lnTo>
                    <a:lnTo>
                      <a:pt x="52" y="470"/>
                    </a:lnTo>
                    <a:lnTo>
                      <a:pt x="50" y="474"/>
                    </a:lnTo>
                    <a:lnTo>
                      <a:pt x="48" y="477"/>
                    </a:lnTo>
                    <a:lnTo>
                      <a:pt x="46" y="481"/>
                    </a:lnTo>
                    <a:lnTo>
                      <a:pt x="46" y="485"/>
                    </a:lnTo>
                    <a:lnTo>
                      <a:pt x="46" y="488"/>
                    </a:lnTo>
                    <a:lnTo>
                      <a:pt x="48" y="492"/>
                    </a:lnTo>
                    <a:lnTo>
                      <a:pt x="52" y="494"/>
                    </a:lnTo>
                    <a:lnTo>
                      <a:pt x="54" y="497"/>
                    </a:lnTo>
                    <a:lnTo>
                      <a:pt x="56" y="501"/>
                    </a:lnTo>
                    <a:lnTo>
                      <a:pt x="56" y="505"/>
                    </a:lnTo>
                    <a:lnTo>
                      <a:pt x="58" y="508"/>
                    </a:lnTo>
                    <a:lnTo>
                      <a:pt x="60" y="512"/>
                    </a:lnTo>
                    <a:lnTo>
                      <a:pt x="63" y="512"/>
                    </a:lnTo>
                    <a:lnTo>
                      <a:pt x="67" y="508"/>
                    </a:lnTo>
                    <a:lnTo>
                      <a:pt x="67" y="505"/>
                    </a:lnTo>
                    <a:lnTo>
                      <a:pt x="65" y="501"/>
                    </a:lnTo>
                    <a:lnTo>
                      <a:pt x="63" y="497"/>
                    </a:lnTo>
                    <a:lnTo>
                      <a:pt x="61" y="494"/>
                    </a:lnTo>
                    <a:lnTo>
                      <a:pt x="61" y="490"/>
                    </a:lnTo>
                    <a:lnTo>
                      <a:pt x="60" y="486"/>
                    </a:lnTo>
                    <a:lnTo>
                      <a:pt x="60" y="483"/>
                    </a:lnTo>
                    <a:lnTo>
                      <a:pt x="60" y="479"/>
                    </a:lnTo>
                    <a:lnTo>
                      <a:pt x="63" y="477"/>
                    </a:lnTo>
                    <a:lnTo>
                      <a:pt x="67" y="476"/>
                    </a:lnTo>
                    <a:lnTo>
                      <a:pt x="71" y="474"/>
                    </a:lnTo>
                    <a:lnTo>
                      <a:pt x="75" y="472"/>
                    </a:lnTo>
                    <a:lnTo>
                      <a:pt x="79" y="470"/>
                    </a:lnTo>
                    <a:lnTo>
                      <a:pt x="81" y="466"/>
                    </a:lnTo>
                    <a:lnTo>
                      <a:pt x="83" y="463"/>
                    </a:lnTo>
                    <a:lnTo>
                      <a:pt x="85" y="459"/>
                    </a:lnTo>
                    <a:lnTo>
                      <a:pt x="85" y="455"/>
                    </a:lnTo>
                    <a:lnTo>
                      <a:pt x="83" y="452"/>
                    </a:lnTo>
                    <a:lnTo>
                      <a:pt x="81" y="448"/>
                    </a:lnTo>
                    <a:lnTo>
                      <a:pt x="79" y="444"/>
                    </a:lnTo>
                    <a:lnTo>
                      <a:pt x="79" y="441"/>
                    </a:lnTo>
                    <a:lnTo>
                      <a:pt x="79" y="437"/>
                    </a:lnTo>
                    <a:lnTo>
                      <a:pt x="77" y="433"/>
                    </a:lnTo>
                    <a:lnTo>
                      <a:pt x="77" y="430"/>
                    </a:lnTo>
                    <a:lnTo>
                      <a:pt x="77" y="426"/>
                    </a:lnTo>
                    <a:lnTo>
                      <a:pt x="79" y="422"/>
                    </a:lnTo>
                    <a:lnTo>
                      <a:pt x="81" y="419"/>
                    </a:lnTo>
                    <a:lnTo>
                      <a:pt x="85" y="417"/>
                    </a:lnTo>
                    <a:lnTo>
                      <a:pt x="89" y="417"/>
                    </a:lnTo>
                    <a:lnTo>
                      <a:pt x="93" y="419"/>
                    </a:lnTo>
                    <a:lnTo>
                      <a:pt x="97" y="421"/>
                    </a:lnTo>
                    <a:lnTo>
                      <a:pt x="101" y="422"/>
                    </a:lnTo>
                    <a:lnTo>
                      <a:pt x="105" y="422"/>
                    </a:lnTo>
                    <a:lnTo>
                      <a:pt x="107" y="419"/>
                    </a:lnTo>
                    <a:lnTo>
                      <a:pt x="111" y="415"/>
                    </a:lnTo>
                    <a:lnTo>
                      <a:pt x="115" y="415"/>
                    </a:lnTo>
                    <a:lnTo>
                      <a:pt x="117" y="419"/>
                    </a:lnTo>
                    <a:lnTo>
                      <a:pt x="119" y="422"/>
                    </a:lnTo>
                    <a:lnTo>
                      <a:pt x="123" y="424"/>
                    </a:lnTo>
                    <a:lnTo>
                      <a:pt x="127" y="426"/>
                    </a:lnTo>
                    <a:lnTo>
                      <a:pt x="131" y="428"/>
                    </a:lnTo>
                    <a:lnTo>
                      <a:pt x="135" y="426"/>
                    </a:lnTo>
                    <a:lnTo>
                      <a:pt x="139" y="424"/>
                    </a:lnTo>
                    <a:lnTo>
                      <a:pt x="143" y="426"/>
                    </a:lnTo>
                    <a:lnTo>
                      <a:pt x="147" y="426"/>
                    </a:lnTo>
                    <a:lnTo>
                      <a:pt x="151" y="426"/>
                    </a:lnTo>
                    <a:lnTo>
                      <a:pt x="155" y="426"/>
                    </a:lnTo>
                    <a:lnTo>
                      <a:pt x="159" y="428"/>
                    </a:lnTo>
                    <a:lnTo>
                      <a:pt x="163" y="426"/>
                    </a:lnTo>
                    <a:lnTo>
                      <a:pt x="167" y="426"/>
                    </a:lnTo>
                    <a:lnTo>
                      <a:pt x="171" y="422"/>
                    </a:lnTo>
                    <a:lnTo>
                      <a:pt x="175" y="421"/>
                    </a:lnTo>
                    <a:lnTo>
                      <a:pt x="177" y="417"/>
                    </a:lnTo>
                    <a:lnTo>
                      <a:pt x="181" y="415"/>
                    </a:lnTo>
                    <a:lnTo>
                      <a:pt x="183" y="411"/>
                    </a:lnTo>
                    <a:lnTo>
                      <a:pt x="186" y="410"/>
                    </a:lnTo>
                    <a:lnTo>
                      <a:pt x="188" y="406"/>
                    </a:lnTo>
                    <a:lnTo>
                      <a:pt x="192" y="404"/>
                    </a:lnTo>
                    <a:lnTo>
                      <a:pt x="194" y="401"/>
                    </a:lnTo>
                    <a:lnTo>
                      <a:pt x="198" y="399"/>
                    </a:lnTo>
                    <a:lnTo>
                      <a:pt x="202" y="397"/>
                    </a:lnTo>
                    <a:lnTo>
                      <a:pt x="202" y="393"/>
                    </a:lnTo>
                    <a:lnTo>
                      <a:pt x="202" y="390"/>
                    </a:lnTo>
                    <a:lnTo>
                      <a:pt x="204" y="386"/>
                    </a:lnTo>
                    <a:lnTo>
                      <a:pt x="204" y="382"/>
                    </a:lnTo>
                    <a:lnTo>
                      <a:pt x="206" y="377"/>
                    </a:lnTo>
                    <a:lnTo>
                      <a:pt x="206" y="373"/>
                    </a:lnTo>
                    <a:lnTo>
                      <a:pt x="208" y="369"/>
                    </a:lnTo>
                    <a:lnTo>
                      <a:pt x="210" y="366"/>
                    </a:lnTo>
                    <a:lnTo>
                      <a:pt x="210" y="362"/>
                    </a:lnTo>
                    <a:lnTo>
                      <a:pt x="212" y="358"/>
                    </a:lnTo>
                    <a:lnTo>
                      <a:pt x="214" y="355"/>
                    </a:lnTo>
                    <a:lnTo>
                      <a:pt x="218" y="353"/>
                    </a:lnTo>
                    <a:lnTo>
                      <a:pt x="220" y="349"/>
                    </a:lnTo>
                    <a:lnTo>
                      <a:pt x="224" y="347"/>
                    </a:lnTo>
                    <a:lnTo>
                      <a:pt x="224" y="344"/>
                    </a:lnTo>
                    <a:lnTo>
                      <a:pt x="224" y="340"/>
                    </a:lnTo>
                    <a:lnTo>
                      <a:pt x="224" y="335"/>
                    </a:lnTo>
                    <a:lnTo>
                      <a:pt x="224" y="331"/>
                    </a:lnTo>
                    <a:lnTo>
                      <a:pt x="224" y="327"/>
                    </a:lnTo>
                    <a:lnTo>
                      <a:pt x="224" y="324"/>
                    </a:lnTo>
                    <a:lnTo>
                      <a:pt x="228" y="322"/>
                    </a:lnTo>
                    <a:lnTo>
                      <a:pt x="228" y="316"/>
                    </a:lnTo>
                    <a:lnTo>
                      <a:pt x="228" y="313"/>
                    </a:lnTo>
                    <a:lnTo>
                      <a:pt x="226" y="309"/>
                    </a:lnTo>
                    <a:lnTo>
                      <a:pt x="224" y="305"/>
                    </a:lnTo>
                    <a:lnTo>
                      <a:pt x="222" y="302"/>
                    </a:lnTo>
                    <a:lnTo>
                      <a:pt x="222" y="298"/>
                    </a:lnTo>
                    <a:lnTo>
                      <a:pt x="220" y="294"/>
                    </a:lnTo>
                    <a:lnTo>
                      <a:pt x="220" y="291"/>
                    </a:lnTo>
                    <a:lnTo>
                      <a:pt x="224" y="285"/>
                    </a:lnTo>
                    <a:lnTo>
                      <a:pt x="224" y="282"/>
                    </a:lnTo>
                    <a:lnTo>
                      <a:pt x="226" y="278"/>
                    </a:lnTo>
                    <a:lnTo>
                      <a:pt x="228" y="274"/>
                    </a:lnTo>
                    <a:lnTo>
                      <a:pt x="230" y="271"/>
                    </a:lnTo>
                    <a:lnTo>
                      <a:pt x="230" y="267"/>
                    </a:lnTo>
                    <a:lnTo>
                      <a:pt x="230" y="263"/>
                    </a:lnTo>
                    <a:lnTo>
                      <a:pt x="230" y="260"/>
                    </a:lnTo>
                    <a:lnTo>
                      <a:pt x="230" y="256"/>
                    </a:lnTo>
                    <a:lnTo>
                      <a:pt x="232" y="252"/>
                    </a:lnTo>
                    <a:lnTo>
                      <a:pt x="232" y="249"/>
                    </a:lnTo>
                    <a:lnTo>
                      <a:pt x="232" y="245"/>
                    </a:lnTo>
                    <a:lnTo>
                      <a:pt x="232" y="241"/>
                    </a:lnTo>
                    <a:lnTo>
                      <a:pt x="232" y="238"/>
                    </a:lnTo>
                    <a:lnTo>
                      <a:pt x="232" y="234"/>
                    </a:lnTo>
                    <a:lnTo>
                      <a:pt x="232" y="230"/>
                    </a:lnTo>
                    <a:lnTo>
                      <a:pt x="232" y="227"/>
                    </a:lnTo>
                    <a:lnTo>
                      <a:pt x="234" y="223"/>
                    </a:lnTo>
                    <a:lnTo>
                      <a:pt x="236" y="218"/>
                    </a:lnTo>
                    <a:lnTo>
                      <a:pt x="236" y="214"/>
                    </a:lnTo>
                    <a:lnTo>
                      <a:pt x="236" y="208"/>
                    </a:lnTo>
                    <a:lnTo>
                      <a:pt x="236" y="205"/>
                    </a:lnTo>
                    <a:lnTo>
                      <a:pt x="236" y="201"/>
                    </a:lnTo>
                    <a:lnTo>
                      <a:pt x="236" y="198"/>
                    </a:lnTo>
                    <a:lnTo>
                      <a:pt x="236" y="192"/>
                    </a:lnTo>
                    <a:lnTo>
                      <a:pt x="236" y="188"/>
                    </a:lnTo>
                    <a:lnTo>
                      <a:pt x="236" y="185"/>
                    </a:lnTo>
                    <a:lnTo>
                      <a:pt x="236" y="181"/>
                    </a:lnTo>
                    <a:lnTo>
                      <a:pt x="236" y="177"/>
                    </a:lnTo>
                    <a:lnTo>
                      <a:pt x="238" y="172"/>
                    </a:lnTo>
                    <a:lnTo>
                      <a:pt x="240" y="168"/>
                    </a:lnTo>
                    <a:lnTo>
                      <a:pt x="242" y="165"/>
                    </a:lnTo>
                    <a:lnTo>
                      <a:pt x="244" y="161"/>
                    </a:lnTo>
                    <a:lnTo>
                      <a:pt x="244" y="157"/>
                    </a:lnTo>
                    <a:lnTo>
                      <a:pt x="244" y="154"/>
                    </a:lnTo>
                    <a:lnTo>
                      <a:pt x="244" y="150"/>
                    </a:lnTo>
                    <a:lnTo>
                      <a:pt x="244" y="144"/>
                    </a:lnTo>
                    <a:lnTo>
                      <a:pt x="244" y="141"/>
                    </a:lnTo>
                    <a:lnTo>
                      <a:pt x="244" y="135"/>
                    </a:lnTo>
                    <a:lnTo>
                      <a:pt x="244" y="130"/>
                    </a:lnTo>
                    <a:lnTo>
                      <a:pt x="244" y="126"/>
                    </a:lnTo>
                    <a:lnTo>
                      <a:pt x="244" y="121"/>
                    </a:lnTo>
                    <a:lnTo>
                      <a:pt x="244" y="117"/>
                    </a:lnTo>
                    <a:lnTo>
                      <a:pt x="244" y="112"/>
                    </a:lnTo>
                    <a:lnTo>
                      <a:pt x="244" y="108"/>
                    </a:lnTo>
                    <a:lnTo>
                      <a:pt x="244" y="104"/>
                    </a:lnTo>
                    <a:lnTo>
                      <a:pt x="244" y="101"/>
                    </a:lnTo>
                    <a:lnTo>
                      <a:pt x="242" y="97"/>
                    </a:lnTo>
                    <a:lnTo>
                      <a:pt x="240" y="93"/>
                    </a:lnTo>
                    <a:lnTo>
                      <a:pt x="240" y="90"/>
                    </a:lnTo>
                    <a:lnTo>
                      <a:pt x="242" y="86"/>
                    </a:lnTo>
                    <a:lnTo>
                      <a:pt x="242" y="82"/>
                    </a:lnTo>
                    <a:lnTo>
                      <a:pt x="242" y="79"/>
                    </a:lnTo>
                    <a:lnTo>
                      <a:pt x="242" y="75"/>
                    </a:lnTo>
                    <a:lnTo>
                      <a:pt x="242" y="71"/>
                    </a:lnTo>
                    <a:lnTo>
                      <a:pt x="242" y="68"/>
                    </a:lnTo>
                    <a:lnTo>
                      <a:pt x="240" y="64"/>
                    </a:lnTo>
                    <a:lnTo>
                      <a:pt x="240" y="60"/>
                    </a:lnTo>
                    <a:lnTo>
                      <a:pt x="238" y="57"/>
                    </a:lnTo>
                    <a:lnTo>
                      <a:pt x="238" y="53"/>
                    </a:lnTo>
                    <a:lnTo>
                      <a:pt x="238" y="49"/>
                    </a:lnTo>
                    <a:lnTo>
                      <a:pt x="238" y="46"/>
                    </a:lnTo>
                    <a:lnTo>
                      <a:pt x="234" y="46"/>
                    </a:lnTo>
                    <a:lnTo>
                      <a:pt x="230" y="46"/>
                    </a:lnTo>
                    <a:lnTo>
                      <a:pt x="234" y="42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4" name="Freeform 116"/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6545916" y="1119243"/>
                <a:ext cx="924873" cy="970891"/>
              </a:xfrm>
              <a:custGeom>
                <a:avLst/>
                <a:gdLst>
                  <a:gd name="T0" fmla="*/ 2147483647 w 745"/>
                  <a:gd name="T1" fmla="*/ 2147483647 h 820"/>
                  <a:gd name="T2" fmla="*/ 2147483647 w 745"/>
                  <a:gd name="T3" fmla="*/ 2147483647 h 820"/>
                  <a:gd name="T4" fmla="*/ 2147483647 w 745"/>
                  <a:gd name="T5" fmla="*/ 2147483647 h 820"/>
                  <a:gd name="T6" fmla="*/ 2147483647 w 745"/>
                  <a:gd name="T7" fmla="*/ 2147483647 h 820"/>
                  <a:gd name="T8" fmla="*/ 2147483647 w 745"/>
                  <a:gd name="T9" fmla="*/ 2147483647 h 820"/>
                  <a:gd name="T10" fmla="*/ 2147483647 w 745"/>
                  <a:gd name="T11" fmla="*/ 2147483647 h 820"/>
                  <a:gd name="T12" fmla="*/ 2147483647 w 745"/>
                  <a:gd name="T13" fmla="*/ 2147483647 h 820"/>
                  <a:gd name="T14" fmla="*/ 2147483647 w 745"/>
                  <a:gd name="T15" fmla="*/ 2147483647 h 820"/>
                  <a:gd name="T16" fmla="*/ 2147483647 w 745"/>
                  <a:gd name="T17" fmla="*/ 2147483647 h 820"/>
                  <a:gd name="T18" fmla="*/ 2147483647 w 745"/>
                  <a:gd name="T19" fmla="*/ 2147483647 h 820"/>
                  <a:gd name="T20" fmla="*/ 2147483647 w 745"/>
                  <a:gd name="T21" fmla="*/ 2147483647 h 820"/>
                  <a:gd name="T22" fmla="*/ 2147483647 w 745"/>
                  <a:gd name="T23" fmla="*/ 2147483647 h 820"/>
                  <a:gd name="T24" fmla="*/ 2147483647 w 745"/>
                  <a:gd name="T25" fmla="*/ 2147483647 h 820"/>
                  <a:gd name="T26" fmla="*/ 2147483647 w 745"/>
                  <a:gd name="T27" fmla="*/ 2147483647 h 820"/>
                  <a:gd name="T28" fmla="*/ 2147483647 w 745"/>
                  <a:gd name="T29" fmla="*/ 2147483647 h 820"/>
                  <a:gd name="T30" fmla="*/ 2147483647 w 745"/>
                  <a:gd name="T31" fmla="*/ 2147483647 h 820"/>
                  <a:gd name="T32" fmla="*/ 2147483647 w 745"/>
                  <a:gd name="T33" fmla="*/ 2147483647 h 820"/>
                  <a:gd name="T34" fmla="*/ 2147483647 w 745"/>
                  <a:gd name="T35" fmla="*/ 2147483647 h 820"/>
                  <a:gd name="T36" fmla="*/ 2147483647 w 745"/>
                  <a:gd name="T37" fmla="*/ 2147483647 h 820"/>
                  <a:gd name="T38" fmla="*/ 2147483647 w 745"/>
                  <a:gd name="T39" fmla="*/ 2147483647 h 820"/>
                  <a:gd name="T40" fmla="*/ 2147483647 w 745"/>
                  <a:gd name="T41" fmla="*/ 2147483647 h 820"/>
                  <a:gd name="T42" fmla="*/ 2147483647 w 745"/>
                  <a:gd name="T43" fmla="*/ 2147483647 h 820"/>
                  <a:gd name="T44" fmla="*/ 2147483647 w 745"/>
                  <a:gd name="T45" fmla="*/ 2147483647 h 820"/>
                  <a:gd name="T46" fmla="*/ 2147483647 w 745"/>
                  <a:gd name="T47" fmla="*/ 2147483647 h 820"/>
                  <a:gd name="T48" fmla="*/ 2147483647 w 745"/>
                  <a:gd name="T49" fmla="*/ 2147483647 h 820"/>
                  <a:gd name="T50" fmla="*/ 2147483647 w 745"/>
                  <a:gd name="T51" fmla="*/ 2147483647 h 820"/>
                  <a:gd name="T52" fmla="*/ 2147483647 w 745"/>
                  <a:gd name="T53" fmla="*/ 2147483647 h 820"/>
                  <a:gd name="T54" fmla="*/ 2147483647 w 745"/>
                  <a:gd name="T55" fmla="*/ 2147483647 h 820"/>
                  <a:gd name="T56" fmla="*/ 2147483647 w 745"/>
                  <a:gd name="T57" fmla="*/ 2147483647 h 820"/>
                  <a:gd name="T58" fmla="*/ 2147483647 w 745"/>
                  <a:gd name="T59" fmla="*/ 2147483647 h 820"/>
                  <a:gd name="T60" fmla="*/ 2147483647 w 745"/>
                  <a:gd name="T61" fmla="*/ 2147483647 h 820"/>
                  <a:gd name="T62" fmla="*/ 2147483647 w 745"/>
                  <a:gd name="T63" fmla="*/ 2147483647 h 820"/>
                  <a:gd name="T64" fmla="*/ 2147483647 w 745"/>
                  <a:gd name="T65" fmla="*/ 2147483647 h 820"/>
                  <a:gd name="T66" fmla="*/ 2147483647 w 745"/>
                  <a:gd name="T67" fmla="*/ 2147483647 h 820"/>
                  <a:gd name="T68" fmla="*/ 2147483647 w 745"/>
                  <a:gd name="T69" fmla="*/ 2147483647 h 820"/>
                  <a:gd name="T70" fmla="*/ 2147483647 w 745"/>
                  <a:gd name="T71" fmla="*/ 2147483647 h 820"/>
                  <a:gd name="T72" fmla="*/ 2147483647 w 745"/>
                  <a:gd name="T73" fmla="*/ 2147483647 h 820"/>
                  <a:gd name="T74" fmla="*/ 2147483647 w 745"/>
                  <a:gd name="T75" fmla="*/ 2147483647 h 820"/>
                  <a:gd name="T76" fmla="*/ 2147483647 w 745"/>
                  <a:gd name="T77" fmla="*/ 2147483647 h 820"/>
                  <a:gd name="T78" fmla="*/ 2147483647 w 745"/>
                  <a:gd name="T79" fmla="*/ 2147483647 h 820"/>
                  <a:gd name="T80" fmla="*/ 2147483647 w 745"/>
                  <a:gd name="T81" fmla="*/ 2147483647 h 820"/>
                  <a:gd name="T82" fmla="*/ 2147483647 w 745"/>
                  <a:gd name="T83" fmla="*/ 2147483647 h 820"/>
                  <a:gd name="T84" fmla="*/ 2147483647 w 745"/>
                  <a:gd name="T85" fmla="*/ 2147483647 h 820"/>
                  <a:gd name="T86" fmla="*/ 2147483647 w 745"/>
                  <a:gd name="T87" fmla="*/ 2147483647 h 820"/>
                  <a:gd name="T88" fmla="*/ 2147483647 w 745"/>
                  <a:gd name="T89" fmla="*/ 2147483647 h 820"/>
                  <a:gd name="T90" fmla="*/ 2147483647 w 745"/>
                  <a:gd name="T91" fmla="*/ 2147483647 h 820"/>
                  <a:gd name="T92" fmla="*/ 2147483647 w 745"/>
                  <a:gd name="T93" fmla="*/ 2147483647 h 820"/>
                  <a:gd name="T94" fmla="*/ 2147483647 w 745"/>
                  <a:gd name="T95" fmla="*/ 2147483647 h 820"/>
                  <a:gd name="T96" fmla="*/ 2147483647 w 745"/>
                  <a:gd name="T97" fmla="*/ 2147483647 h 820"/>
                  <a:gd name="T98" fmla="*/ 2147483647 w 745"/>
                  <a:gd name="T99" fmla="*/ 2147483647 h 820"/>
                  <a:gd name="T100" fmla="*/ 2147483647 w 745"/>
                  <a:gd name="T101" fmla="*/ 2147483647 h 820"/>
                  <a:gd name="T102" fmla="*/ 2147483647 w 745"/>
                  <a:gd name="T103" fmla="*/ 2147483647 h 820"/>
                  <a:gd name="T104" fmla="*/ 2147483647 w 745"/>
                  <a:gd name="T105" fmla="*/ 2147483647 h 820"/>
                  <a:gd name="T106" fmla="*/ 2147483647 w 745"/>
                  <a:gd name="T107" fmla="*/ 2147483647 h 820"/>
                  <a:gd name="T108" fmla="*/ 2147483647 w 745"/>
                  <a:gd name="T109" fmla="*/ 2147483647 h 820"/>
                  <a:gd name="T110" fmla="*/ 2147483647 w 745"/>
                  <a:gd name="T111" fmla="*/ 2147483647 h 820"/>
                  <a:gd name="T112" fmla="*/ 2147483647 w 745"/>
                  <a:gd name="T113" fmla="*/ 2147483647 h 820"/>
                  <a:gd name="T114" fmla="*/ 2147483647 w 745"/>
                  <a:gd name="T115" fmla="*/ 2147483647 h 820"/>
                  <a:gd name="T116" fmla="*/ 2147483647 w 745"/>
                  <a:gd name="T117" fmla="*/ 2147483647 h 820"/>
                  <a:gd name="T118" fmla="*/ 2147483647 w 745"/>
                  <a:gd name="T119" fmla="*/ 2147483647 h 820"/>
                  <a:gd name="T120" fmla="*/ 2147483647 w 745"/>
                  <a:gd name="T121" fmla="*/ 2147483647 h 820"/>
                  <a:gd name="T122" fmla="*/ 2147483647 w 745"/>
                  <a:gd name="T123" fmla="*/ 2147483647 h 82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45"/>
                  <a:gd name="T187" fmla="*/ 0 h 820"/>
                  <a:gd name="T188" fmla="*/ 745 w 745"/>
                  <a:gd name="T189" fmla="*/ 820 h 82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45" h="820">
                    <a:moveTo>
                      <a:pt x="9" y="600"/>
                    </a:moveTo>
                    <a:lnTo>
                      <a:pt x="8" y="603"/>
                    </a:lnTo>
                    <a:lnTo>
                      <a:pt x="3" y="603"/>
                    </a:lnTo>
                    <a:lnTo>
                      <a:pt x="2" y="601"/>
                    </a:lnTo>
                    <a:lnTo>
                      <a:pt x="5" y="595"/>
                    </a:lnTo>
                    <a:lnTo>
                      <a:pt x="6" y="591"/>
                    </a:lnTo>
                    <a:lnTo>
                      <a:pt x="9" y="586"/>
                    </a:lnTo>
                    <a:lnTo>
                      <a:pt x="12" y="582"/>
                    </a:lnTo>
                    <a:lnTo>
                      <a:pt x="15" y="577"/>
                    </a:lnTo>
                    <a:lnTo>
                      <a:pt x="20" y="575"/>
                    </a:lnTo>
                    <a:lnTo>
                      <a:pt x="24" y="574"/>
                    </a:lnTo>
                    <a:lnTo>
                      <a:pt x="29" y="572"/>
                    </a:lnTo>
                    <a:lnTo>
                      <a:pt x="30" y="567"/>
                    </a:lnTo>
                    <a:lnTo>
                      <a:pt x="34" y="564"/>
                    </a:lnTo>
                    <a:lnTo>
                      <a:pt x="36" y="561"/>
                    </a:lnTo>
                    <a:lnTo>
                      <a:pt x="40" y="560"/>
                    </a:lnTo>
                    <a:lnTo>
                      <a:pt x="44" y="554"/>
                    </a:lnTo>
                    <a:lnTo>
                      <a:pt x="48" y="552"/>
                    </a:lnTo>
                    <a:lnTo>
                      <a:pt x="53" y="549"/>
                    </a:lnTo>
                    <a:lnTo>
                      <a:pt x="56" y="545"/>
                    </a:lnTo>
                    <a:lnTo>
                      <a:pt x="60" y="542"/>
                    </a:lnTo>
                    <a:lnTo>
                      <a:pt x="61" y="537"/>
                    </a:lnTo>
                    <a:lnTo>
                      <a:pt x="65" y="535"/>
                    </a:lnTo>
                    <a:lnTo>
                      <a:pt x="68" y="531"/>
                    </a:lnTo>
                    <a:lnTo>
                      <a:pt x="69" y="526"/>
                    </a:lnTo>
                    <a:lnTo>
                      <a:pt x="66" y="522"/>
                    </a:lnTo>
                    <a:lnTo>
                      <a:pt x="63" y="517"/>
                    </a:lnTo>
                    <a:lnTo>
                      <a:pt x="62" y="513"/>
                    </a:lnTo>
                    <a:lnTo>
                      <a:pt x="62" y="509"/>
                    </a:lnTo>
                    <a:lnTo>
                      <a:pt x="64" y="504"/>
                    </a:lnTo>
                    <a:lnTo>
                      <a:pt x="63" y="499"/>
                    </a:lnTo>
                    <a:lnTo>
                      <a:pt x="63" y="496"/>
                    </a:lnTo>
                    <a:lnTo>
                      <a:pt x="62" y="492"/>
                    </a:lnTo>
                    <a:lnTo>
                      <a:pt x="66" y="489"/>
                    </a:lnTo>
                    <a:lnTo>
                      <a:pt x="71" y="486"/>
                    </a:lnTo>
                    <a:lnTo>
                      <a:pt x="75" y="486"/>
                    </a:lnTo>
                    <a:lnTo>
                      <a:pt x="80" y="487"/>
                    </a:lnTo>
                    <a:lnTo>
                      <a:pt x="84" y="492"/>
                    </a:lnTo>
                    <a:lnTo>
                      <a:pt x="87" y="494"/>
                    </a:lnTo>
                    <a:lnTo>
                      <a:pt x="92" y="496"/>
                    </a:lnTo>
                    <a:lnTo>
                      <a:pt x="96" y="495"/>
                    </a:lnTo>
                    <a:lnTo>
                      <a:pt x="101" y="494"/>
                    </a:lnTo>
                    <a:lnTo>
                      <a:pt x="106" y="492"/>
                    </a:lnTo>
                    <a:lnTo>
                      <a:pt x="109" y="490"/>
                    </a:lnTo>
                    <a:lnTo>
                      <a:pt x="114" y="488"/>
                    </a:lnTo>
                    <a:lnTo>
                      <a:pt x="118" y="484"/>
                    </a:lnTo>
                    <a:lnTo>
                      <a:pt x="122" y="481"/>
                    </a:lnTo>
                    <a:lnTo>
                      <a:pt x="127" y="483"/>
                    </a:lnTo>
                    <a:lnTo>
                      <a:pt x="132" y="482"/>
                    </a:lnTo>
                    <a:lnTo>
                      <a:pt x="136" y="485"/>
                    </a:lnTo>
                    <a:lnTo>
                      <a:pt x="138" y="487"/>
                    </a:lnTo>
                    <a:lnTo>
                      <a:pt x="144" y="489"/>
                    </a:lnTo>
                    <a:lnTo>
                      <a:pt x="148" y="488"/>
                    </a:lnTo>
                    <a:lnTo>
                      <a:pt x="154" y="487"/>
                    </a:lnTo>
                    <a:lnTo>
                      <a:pt x="159" y="485"/>
                    </a:lnTo>
                    <a:lnTo>
                      <a:pt x="163" y="481"/>
                    </a:lnTo>
                    <a:lnTo>
                      <a:pt x="167" y="475"/>
                    </a:lnTo>
                    <a:lnTo>
                      <a:pt x="170" y="471"/>
                    </a:lnTo>
                    <a:lnTo>
                      <a:pt x="170" y="467"/>
                    </a:lnTo>
                    <a:lnTo>
                      <a:pt x="169" y="463"/>
                    </a:lnTo>
                    <a:lnTo>
                      <a:pt x="169" y="458"/>
                    </a:lnTo>
                    <a:lnTo>
                      <a:pt x="171" y="452"/>
                    </a:lnTo>
                    <a:lnTo>
                      <a:pt x="167" y="446"/>
                    </a:lnTo>
                    <a:lnTo>
                      <a:pt x="167" y="442"/>
                    </a:lnTo>
                    <a:lnTo>
                      <a:pt x="164" y="436"/>
                    </a:lnTo>
                    <a:lnTo>
                      <a:pt x="161" y="433"/>
                    </a:lnTo>
                    <a:lnTo>
                      <a:pt x="156" y="431"/>
                    </a:lnTo>
                    <a:lnTo>
                      <a:pt x="152" y="430"/>
                    </a:lnTo>
                    <a:lnTo>
                      <a:pt x="147" y="431"/>
                    </a:lnTo>
                    <a:lnTo>
                      <a:pt x="143" y="431"/>
                    </a:lnTo>
                    <a:lnTo>
                      <a:pt x="138" y="429"/>
                    </a:lnTo>
                    <a:lnTo>
                      <a:pt x="134" y="429"/>
                    </a:lnTo>
                    <a:lnTo>
                      <a:pt x="128" y="428"/>
                    </a:lnTo>
                    <a:lnTo>
                      <a:pt x="124" y="427"/>
                    </a:lnTo>
                    <a:lnTo>
                      <a:pt x="117" y="427"/>
                    </a:lnTo>
                    <a:lnTo>
                      <a:pt x="112" y="424"/>
                    </a:lnTo>
                    <a:lnTo>
                      <a:pt x="107" y="423"/>
                    </a:lnTo>
                    <a:lnTo>
                      <a:pt x="102" y="424"/>
                    </a:lnTo>
                    <a:lnTo>
                      <a:pt x="99" y="424"/>
                    </a:lnTo>
                    <a:lnTo>
                      <a:pt x="94" y="425"/>
                    </a:lnTo>
                    <a:lnTo>
                      <a:pt x="89" y="421"/>
                    </a:lnTo>
                    <a:lnTo>
                      <a:pt x="84" y="421"/>
                    </a:lnTo>
                    <a:lnTo>
                      <a:pt x="83" y="416"/>
                    </a:lnTo>
                    <a:lnTo>
                      <a:pt x="79" y="415"/>
                    </a:lnTo>
                    <a:lnTo>
                      <a:pt x="74" y="415"/>
                    </a:lnTo>
                    <a:lnTo>
                      <a:pt x="73" y="410"/>
                    </a:lnTo>
                    <a:lnTo>
                      <a:pt x="73" y="407"/>
                    </a:lnTo>
                    <a:lnTo>
                      <a:pt x="74" y="402"/>
                    </a:lnTo>
                    <a:lnTo>
                      <a:pt x="79" y="399"/>
                    </a:lnTo>
                    <a:lnTo>
                      <a:pt x="81" y="396"/>
                    </a:lnTo>
                    <a:lnTo>
                      <a:pt x="85" y="391"/>
                    </a:lnTo>
                    <a:lnTo>
                      <a:pt x="89" y="388"/>
                    </a:lnTo>
                    <a:lnTo>
                      <a:pt x="91" y="383"/>
                    </a:lnTo>
                    <a:lnTo>
                      <a:pt x="95" y="379"/>
                    </a:lnTo>
                    <a:lnTo>
                      <a:pt x="96" y="375"/>
                    </a:lnTo>
                    <a:lnTo>
                      <a:pt x="98" y="370"/>
                    </a:lnTo>
                    <a:lnTo>
                      <a:pt x="100" y="366"/>
                    </a:lnTo>
                    <a:lnTo>
                      <a:pt x="103" y="363"/>
                    </a:lnTo>
                    <a:lnTo>
                      <a:pt x="108" y="362"/>
                    </a:lnTo>
                    <a:lnTo>
                      <a:pt x="112" y="360"/>
                    </a:lnTo>
                    <a:lnTo>
                      <a:pt x="117" y="357"/>
                    </a:lnTo>
                    <a:lnTo>
                      <a:pt x="118" y="351"/>
                    </a:lnTo>
                    <a:lnTo>
                      <a:pt x="119" y="347"/>
                    </a:lnTo>
                    <a:lnTo>
                      <a:pt x="122" y="342"/>
                    </a:lnTo>
                    <a:lnTo>
                      <a:pt x="123" y="336"/>
                    </a:lnTo>
                    <a:lnTo>
                      <a:pt x="124" y="330"/>
                    </a:lnTo>
                    <a:lnTo>
                      <a:pt x="126" y="325"/>
                    </a:lnTo>
                    <a:lnTo>
                      <a:pt x="128" y="320"/>
                    </a:lnTo>
                    <a:lnTo>
                      <a:pt x="130" y="317"/>
                    </a:lnTo>
                    <a:lnTo>
                      <a:pt x="131" y="312"/>
                    </a:lnTo>
                    <a:lnTo>
                      <a:pt x="132" y="307"/>
                    </a:lnTo>
                    <a:lnTo>
                      <a:pt x="137" y="304"/>
                    </a:lnTo>
                    <a:lnTo>
                      <a:pt x="138" y="301"/>
                    </a:lnTo>
                    <a:lnTo>
                      <a:pt x="143" y="300"/>
                    </a:lnTo>
                    <a:lnTo>
                      <a:pt x="147" y="297"/>
                    </a:lnTo>
                    <a:lnTo>
                      <a:pt x="152" y="294"/>
                    </a:lnTo>
                    <a:lnTo>
                      <a:pt x="154" y="291"/>
                    </a:lnTo>
                    <a:lnTo>
                      <a:pt x="156" y="288"/>
                    </a:lnTo>
                    <a:lnTo>
                      <a:pt x="160" y="285"/>
                    </a:lnTo>
                    <a:lnTo>
                      <a:pt x="164" y="280"/>
                    </a:lnTo>
                    <a:lnTo>
                      <a:pt x="169" y="277"/>
                    </a:lnTo>
                    <a:lnTo>
                      <a:pt x="172" y="273"/>
                    </a:lnTo>
                    <a:lnTo>
                      <a:pt x="177" y="270"/>
                    </a:lnTo>
                    <a:lnTo>
                      <a:pt x="181" y="268"/>
                    </a:lnTo>
                    <a:lnTo>
                      <a:pt x="183" y="262"/>
                    </a:lnTo>
                    <a:lnTo>
                      <a:pt x="187" y="262"/>
                    </a:lnTo>
                    <a:lnTo>
                      <a:pt x="192" y="260"/>
                    </a:lnTo>
                    <a:lnTo>
                      <a:pt x="195" y="258"/>
                    </a:lnTo>
                    <a:lnTo>
                      <a:pt x="200" y="257"/>
                    </a:lnTo>
                    <a:lnTo>
                      <a:pt x="204" y="255"/>
                    </a:lnTo>
                    <a:lnTo>
                      <a:pt x="206" y="249"/>
                    </a:lnTo>
                    <a:lnTo>
                      <a:pt x="210" y="247"/>
                    </a:lnTo>
                    <a:lnTo>
                      <a:pt x="206" y="251"/>
                    </a:lnTo>
                    <a:lnTo>
                      <a:pt x="210" y="247"/>
                    </a:lnTo>
                    <a:lnTo>
                      <a:pt x="214" y="242"/>
                    </a:lnTo>
                    <a:lnTo>
                      <a:pt x="216" y="238"/>
                    </a:lnTo>
                    <a:lnTo>
                      <a:pt x="219" y="235"/>
                    </a:lnTo>
                    <a:lnTo>
                      <a:pt x="222" y="231"/>
                    </a:lnTo>
                    <a:lnTo>
                      <a:pt x="226" y="228"/>
                    </a:lnTo>
                    <a:lnTo>
                      <a:pt x="230" y="226"/>
                    </a:lnTo>
                    <a:lnTo>
                      <a:pt x="236" y="220"/>
                    </a:lnTo>
                    <a:lnTo>
                      <a:pt x="240" y="217"/>
                    </a:lnTo>
                    <a:lnTo>
                      <a:pt x="244" y="216"/>
                    </a:lnTo>
                    <a:lnTo>
                      <a:pt x="249" y="213"/>
                    </a:lnTo>
                    <a:lnTo>
                      <a:pt x="253" y="210"/>
                    </a:lnTo>
                    <a:lnTo>
                      <a:pt x="257" y="207"/>
                    </a:lnTo>
                    <a:lnTo>
                      <a:pt x="262" y="204"/>
                    </a:lnTo>
                    <a:lnTo>
                      <a:pt x="267" y="202"/>
                    </a:lnTo>
                    <a:lnTo>
                      <a:pt x="271" y="197"/>
                    </a:lnTo>
                    <a:lnTo>
                      <a:pt x="274" y="195"/>
                    </a:lnTo>
                    <a:lnTo>
                      <a:pt x="279" y="192"/>
                    </a:lnTo>
                    <a:lnTo>
                      <a:pt x="283" y="188"/>
                    </a:lnTo>
                    <a:lnTo>
                      <a:pt x="287" y="186"/>
                    </a:lnTo>
                    <a:lnTo>
                      <a:pt x="291" y="182"/>
                    </a:lnTo>
                    <a:lnTo>
                      <a:pt x="296" y="182"/>
                    </a:lnTo>
                    <a:lnTo>
                      <a:pt x="300" y="178"/>
                    </a:lnTo>
                    <a:lnTo>
                      <a:pt x="304" y="175"/>
                    </a:lnTo>
                    <a:lnTo>
                      <a:pt x="311" y="174"/>
                    </a:lnTo>
                    <a:lnTo>
                      <a:pt x="315" y="172"/>
                    </a:lnTo>
                    <a:lnTo>
                      <a:pt x="321" y="168"/>
                    </a:lnTo>
                    <a:lnTo>
                      <a:pt x="325" y="165"/>
                    </a:lnTo>
                    <a:lnTo>
                      <a:pt x="330" y="164"/>
                    </a:lnTo>
                    <a:lnTo>
                      <a:pt x="329" y="156"/>
                    </a:lnTo>
                    <a:lnTo>
                      <a:pt x="332" y="151"/>
                    </a:lnTo>
                    <a:lnTo>
                      <a:pt x="337" y="146"/>
                    </a:lnTo>
                    <a:lnTo>
                      <a:pt x="341" y="145"/>
                    </a:lnTo>
                    <a:lnTo>
                      <a:pt x="345" y="143"/>
                    </a:lnTo>
                    <a:lnTo>
                      <a:pt x="352" y="144"/>
                    </a:lnTo>
                    <a:lnTo>
                      <a:pt x="356" y="143"/>
                    </a:lnTo>
                    <a:lnTo>
                      <a:pt x="361" y="143"/>
                    </a:lnTo>
                    <a:lnTo>
                      <a:pt x="365" y="140"/>
                    </a:lnTo>
                    <a:lnTo>
                      <a:pt x="370" y="136"/>
                    </a:lnTo>
                    <a:lnTo>
                      <a:pt x="373" y="133"/>
                    </a:lnTo>
                    <a:lnTo>
                      <a:pt x="376" y="128"/>
                    </a:lnTo>
                    <a:lnTo>
                      <a:pt x="377" y="125"/>
                    </a:lnTo>
                    <a:lnTo>
                      <a:pt x="380" y="120"/>
                    </a:lnTo>
                    <a:lnTo>
                      <a:pt x="385" y="117"/>
                    </a:lnTo>
                    <a:lnTo>
                      <a:pt x="388" y="119"/>
                    </a:lnTo>
                    <a:lnTo>
                      <a:pt x="394" y="120"/>
                    </a:lnTo>
                    <a:lnTo>
                      <a:pt x="398" y="123"/>
                    </a:lnTo>
                    <a:lnTo>
                      <a:pt x="403" y="122"/>
                    </a:lnTo>
                    <a:lnTo>
                      <a:pt x="406" y="118"/>
                    </a:lnTo>
                    <a:lnTo>
                      <a:pt x="409" y="114"/>
                    </a:lnTo>
                    <a:lnTo>
                      <a:pt x="410" y="109"/>
                    </a:lnTo>
                    <a:lnTo>
                      <a:pt x="414" y="107"/>
                    </a:lnTo>
                    <a:lnTo>
                      <a:pt x="419" y="104"/>
                    </a:lnTo>
                    <a:lnTo>
                      <a:pt x="423" y="104"/>
                    </a:lnTo>
                    <a:lnTo>
                      <a:pt x="428" y="105"/>
                    </a:lnTo>
                    <a:lnTo>
                      <a:pt x="430" y="109"/>
                    </a:lnTo>
                    <a:lnTo>
                      <a:pt x="433" y="113"/>
                    </a:lnTo>
                    <a:lnTo>
                      <a:pt x="438" y="114"/>
                    </a:lnTo>
                    <a:lnTo>
                      <a:pt x="446" y="116"/>
                    </a:lnTo>
                    <a:lnTo>
                      <a:pt x="450" y="116"/>
                    </a:lnTo>
                    <a:lnTo>
                      <a:pt x="455" y="116"/>
                    </a:lnTo>
                    <a:lnTo>
                      <a:pt x="459" y="115"/>
                    </a:lnTo>
                    <a:lnTo>
                      <a:pt x="464" y="117"/>
                    </a:lnTo>
                    <a:lnTo>
                      <a:pt x="468" y="116"/>
                    </a:lnTo>
                    <a:lnTo>
                      <a:pt x="472" y="113"/>
                    </a:lnTo>
                    <a:lnTo>
                      <a:pt x="476" y="113"/>
                    </a:lnTo>
                    <a:lnTo>
                      <a:pt x="481" y="111"/>
                    </a:lnTo>
                    <a:lnTo>
                      <a:pt x="485" y="108"/>
                    </a:lnTo>
                    <a:lnTo>
                      <a:pt x="489" y="101"/>
                    </a:lnTo>
                    <a:lnTo>
                      <a:pt x="493" y="98"/>
                    </a:lnTo>
                    <a:lnTo>
                      <a:pt x="490" y="95"/>
                    </a:lnTo>
                    <a:lnTo>
                      <a:pt x="486" y="93"/>
                    </a:lnTo>
                    <a:lnTo>
                      <a:pt x="481" y="91"/>
                    </a:lnTo>
                    <a:lnTo>
                      <a:pt x="476" y="90"/>
                    </a:lnTo>
                    <a:lnTo>
                      <a:pt x="471" y="87"/>
                    </a:lnTo>
                    <a:lnTo>
                      <a:pt x="467" y="86"/>
                    </a:lnTo>
                    <a:lnTo>
                      <a:pt x="461" y="84"/>
                    </a:lnTo>
                    <a:lnTo>
                      <a:pt x="457" y="84"/>
                    </a:lnTo>
                    <a:lnTo>
                      <a:pt x="451" y="88"/>
                    </a:lnTo>
                    <a:lnTo>
                      <a:pt x="446" y="89"/>
                    </a:lnTo>
                    <a:lnTo>
                      <a:pt x="444" y="92"/>
                    </a:lnTo>
                    <a:lnTo>
                      <a:pt x="439" y="90"/>
                    </a:lnTo>
                    <a:lnTo>
                      <a:pt x="438" y="85"/>
                    </a:lnTo>
                    <a:lnTo>
                      <a:pt x="438" y="82"/>
                    </a:lnTo>
                    <a:lnTo>
                      <a:pt x="440" y="76"/>
                    </a:lnTo>
                    <a:lnTo>
                      <a:pt x="442" y="72"/>
                    </a:lnTo>
                    <a:lnTo>
                      <a:pt x="443" y="68"/>
                    </a:lnTo>
                    <a:lnTo>
                      <a:pt x="445" y="64"/>
                    </a:lnTo>
                    <a:lnTo>
                      <a:pt x="444" y="59"/>
                    </a:lnTo>
                    <a:lnTo>
                      <a:pt x="449" y="56"/>
                    </a:lnTo>
                    <a:lnTo>
                      <a:pt x="455" y="52"/>
                    </a:lnTo>
                    <a:lnTo>
                      <a:pt x="458" y="47"/>
                    </a:lnTo>
                    <a:lnTo>
                      <a:pt x="463" y="44"/>
                    </a:lnTo>
                    <a:lnTo>
                      <a:pt x="465" y="40"/>
                    </a:lnTo>
                    <a:lnTo>
                      <a:pt x="469" y="35"/>
                    </a:lnTo>
                    <a:lnTo>
                      <a:pt x="470" y="30"/>
                    </a:lnTo>
                    <a:lnTo>
                      <a:pt x="472" y="25"/>
                    </a:lnTo>
                    <a:lnTo>
                      <a:pt x="473" y="20"/>
                    </a:lnTo>
                    <a:lnTo>
                      <a:pt x="477" y="15"/>
                    </a:lnTo>
                    <a:lnTo>
                      <a:pt x="481" y="13"/>
                    </a:lnTo>
                    <a:lnTo>
                      <a:pt x="486" y="10"/>
                    </a:lnTo>
                    <a:lnTo>
                      <a:pt x="489" y="7"/>
                    </a:lnTo>
                    <a:lnTo>
                      <a:pt x="496" y="6"/>
                    </a:lnTo>
                    <a:lnTo>
                      <a:pt x="503" y="5"/>
                    </a:lnTo>
                    <a:lnTo>
                      <a:pt x="506" y="5"/>
                    </a:lnTo>
                    <a:lnTo>
                      <a:pt x="511" y="4"/>
                    </a:lnTo>
                    <a:lnTo>
                      <a:pt x="518" y="3"/>
                    </a:lnTo>
                    <a:lnTo>
                      <a:pt x="522" y="3"/>
                    </a:lnTo>
                    <a:lnTo>
                      <a:pt x="527" y="2"/>
                    </a:lnTo>
                    <a:lnTo>
                      <a:pt x="531" y="4"/>
                    </a:lnTo>
                    <a:lnTo>
                      <a:pt x="536" y="3"/>
                    </a:lnTo>
                    <a:lnTo>
                      <a:pt x="540" y="2"/>
                    </a:lnTo>
                    <a:lnTo>
                      <a:pt x="545" y="2"/>
                    </a:lnTo>
                    <a:lnTo>
                      <a:pt x="549" y="1"/>
                    </a:lnTo>
                    <a:lnTo>
                      <a:pt x="554" y="1"/>
                    </a:lnTo>
                    <a:lnTo>
                      <a:pt x="558" y="0"/>
                    </a:lnTo>
                    <a:lnTo>
                      <a:pt x="563" y="2"/>
                    </a:lnTo>
                    <a:lnTo>
                      <a:pt x="566" y="7"/>
                    </a:lnTo>
                    <a:lnTo>
                      <a:pt x="567" y="12"/>
                    </a:lnTo>
                    <a:lnTo>
                      <a:pt x="567" y="15"/>
                    </a:lnTo>
                    <a:lnTo>
                      <a:pt x="563" y="17"/>
                    </a:lnTo>
                    <a:lnTo>
                      <a:pt x="559" y="23"/>
                    </a:lnTo>
                    <a:lnTo>
                      <a:pt x="558" y="27"/>
                    </a:lnTo>
                    <a:lnTo>
                      <a:pt x="562" y="31"/>
                    </a:lnTo>
                    <a:lnTo>
                      <a:pt x="567" y="32"/>
                    </a:lnTo>
                    <a:lnTo>
                      <a:pt x="568" y="37"/>
                    </a:lnTo>
                    <a:lnTo>
                      <a:pt x="570" y="40"/>
                    </a:lnTo>
                    <a:lnTo>
                      <a:pt x="569" y="44"/>
                    </a:lnTo>
                    <a:lnTo>
                      <a:pt x="568" y="49"/>
                    </a:lnTo>
                    <a:lnTo>
                      <a:pt x="561" y="52"/>
                    </a:lnTo>
                    <a:lnTo>
                      <a:pt x="560" y="56"/>
                    </a:lnTo>
                    <a:lnTo>
                      <a:pt x="555" y="59"/>
                    </a:lnTo>
                    <a:lnTo>
                      <a:pt x="550" y="64"/>
                    </a:lnTo>
                    <a:lnTo>
                      <a:pt x="555" y="63"/>
                    </a:lnTo>
                    <a:lnTo>
                      <a:pt x="560" y="62"/>
                    </a:lnTo>
                    <a:lnTo>
                      <a:pt x="566" y="61"/>
                    </a:lnTo>
                    <a:lnTo>
                      <a:pt x="571" y="59"/>
                    </a:lnTo>
                    <a:lnTo>
                      <a:pt x="575" y="56"/>
                    </a:lnTo>
                    <a:lnTo>
                      <a:pt x="580" y="56"/>
                    </a:lnTo>
                    <a:lnTo>
                      <a:pt x="584" y="57"/>
                    </a:lnTo>
                    <a:lnTo>
                      <a:pt x="590" y="61"/>
                    </a:lnTo>
                    <a:lnTo>
                      <a:pt x="597" y="61"/>
                    </a:lnTo>
                    <a:lnTo>
                      <a:pt x="601" y="63"/>
                    </a:lnTo>
                    <a:lnTo>
                      <a:pt x="606" y="64"/>
                    </a:lnTo>
                    <a:lnTo>
                      <a:pt x="607" y="69"/>
                    </a:lnTo>
                    <a:lnTo>
                      <a:pt x="609" y="72"/>
                    </a:lnTo>
                    <a:lnTo>
                      <a:pt x="610" y="77"/>
                    </a:lnTo>
                    <a:lnTo>
                      <a:pt x="610" y="81"/>
                    </a:lnTo>
                    <a:lnTo>
                      <a:pt x="614" y="81"/>
                    </a:lnTo>
                    <a:lnTo>
                      <a:pt x="618" y="86"/>
                    </a:lnTo>
                    <a:lnTo>
                      <a:pt x="622" y="85"/>
                    </a:lnTo>
                    <a:lnTo>
                      <a:pt x="627" y="85"/>
                    </a:lnTo>
                    <a:lnTo>
                      <a:pt x="631" y="82"/>
                    </a:lnTo>
                    <a:lnTo>
                      <a:pt x="636" y="81"/>
                    </a:lnTo>
                    <a:lnTo>
                      <a:pt x="639" y="78"/>
                    </a:lnTo>
                    <a:lnTo>
                      <a:pt x="643" y="76"/>
                    </a:lnTo>
                    <a:lnTo>
                      <a:pt x="649" y="76"/>
                    </a:lnTo>
                    <a:lnTo>
                      <a:pt x="654" y="75"/>
                    </a:lnTo>
                    <a:lnTo>
                      <a:pt x="658" y="74"/>
                    </a:lnTo>
                    <a:lnTo>
                      <a:pt x="665" y="71"/>
                    </a:lnTo>
                    <a:lnTo>
                      <a:pt x="670" y="71"/>
                    </a:lnTo>
                    <a:lnTo>
                      <a:pt x="667" y="74"/>
                    </a:lnTo>
                    <a:lnTo>
                      <a:pt x="668" y="79"/>
                    </a:lnTo>
                    <a:lnTo>
                      <a:pt x="664" y="82"/>
                    </a:lnTo>
                    <a:lnTo>
                      <a:pt x="659" y="84"/>
                    </a:lnTo>
                    <a:lnTo>
                      <a:pt x="658" y="88"/>
                    </a:lnTo>
                    <a:lnTo>
                      <a:pt x="656" y="93"/>
                    </a:lnTo>
                    <a:lnTo>
                      <a:pt x="657" y="98"/>
                    </a:lnTo>
                    <a:lnTo>
                      <a:pt x="657" y="101"/>
                    </a:lnTo>
                    <a:lnTo>
                      <a:pt x="656" y="106"/>
                    </a:lnTo>
                    <a:lnTo>
                      <a:pt x="651" y="109"/>
                    </a:lnTo>
                    <a:lnTo>
                      <a:pt x="648" y="111"/>
                    </a:lnTo>
                    <a:lnTo>
                      <a:pt x="644" y="114"/>
                    </a:lnTo>
                    <a:lnTo>
                      <a:pt x="645" y="117"/>
                    </a:lnTo>
                    <a:lnTo>
                      <a:pt x="641" y="120"/>
                    </a:lnTo>
                    <a:lnTo>
                      <a:pt x="636" y="123"/>
                    </a:lnTo>
                    <a:lnTo>
                      <a:pt x="633" y="126"/>
                    </a:lnTo>
                    <a:lnTo>
                      <a:pt x="628" y="127"/>
                    </a:lnTo>
                    <a:lnTo>
                      <a:pt x="624" y="129"/>
                    </a:lnTo>
                    <a:lnTo>
                      <a:pt x="624" y="132"/>
                    </a:lnTo>
                    <a:lnTo>
                      <a:pt x="619" y="133"/>
                    </a:lnTo>
                    <a:lnTo>
                      <a:pt x="616" y="138"/>
                    </a:lnTo>
                    <a:lnTo>
                      <a:pt x="613" y="142"/>
                    </a:lnTo>
                    <a:lnTo>
                      <a:pt x="612" y="147"/>
                    </a:lnTo>
                    <a:lnTo>
                      <a:pt x="611" y="151"/>
                    </a:lnTo>
                    <a:lnTo>
                      <a:pt x="606" y="154"/>
                    </a:lnTo>
                    <a:lnTo>
                      <a:pt x="602" y="156"/>
                    </a:lnTo>
                    <a:lnTo>
                      <a:pt x="598" y="159"/>
                    </a:lnTo>
                    <a:lnTo>
                      <a:pt x="594" y="160"/>
                    </a:lnTo>
                    <a:lnTo>
                      <a:pt x="589" y="160"/>
                    </a:lnTo>
                    <a:lnTo>
                      <a:pt x="583" y="161"/>
                    </a:lnTo>
                    <a:lnTo>
                      <a:pt x="578" y="164"/>
                    </a:lnTo>
                    <a:lnTo>
                      <a:pt x="574" y="164"/>
                    </a:lnTo>
                    <a:lnTo>
                      <a:pt x="571" y="161"/>
                    </a:lnTo>
                    <a:lnTo>
                      <a:pt x="567" y="161"/>
                    </a:lnTo>
                    <a:lnTo>
                      <a:pt x="561" y="160"/>
                    </a:lnTo>
                    <a:lnTo>
                      <a:pt x="557" y="160"/>
                    </a:lnTo>
                    <a:lnTo>
                      <a:pt x="553" y="165"/>
                    </a:lnTo>
                    <a:lnTo>
                      <a:pt x="549" y="168"/>
                    </a:lnTo>
                    <a:lnTo>
                      <a:pt x="544" y="168"/>
                    </a:lnTo>
                    <a:lnTo>
                      <a:pt x="543" y="174"/>
                    </a:lnTo>
                    <a:lnTo>
                      <a:pt x="542" y="177"/>
                    </a:lnTo>
                    <a:lnTo>
                      <a:pt x="537" y="179"/>
                    </a:lnTo>
                    <a:lnTo>
                      <a:pt x="535" y="185"/>
                    </a:lnTo>
                    <a:lnTo>
                      <a:pt x="534" y="189"/>
                    </a:lnTo>
                    <a:lnTo>
                      <a:pt x="538" y="189"/>
                    </a:lnTo>
                    <a:lnTo>
                      <a:pt x="539" y="194"/>
                    </a:lnTo>
                    <a:lnTo>
                      <a:pt x="539" y="198"/>
                    </a:lnTo>
                    <a:lnTo>
                      <a:pt x="538" y="202"/>
                    </a:lnTo>
                    <a:lnTo>
                      <a:pt x="536" y="207"/>
                    </a:lnTo>
                    <a:lnTo>
                      <a:pt x="534" y="212"/>
                    </a:lnTo>
                    <a:lnTo>
                      <a:pt x="535" y="215"/>
                    </a:lnTo>
                    <a:lnTo>
                      <a:pt x="532" y="217"/>
                    </a:lnTo>
                    <a:lnTo>
                      <a:pt x="528" y="223"/>
                    </a:lnTo>
                    <a:lnTo>
                      <a:pt x="526" y="226"/>
                    </a:lnTo>
                    <a:lnTo>
                      <a:pt x="529" y="231"/>
                    </a:lnTo>
                    <a:lnTo>
                      <a:pt x="527" y="235"/>
                    </a:lnTo>
                    <a:lnTo>
                      <a:pt x="523" y="236"/>
                    </a:lnTo>
                    <a:lnTo>
                      <a:pt x="518" y="236"/>
                    </a:lnTo>
                    <a:lnTo>
                      <a:pt x="514" y="233"/>
                    </a:lnTo>
                    <a:lnTo>
                      <a:pt x="508" y="229"/>
                    </a:lnTo>
                    <a:lnTo>
                      <a:pt x="504" y="228"/>
                    </a:lnTo>
                    <a:lnTo>
                      <a:pt x="499" y="227"/>
                    </a:lnTo>
                    <a:lnTo>
                      <a:pt x="495" y="227"/>
                    </a:lnTo>
                    <a:lnTo>
                      <a:pt x="490" y="228"/>
                    </a:lnTo>
                    <a:lnTo>
                      <a:pt x="486" y="229"/>
                    </a:lnTo>
                    <a:lnTo>
                      <a:pt x="482" y="224"/>
                    </a:lnTo>
                    <a:lnTo>
                      <a:pt x="478" y="222"/>
                    </a:lnTo>
                    <a:lnTo>
                      <a:pt x="473" y="222"/>
                    </a:lnTo>
                    <a:lnTo>
                      <a:pt x="469" y="223"/>
                    </a:lnTo>
                    <a:lnTo>
                      <a:pt x="464" y="222"/>
                    </a:lnTo>
                    <a:lnTo>
                      <a:pt x="460" y="222"/>
                    </a:lnTo>
                    <a:lnTo>
                      <a:pt x="460" y="225"/>
                    </a:lnTo>
                    <a:lnTo>
                      <a:pt x="458" y="230"/>
                    </a:lnTo>
                    <a:lnTo>
                      <a:pt x="456" y="235"/>
                    </a:lnTo>
                    <a:lnTo>
                      <a:pt x="453" y="236"/>
                    </a:lnTo>
                    <a:lnTo>
                      <a:pt x="448" y="237"/>
                    </a:lnTo>
                    <a:lnTo>
                      <a:pt x="444" y="237"/>
                    </a:lnTo>
                    <a:lnTo>
                      <a:pt x="444" y="242"/>
                    </a:lnTo>
                    <a:lnTo>
                      <a:pt x="449" y="244"/>
                    </a:lnTo>
                    <a:lnTo>
                      <a:pt x="454" y="248"/>
                    </a:lnTo>
                    <a:lnTo>
                      <a:pt x="458" y="248"/>
                    </a:lnTo>
                    <a:lnTo>
                      <a:pt x="463" y="247"/>
                    </a:lnTo>
                    <a:lnTo>
                      <a:pt x="467" y="247"/>
                    </a:lnTo>
                    <a:lnTo>
                      <a:pt x="470" y="251"/>
                    </a:lnTo>
                    <a:lnTo>
                      <a:pt x="473" y="256"/>
                    </a:lnTo>
                    <a:lnTo>
                      <a:pt x="474" y="259"/>
                    </a:lnTo>
                    <a:lnTo>
                      <a:pt x="476" y="263"/>
                    </a:lnTo>
                    <a:lnTo>
                      <a:pt x="479" y="267"/>
                    </a:lnTo>
                    <a:lnTo>
                      <a:pt x="482" y="270"/>
                    </a:lnTo>
                    <a:lnTo>
                      <a:pt x="487" y="272"/>
                    </a:lnTo>
                    <a:lnTo>
                      <a:pt x="491" y="269"/>
                    </a:lnTo>
                    <a:lnTo>
                      <a:pt x="495" y="268"/>
                    </a:lnTo>
                    <a:lnTo>
                      <a:pt x="500" y="267"/>
                    </a:lnTo>
                    <a:lnTo>
                      <a:pt x="501" y="262"/>
                    </a:lnTo>
                    <a:lnTo>
                      <a:pt x="505" y="259"/>
                    </a:lnTo>
                    <a:lnTo>
                      <a:pt x="512" y="260"/>
                    </a:lnTo>
                    <a:lnTo>
                      <a:pt x="517" y="260"/>
                    </a:lnTo>
                    <a:lnTo>
                      <a:pt x="522" y="261"/>
                    </a:lnTo>
                    <a:lnTo>
                      <a:pt x="524" y="265"/>
                    </a:lnTo>
                    <a:lnTo>
                      <a:pt x="529" y="266"/>
                    </a:lnTo>
                    <a:lnTo>
                      <a:pt x="532" y="270"/>
                    </a:lnTo>
                    <a:lnTo>
                      <a:pt x="537" y="272"/>
                    </a:lnTo>
                    <a:lnTo>
                      <a:pt x="540" y="275"/>
                    </a:lnTo>
                    <a:lnTo>
                      <a:pt x="543" y="279"/>
                    </a:lnTo>
                    <a:lnTo>
                      <a:pt x="549" y="283"/>
                    </a:lnTo>
                    <a:lnTo>
                      <a:pt x="551" y="285"/>
                    </a:lnTo>
                    <a:lnTo>
                      <a:pt x="554" y="292"/>
                    </a:lnTo>
                    <a:lnTo>
                      <a:pt x="555" y="296"/>
                    </a:lnTo>
                    <a:lnTo>
                      <a:pt x="555" y="300"/>
                    </a:lnTo>
                    <a:lnTo>
                      <a:pt x="556" y="305"/>
                    </a:lnTo>
                    <a:lnTo>
                      <a:pt x="556" y="308"/>
                    </a:lnTo>
                    <a:lnTo>
                      <a:pt x="557" y="313"/>
                    </a:lnTo>
                    <a:lnTo>
                      <a:pt x="555" y="317"/>
                    </a:lnTo>
                    <a:lnTo>
                      <a:pt x="554" y="320"/>
                    </a:lnTo>
                    <a:lnTo>
                      <a:pt x="552" y="326"/>
                    </a:lnTo>
                    <a:lnTo>
                      <a:pt x="550" y="330"/>
                    </a:lnTo>
                    <a:lnTo>
                      <a:pt x="548" y="334"/>
                    </a:lnTo>
                    <a:lnTo>
                      <a:pt x="546" y="339"/>
                    </a:lnTo>
                    <a:lnTo>
                      <a:pt x="542" y="342"/>
                    </a:lnTo>
                    <a:lnTo>
                      <a:pt x="540" y="346"/>
                    </a:lnTo>
                    <a:lnTo>
                      <a:pt x="539" y="351"/>
                    </a:lnTo>
                    <a:lnTo>
                      <a:pt x="539" y="355"/>
                    </a:lnTo>
                    <a:lnTo>
                      <a:pt x="537" y="360"/>
                    </a:lnTo>
                    <a:lnTo>
                      <a:pt x="535" y="363"/>
                    </a:lnTo>
                    <a:lnTo>
                      <a:pt x="534" y="367"/>
                    </a:lnTo>
                    <a:lnTo>
                      <a:pt x="530" y="374"/>
                    </a:lnTo>
                    <a:lnTo>
                      <a:pt x="530" y="379"/>
                    </a:lnTo>
                    <a:lnTo>
                      <a:pt x="531" y="383"/>
                    </a:lnTo>
                    <a:lnTo>
                      <a:pt x="536" y="383"/>
                    </a:lnTo>
                    <a:lnTo>
                      <a:pt x="540" y="386"/>
                    </a:lnTo>
                    <a:lnTo>
                      <a:pt x="546" y="387"/>
                    </a:lnTo>
                    <a:lnTo>
                      <a:pt x="550" y="389"/>
                    </a:lnTo>
                    <a:lnTo>
                      <a:pt x="556" y="388"/>
                    </a:lnTo>
                    <a:lnTo>
                      <a:pt x="561" y="387"/>
                    </a:lnTo>
                    <a:lnTo>
                      <a:pt x="565" y="387"/>
                    </a:lnTo>
                    <a:lnTo>
                      <a:pt x="570" y="386"/>
                    </a:lnTo>
                    <a:lnTo>
                      <a:pt x="573" y="383"/>
                    </a:lnTo>
                    <a:lnTo>
                      <a:pt x="578" y="383"/>
                    </a:lnTo>
                    <a:lnTo>
                      <a:pt x="582" y="380"/>
                    </a:lnTo>
                    <a:lnTo>
                      <a:pt x="587" y="377"/>
                    </a:lnTo>
                    <a:lnTo>
                      <a:pt x="591" y="376"/>
                    </a:lnTo>
                    <a:lnTo>
                      <a:pt x="595" y="374"/>
                    </a:lnTo>
                    <a:lnTo>
                      <a:pt x="597" y="370"/>
                    </a:lnTo>
                    <a:lnTo>
                      <a:pt x="598" y="365"/>
                    </a:lnTo>
                    <a:lnTo>
                      <a:pt x="598" y="362"/>
                    </a:lnTo>
                    <a:lnTo>
                      <a:pt x="597" y="357"/>
                    </a:lnTo>
                    <a:lnTo>
                      <a:pt x="602" y="354"/>
                    </a:lnTo>
                    <a:lnTo>
                      <a:pt x="605" y="352"/>
                    </a:lnTo>
                    <a:lnTo>
                      <a:pt x="610" y="351"/>
                    </a:lnTo>
                    <a:lnTo>
                      <a:pt x="617" y="346"/>
                    </a:lnTo>
                    <a:lnTo>
                      <a:pt x="623" y="345"/>
                    </a:lnTo>
                    <a:lnTo>
                      <a:pt x="628" y="345"/>
                    </a:lnTo>
                    <a:lnTo>
                      <a:pt x="631" y="342"/>
                    </a:lnTo>
                    <a:lnTo>
                      <a:pt x="632" y="347"/>
                    </a:lnTo>
                    <a:lnTo>
                      <a:pt x="632" y="350"/>
                    </a:lnTo>
                    <a:lnTo>
                      <a:pt x="638" y="352"/>
                    </a:lnTo>
                    <a:lnTo>
                      <a:pt x="641" y="349"/>
                    </a:lnTo>
                    <a:lnTo>
                      <a:pt x="646" y="346"/>
                    </a:lnTo>
                    <a:lnTo>
                      <a:pt x="650" y="345"/>
                    </a:lnTo>
                    <a:lnTo>
                      <a:pt x="652" y="339"/>
                    </a:lnTo>
                    <a:lnTo>
                      <a:pt x="656" y="339"/>
                    </a:lnTo>
                    <a:lnTo>
                      <a:pt x="661" y="336"/>
                    </a:lnTo>
                    <a:lnTo>
                      <a:pt x="667" y="337"/>
                    </a:lnTo>
                    <a:lnTo>
                      <a:pt x="672" y="339"/>
                    </a:lnTo>
                    <a:lnTo>
                      <a:pt x="678" y="341"/>
                    </a:lnTo>
                    <a:lnTo>
                      <a:pt x="681" y="342"/>
                    </a:lnTo>
                    <a:lnTo>
                      <a:pt x="685" y="343"/>
                    </a:lnTo>
                    <a:lnTo>
                      <a:pt x="690" y="342"/>
                    </a:lnTo>
                    <a:lnTo>
                      <a:pt x="694" y="342"/>
                    </a:lnTo>
                    <a:lnTo>
                      <a:pt x="699" y="341"/>
                    </a:lnTo>
                    <a:lnTo>
                      <a:pt x="703" y="341"/>
                    </a:lnTo>
                    <a:lnTo>
                      <a:pt x="708" y="340"/>
                    </a:lnTo>
                    <a:lnTo>
                      <a:pt x="713" y="339"/>
                    </a:lnTo>
                    <a:lnTo>
                      <a:pt x="717" y="339"/>
                    </a:lnTo>
                    <a:lnTo>
                      <a:pt x="722" y="338"/>
                    </a:lnTo>
                    <a:lnTo>
                      <a:pt x="726" y="338"/>
                    </a:lnTo>
                    <a:lnTo>
                      <a:pt x="731" y="341"/>
                    </a:lnTo>
                    <a:lnTo>
                      <a:pt x="735" y="343"/>
                    </a:lnTo>
                    <a:lnTo>
                      <a:pt x="736" y="346"/>
                    </a:lnTo>
                    <a:lnTo>
                      <a:pt x="737" y="351"/>
                    </a:lnTo>
                    <a:lnTo>
                      <a:pt x="742" y="355"/>
                    </a:lnTo>
                    <a:lnTo>
                      <a:pt x="745" y="358"/>
                    </a:lnTo>
                    <a:lnTo>
                      <a:pt x="743" y="363"/>
                    </a:lnTo>
                    <a:lnTo>
                      <a:pt x="738" y="365"/>
                    </a:lnTo>
                    <a:lnTo>
                      <a:pt x="737" y="369"/>
                    </a:lnTo>
                    <a:lnTo>
                      <a:pt x="736" y="374"/>
                    </a:lnTo>
                    <a:lnTo>
                      <a:pt x="731" y="376"/>
                    </a:lnTo>
                    <a:lnTo>
                      <a:pt x="731" y="381"/>
                    </a:lnTo>
                    <a:lnTo>
                      <a:pt x="728" y="385"/>
                    </a:lnTo>
                    <a:lnTo>
                      <a:pt x="724" y="390"/>
                    </a:lnTo>
                    <a:lnTo>
                      <a:pt x="722" y="395"/>
                    </a:lnTo>
                    <a:lnTo>
                      <a:pt x="718" y="399"/>
                    </a:lnTo>
                    <a:lnTo>
                      <a:pt x="714" y="404"/>
                    </a:lnTo>
                    <a:lnTo>
                      <a:pt x="712" y="409"/>
                    </a:lnTo>
                    <a:lnTo>
                      <a:pt x="708" y="413"/>
                    </a:lnTo>
                    <a:lnTo>
                      <a:pt x="707" y="418"/>
                    </a:lnTo>
                    <a:lnTo>
                      <a:pt x="705" y="422"/>
                    </a:lnTo>
                    <a:lnTo>
                      <a:pt x="703" y="426"/>
                    </a:lnTo>
                    <a:lnTo>
                      <a:pt x="702" y="431"/>
                    </a:lnTo>
                    <a:lnTo>
                      <a:pt x="704" y="434"/>
                    </a:lnTo>
                    <a:lnTo>
                      <a:pt x="705" y="438"/>
                    </a:lnTo>
                    <a:lnTo>
                      <a:pt x="706" y="443"/>
                    </a:lnTo>
                    <a:lnTo>
                      <a:pt x="708" y="446"/>
                    </a:lnTo>
                    <a:lnTo>
                      <a:pt x="708" y="450"/>
                    </a:lnTo>
                    <a:lnTo>
                      <a:pt x="709" y="455"/>
                    </a:lnTo>
                    <a:lnTo>
                      <a:pt x="710" y="458"/>
                    </a:lnTo>
                    <a:lnTo>
                      <a:pt x="710" y="463"/>
                    </a:lnTo>
                    <a:lnTo>
                      <a:pt x="709" y="467"/>
                    </a:lnTo>
                    <a:lnTo>
                      <a:pt x="710" y="473"/>
                    </a:lnTo>
                    <a:lnTo>
                      <a:pt x="710" y="478"/>
                    </a:lnTo>
                    <a:lnTo>
                      <a:pt x="711" y="483"/>
                    </a:lnTo>
                    <a:lnTo>
                      <a:pt x="714" y="488"/>
                    </a:lnTo>
                    <a:lnTo>
                      <a:pt x="714" y="492"/>
                    </a:lnTo>
                    <a:lnTo>
                      <a:pt x="718" y="495"/>
                    </a:lnTo>
                    <a:lnTo>
                      <a:pt x="718" y="499"/>
                    </a:lnTo>
                    <a:lnTo>
                      <a:pt x="719" y="504"/>
                    </a:lnTo>
                    <a:lnTo>
                      <a:pt x="719" y="507"/>
                    </a:lnTo>
                    <a:lnTo>
                      <a:pt x="720" y="512"/>
                    </a:lnTo>
                    <a:lnTo>
                      <a:pt x="717" y="516"/>
                    </a:lnTo>
                    <a:lnTo>
                      <a:pt x="711" y="517"/>
                    </a:lnTo>
                    <a:lnTo>
                      <a:pt x="704" y="518"/>
                    </a:lnTo>
                    <a:lnTo>
                      <a:pt x="702" y="518"/>
                    </a:lnTo>
                    <a:lnTo>
                      <a:pt x="697" y="519"/>
                    </a:lnTo>
                    <a:lnTo>
                      <a:pt x="692" y="520"/>
                    </a:lnTo>
                    <a:lnTo>
                      <a:pt x="688" y="520"/>
                    </a:lnTo>
                    <a:lnTo>
                      <a:pt x="683" y="521"/>
                    </a:lnTo>
                    <a:lnTo>
                      <a:pt x="679" y="522"/>
                    </a:lnTo>
                    <a:lnTo>
                      <a:pt x="674" y="522"/>
                    </a:lnTo>
                    <a:lnTo>
                      <a:pt x="670" y="524"/>
                    </a:lnTo>
                    <a:lnTo>
                      <a:pt x="669" y="529"/>
                    </a:lnTo>
                    <a:lnTo>
                      <a:pt x="666" y="533"/>
                    </a:lnTo>
                    <a:lnTo>
                      <a:pt x="665" y="538"/>
                    </a:lnTo>
                    <a:lnTo>
                      <a:pt x="663" y="542"/>
                    </a:lnTo>
                    <a:lnTo>
                      <a:pt x="664" y="547"/>
                    </a:lnTo>
                    <a:lnTo>
                      <a:pt x="659" y="550"/>
                    </a:lnTo>
                    <a:lnTo>
                      <a:pt x="658" y="556"/>
                    </a:lnTo>
                    <a:lnTo>
                      <a:pt x="657" y="560"/>
                    </a:lnTo>
                    <a:lnTo>
                      <a:pt x="655" y="563"/>
                    </a:lnTo>
                    <a:lnTo>
                      <a:pt x="653" y="568"/>
                    </a:lnTo>
                    <a:lnTo>
                      <a:pt x="651" y="573"/>
                    </a:lnTo>
                    <a:lnTo>
                      <a:pt x="648" y="577"/>
                    </a:lnTo>
                    <a:lnTo>
                      <a:pt x="648" y="581"/>
                    </a:lnTo>
                    <a:lnTo>
                      <a:pt x="646" y="586"/>
                    </a:lnTo>
                    <a:lnTo>
                      <a:pt x="645" y="593"/>
                    </a:lnTo>
                    <a:lnTo>
                      <a:pt x="643" y="597"/>
                    </a:lnTo>
                    <a:lnTo>
                      <a:pt x="639" y="604"/>
                    </a:lnTo>
                    <a:lnTo>
                      <a:pt x="638" y="608"/>
                    </a:lnTo>
                    <a:lnTo>
                      <a:pt x="637" y="613"/>
                    </a:lnTo>
                    <a:lnTo>
                      <a:pt x="635" y="616"/>
                    </a:lnTo>
                    <a:lnTo>
                      <a:pt x="633" y="622"/>
                    </a:lnTo>
                    <a:lnTo>
                      <a:pt x="629" y="626"/>
                    </a:lnTo>
                    <a:lnTo>
                      <a:pt x="630" y="630"/>
                    </a:lnTo>
                    <a:lnTo>
                      <a:pt x="625" y="631"/>
                    </a:lnTo>
                    <a:lnTo>
                      <a:pt x="621" y="631"/>
                    </a:lnTo>
                    <a:lnTo>
                      <a:pt x="616" y="632"/>
                    </a:lnTo>
                    <a:lnTo>
                      <a:pt x="612" y="629"/>
                    </a:lnTo>
                    <a:lnTo>
                      <a:pt x="607" y="630"/>
                    </a:lnTo>
                    <a:lnTo>
                      <a:pt x="603" y="631"/>
                    </a:lnTo>
                    <a:lnTo>
                      <a:pt x="598" y="631"/>
                    </a:lnTo>
                    <a:lnTo>
                      <a:pt x="594" y="632"/>
                    </a:lnTo>
                    <a:lnTo>
                      <a:pt x="588" y="632"/>
                    </a:lnTo>
                    <a:lnTo>
                      <a:pt x="581" y="633"/>
                    </a:lnTo>
                    <a:lnTo>
                      <a:pt x="577" y="633"/>
                    </a:lnTo>
                    <a:lnTo>
                      <a:pt x="572" y="634"/>
                    </a:lnTo>
                    <a:lnTo>
                      <a:pt x="568" y="634"/>
                    </a:lnTo>
                    <a:lnTo>
                      <a:pt x="565" y="639"/>
                    </a:lnTo>
                    <a:lnTo>
                      <a:pt x="564" y="643"/>
                    </a:lnTo>
                    <a:lnTo>
                      <a:pt x="560" y="645"/>
                    </a:lnTo>
                    <a:lnTo>
                      <a:pt x="558" y="650"/>
                    </a:lnTo>
                    <a:lnTo>
                      <a:pt x="556" y="654"/>
                    </a:lnTo>
                    <a:lnTo>
                      <a:pt x="553" y="657"/>
                    </a:lnTo>
                    <a:lnTo>
                      <a:pt x="550" y="662"/>
                    </a:lnTo>
                    <a:lnTo>
                      <a:pt x="549" y="665"/>
                    </a:lnTo>
                    <a:lnTo>
                      <a:pt x="546" y="662"/>
                    </a:lnTo>
                    <a:lnTo>
                      <a:pt x="546" y="658"/>
                    </a:lnTo>
                    <a:lnTo>
                      <a:pt x="543" y="651"/>
                    </a:lnTo>
                    <a:lnTo>
                      <a:pt x="542" y="646"/>
                    </a:lnTo>
                    <a:lnTo>
                      <a:pt x="539" y="642"/>
                    </a:lnTo>
                    <a:lnTo>
                      <a:pt x="536" y="639"/>
                    </a:lnTo>
                    <a:lnTo>
                      <a:pt x="536" y="635"/>
                    </a:lnTo>
                    <a:lnTo>
                      <a:pt x="531" y="641"/>
                    </a:lnTo>
                    <a:lnTo>
                      <a:pt x="524" y="643"/>
                    </a:lnTo>
                    <a:lnTo>
                      <a:pt x="519" y="643"/>
                    </a:lnTo>
                    <a:lnTo>
                      <a:pt x="510" y="628"/>
                    </a:lnTo>
                    <a:lnTo>
                      <a:pt x="509" y="625"/>
                    </a:lnTo>
                    <a:lnTo>
                      <a:pt x="509" y="622"/>
                    </a:lnTo>
                    <a:lnTo>
                      <a:pt x="500" y="617"/>
                    </a:lnTo>
                    <a:lnTo>
                      <a:pt x="506" y="615"/>
                    </a:lnTo>
                    <a:lnTo>
                      <a:pt x="501" y="616"/>
                    </a:lnTo>
                    <a:lnTo>
                      <a:pt x="497" y="617"/>
                    </a:lnTo>
                    <a:lnTo>
                      <a:pt x="490" y="620"/>
                    </a:lnTo>
                    <a:lnTo>
                      <a:pt x="483" y="621"/>
                    </a:lnTo>
                    <a:lnTo>
                      <a:pt x="479" y="622"/>
                    </a:lnTo>
                    <a:lnTo>
                      <a:pt x="475" y="626"/>
                    </a:lnTo>
                    <a:lnTo>
                      <a:pt x="471" y="628"/>
                    </a:lnTo>
                    <a:lnTo>
                      <a:pt x="467" y="633"/>
                    </a:lnTo>
                    <a:lnTo>
                      <a:pt x="465" y="637"/>
                    </a:lnTo>
                    <a:lnTo>
                      <a:pt x="462" y="640"/>
                    </a:lnTo>
                    <a:lnTo>
                      <a:pt x="458" y="642"/>
                    </a:lnTo>
                    <a:lnTo>
                      <a:pt x="455" y="648"/>
                    </a:lnTo>
                    <a:lnTo>
                      <a:pt x="450" y="648"/>
                    </a:lnTo>
                    <a:lnTo>
                      <a:pt x="446" y="651"/>
                    </a:lnTo>
                    <a:lnTo>
                      <a:pt x="439" y="652"/>
                    </a:lnTo>
                    <a:lnTo>
                      <a:pt x="434" y="653"/>
                    </a:lnTo>
                    <a:lnTo>
                      <a:pt x="433" y="659"/>
                    </a:lnTo>
                    <a:lnTo>
                      <a:pt x="429" y="659"/>
                    </a:lnTo>
                    <a:lnTo>
                      <a:pt x="424" y="664"/>
                    </a:lnTo>
                    <a:lnTo>
                      <a:pt x="421" y="668"/>
                    </a:lnTo>
                    <a:lnTo>
                      <a:pt x="416" y="671"/>
                    </a:lnTo>
                    <a:lnTo>
                      <a:pt x="412" y="676"/>
                    </a:lnTo>
                    <a:lnTo>
                      <a:pt x="408" y="676"/>
                    </a:lnTo>
                    <a:lnTo>
                      <a:pt x="403" y="680"/>
                    </a:lnTo>
                    <a:lnTo>
                      <a:pt x="400" y="682"/>
                    </a:lnTo>
                    <a:lnTo>
                      <a:pt x="395" y="684"/>
                    </a:lnTo>
                    <a:lnTo>
                      <a:pt x="392" y="689"/>
                    </a:lnTo>
                    <a:lnTo>
                      <a:pt x="387" y="692"/>
                    </a:lnTo>
                    <a:lnTo>
                      <a:pt x="385" y="695"/>
                    </a:lnTo>
                    <a:lnTo>
                      <a:pt x="382" y="699"/>
                    </a:lnTo>
                    <a:lnTo>
                      <a:pt x="379" y="703"/>
                    </a:lnTo>
                    <a:lnTo>
                      <a:pt x="376" y="706"/>
                    </a:lnTo>
                    <a:lnTo>
                      <a:pt x="374" y="710"/>
                    </a:lnTo>
                    <a:lnTo>
                      <a:pt x="369" y="713"/>
                    </a:lnTo>
                    <a:lnTo>
                      <a:pt x="368" y="717"/>
                    </a:lnTo>
                    <a:lnTo>
                      <a:pt x="363" y="717"/>
                    </a:lnTo>
                    <a:lnTo>
                      <a:pt x="360" y="723"/>
                    </a:lnTo>
                    <a:lnTo>
                      <a:pt x="355" y="725"/>
                    </a:lnTo>
                    <a:lnTo>
                      <a:pt x="351" y="727"/>
                    </a:lnTo>
                    <a:lnTo>
                      <a:pt x="347" y="731"/>
                    </a:lnTo>
                    <a:lnTo>
                      <a:pt x="343" y="733"/>
                    </a:lnTo>
                    <a:lnTo>
                      <a:pt x="340" y="738"/>
                    </a:lnTo>
                    <a:lnTo>
                      <a:pt x="336" y="740"/>
                    </a:lnTo>
                    <a:lnTo>
                      <a:pt x="331" y="745"/>
                    </a:lnTo>
                    <a:lnTo>
                      <a:pt x="328" y="750"/>
                    </a:lnTo>
                    <a:lnTo>
                      <a:pt x="323" y="753"/>
                    </a:lnTo>
                    <a:lnTo>
                      <a:pt x="327" y="756"/>
                    </a:lnTo>
                    <a:lnTo>
                      <a:pt x="345" y="749"/>
                    </a:lnTo>
                    <a:lnTo>
                      <a:pt x="350" y="754"/>
                    </a:lnTo>
                    <a:lnTo>
                      <a:pt x="351" y="761"/>
                    </a:lnTo>
                    <a:lnTo>
                      <a:pt x="353" y="760"/>
                    </a:lnTo>
                    <a:lnTo>
                      <a:pt x="351" y="770"/>
                    </a:lnTo>
                    <a:lnTo>
                      <a:pt x="333" y="774"/>
                    </a:lnTo>
                    <a:lnTo>
                      <a:pt x="330" y="778"/>
                    </a:lnTo>
                    <a:lnTo>
                      <a:pt x="325" y="783"/>
                    </a:lnTo>
                    <a:lnTo>
                      <a:pt x="320" y="782"/>
                    </a:lnTo>
                    <a:lnTo>
                      <a:pt x="316" y="782"/>
                    </a:lnTo>
                    <a:lnTo>
                      <a:pt x="311" y="783"/>
                    </a:lnTo>
                    <a:lnTo>
                      <a:pt x="306" y="789"/>
                    </a:lnTo>
                    <a:lnTo>
                      <a:pt x="301" y="792"/>
                    </a:lnTo>
                    <a:lnTo>
                      <a:pt x="298" y="793"/>
                    </a:lnTo>
                    <a:lnTo>
                      <a:pt x="291" y="798"/>
                    </a:lnTo>
                    <a:lnTo>
                      <a:pt x="287" y="801"/>
                    </a:lnTo>
                    <a:lnTo>
                      <a:pt x="283" y="802"/>
                    </a:lnTo>
                    <a:lnTo>
                      <a:pt x="276" y="807"/>
                    </a:lnTo>
                    <a:lnTo>
                      <a:pt x="269" y="809"/>
                    </a:lnTo>
                    <a:lnTo>
                      <a:pt x="265" y="809"/>
                    </a:lnTo>
                    <a:lnTo>
                      <a:pt x="258" y="810"/>
                    </a:lnTo>
                    <a:lnTo>
                      <a:pt x="255" y="814"/>
                    </a:lnTo>
                    <a:lnTo>
                      <a:pt x="250" y="814"/>
                    </a:lnTo>
                    <a:lnTo>
                      <a:pt x="245" y="815"/>
                    </a:lnTo>
                    <a:lnTo>
                      <a:pt x="241" y="816"/>
                    </a:lnTo>
                    <a:lnTo>
                      <a:pt x="236" y="818"/>
                    </a:lnTo>
                    <a:lnTo>
                      <a:pt x="232" y="819"/>
                    </a:lnTo>
                    <a:lnTo>
                      <a:pt x="227" y="819"/>
                    </a:lnTo>
                    <a:lnTo>
                      <a:pt x="224" y="818"/>
                    </a:lnTo>
                    <a:lnTo>
                      <a:pt x="220" y="818"/>
                    </a:lnTo>
                    <a:lnTo>
                      <a:pt x="215" y="819"/>
                    </a:lnTo>
                    <a:lnTo>
                      <a:pt x="210" y="820"/>
                    </a:lnTo>
                    <a:lnTo>
                      <a:pt x="206" y="817"/>
                    </a:lnTo>
                    <a:lnTo>
                      <a:pt x="201" y="818"/>
                    </a:lnTo>
                    <a:lnTo>
                      <a:pt x="197" y="817"/>
                    </a:lnTo>
                    <a:lnTo>
                      <a:pt x="192" y="816"/>
                    </a:lnTo>
                    <a:lnTo>
                      <a:pt x="187" y="815"/>
                    </a:lnTo>
                    <a:lnTo>
                      <a:pt x="182" y="812"/>
                    </a:lnTo>
                    <a:lnTo>
                      <a:pt x="178" y="811"/>
                    </a:lnTo>
                    <a:lnTo>
                      <a:pt x="173" y="810"/>
                    </a:lnTo>
                    <a:lnTo>
                      <a:pt x="169" y="809"/>
                    </a:lnTo>
                    <a:lnTo>
                      <a:pt x="163" y="808"/>
                    </a:lnTo>
                    <a:lnTo>
                      <a:pt x="159" y="805"/>
                    </a:lnTo>
                    <a:lnTo>
                      <a:pt x="154" y="804"/>
                    </a:lnTo>
                    <a:lnTo>
                      <a:pt x="149" y="803"/>
                    </a:lnTo>
                    <a:lnTo>
                      <a:pt x="142" y="802"/>
                    </a:lnTo>
                    <a:lnTo>
                      <a:pt x="137" y="800"/>
                    </a:lnTo>
                    <a:lnTo>
                      <a:pt x="133" y="799"/>
                    </a:lnTo>
                    <a:lnTo>
                      <a:pt x="128" y="800"/>
                    </a:lnTo>
                    <a:lnTo>
                      <a:pt x="124" y="798"/>
                    </a:lnTo>
                    <a:lnTo>
                      <a:pt x="118" y="797"/>
                    </a:lnTo>
                    <a:lnTo>
                      <a:pt x="114" y="797"/>
                    </a:lnTo>
                    <a:lnTo>
                      <a:pt x="107" y="794"/>
                    </a:lnTo>
                    <a:lnTo>
                      <a:pt x="100" y="791"/>
                    </a:lnTo>
                    <a:lnTo>
                      <a:pt x="93" y="787"/>
                    </a:lnTo>
                    <a:lnTo>
                      <a:pt x="89" y="785"/>
                    </a:lnTo>
                    <a:lnTo>
                      <a:pt x="85" y="785"/>
                    </a:lnTo>
                    <a:lnTo>
                      <a:pt x="79" y="784"/>
                    </a:lnTo>
                    <a:lnTo>
                      <a:pt x="75" y="784"/>
                    </a:lnTo>
                    <a:lnTo>
                      <a:pt x="70" y="785"/>
                    </a:lnTo>
                    <a:lnTo>
                      <a:pt x="64" y="786"/>
                    </a:lnTo>
                    <a:lnTo>
                      <a:pt x="60" y="787"/>
                    </a:lnTo>
                    <a:lnTo>
                      <a:pt x="55" y="787"/>
                    </a:lnTo>
                    <a:lnTo>
                      <a:pt x="51" y="788"/>
                    </a:lnTo>
                    <a:lnTo>
                      <a:pt x="48" y="783"/>
                    </a:lnTo>
                    <a:lnTo>
                      <a:pt x="47" y="779"/>
                    </a:lnTo>
                    <a:lnTo>
                      <a:pt x="47" y="775"/>
                    </a:lnTo>
                    <a:lnTo>
                      <a:pt x="46" y="768"/>
                    </a:lnTo>
                    <a:lnTo>
                      <a:pt x="45" y="763"/>
                    </a:lnTo>
                    <a:lnTo>
                      <a:pt x="44" y="756"/>
                    </a:lnTo>
                    <a:lnTo>
                      <a:pt x="44" y="753"/>
                    </a:lnTo>
                    <a:lnTo>
                      <a:pt x="43" y="746"/>
                    </a:lnTo>
                    <a:lnTo>
                      <a:pt x="39" y="742"/>
                    </a:lnTo>
                    <a:lnTo>
                      <a:pt x="42" y="738"/>
                    </a:lnTo>
                    <a:lnTo>
                      <a:pt x="46" y="736"/>
                    </a:lnTo>
                    <a:lnTo>
                      <a:pt x="47" y="731"/>
                    </a:lnTo>
                    <a:lnTo>
                      <a:pt x="46" y="723"/>
                    </a:lnTo>
                    <a:lnTo>
                      <a:pt x="48" y="718"/>
                    </a:lnTo>
                    <a:lnTo>
                      <a:pt x="52" y="717"/>
                    </a:lnTo>
                    <a:lnTo>
                      <a:pt x="53" y="712"/>
                    </a:lnTo>
                    <a:lnTo>
                      <a:pt x="56" y="707"/>
                    </a:lnTo>
                    <a:lnTo>
                      <a:pt x="59" y="703"/>
                    </a:lnTo>
                    <a:lnTo>
                      <a:pt x="63" y="695"/>
                    </a:lnTo>
                    <a:lnTo>
                      <a:pt x="65" y="691"/>
                    </a:lnTo>
                    <a:lnTo>
                      <a:pt x="69" y="689"/>
                    </a:lnTo>
                    <a:lnTo>
                      <a:pt x="71" y="684"/>
                    </a:lnTo>
                    <a:lnTo>
                      <a:pt x="72" y="680"/>
                    </a:lnTo>
                    <a:lnTo>
                      <a:pt x="75" y="676"/>
                    </a:lnTo>
                    <a:lnTo>
                      <a:pt x="78" y="673"/>
                    </a:lnTo>
                    <a:lnTo>
                      <a:pt x="81" y="669"/>
                    </a:lnTo>
                    <a:lnTo>
                      <a:pt x="85" y="663"/>
                    </a:lnTo>
                    <a:lnTo>
                      <a:pt x="89" y="659"/>
                    </a:lnTo>
                    <a:lnTo>
                      <a:pt x="90" y="654"/>
                    </a:lnTo>
                    <a:lnTo>
                      <a:pt x="90" y="651"/>
                    </a:lnTo>
                    <a:lnTo>
                      <a:pt x="89" y="646"/>
                    </a:lnTo>
                    <a:lnTo>
                      <a:pt x="89" y="642"/>
                    </a:lnTo>
                    <a:lnTo>
                      <a:pt x="86" y="639"/>
                    </a:lnTo>
                    <a:lnTo>
                      <a:pt x="82" y="639"/>
                    </a:lnTo>
                    <a:lnTo>
                      <a:pt x="77" y="638"/>
                    </a:lnTo>
                    <a:lnTo>
                      <a:pt x="73" y="636"/>
                    </a:lnTo>
                    <a:lnTo>
                      <a:pt x="66" y="635"/>
                    </a:lnTo>
                    <a:lnTo>
                      <a:pt x="61" y="633"/>
                    </a:lnTo>
                    <a:lnTo>
                      <a:pt x="57" y="631"/>
                    </a:lnTo>
                    <a:lnTo>
                      <a:pt x="52" y="631"/>
                    </a:lnTo>
                    <a:lnTo>
                      <a:pt x="47" y="627"/>
                    </a:lnTo>
                    <a:lnTo>
                      <a:pt x="42" y="623"/>
                    </a:lnTo>
                    <a:lnTo>
                      <a:pt x="39" y="620"/>
                    </a:lnTo>
                    <a:lnTo>
                      <a:pt x="35" y="616"/>
                    </a:lnTo>
                    <a:lnTo>
                      <a:pt x="29" y="612"/>
                    </a:lnTo>
                    <a:lnTo>
                      <a:pt x="25" y="613"/>
                    </a:lnTo>
                    <a:lnTo>
                      <a:pt x="20" y="613"/>
                    </a:lnTo>
                    <a:lnTo>
                      <a:pt x="16" y="614"/>
                    </a:lnTo>
                    <a:lnTo>
                      <a:pt x="11" y="614"/>
                    </a:lnTo>
                    <a:lnTo>
                      <a:pt x="7" y="612"/>
                    </a:lnTo>
                    <a:lnTo>
                      <a:pt x="1" y="609"/>
                    </a:lnTo>
                    <a:lnTo>
                      <a:pt x="1" y="604"/>
                    </a:lnTo>
                    <a:lnTo>
                      <a:pt x="0" y="601"/>
                    </a:lnTo>
                    <a:lnTo>
                      <a:pt x="5" y="597"/>
                    </a:lnTo>
                    <a:lnTo>
                      <a:pt x="4" y="593"/>
                    </a:lnTo>
                    <a:lnTo>
                      <a:pt x="9" y="600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5" name="Freeform 117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979019" y="1829368"/>
                <a:ext cx="1793625" cy="1834681"/>
              </a:xfrm>
              <a:custGeom>
                <a:avLst/>
                <a:gdLst>
                  <a:gd name="T0" fmla="*/ 2147483647 w 1447"/>
                  <a:gd name="T1" fmla="*/ 2147483647 h 1550"/>
                  <a:gd name="T2" fmla="*/ 2147483647 w 1447"/>
                  <a:gd name="T3" fmla="*/ 2147483647 h 1550"/>
                  <a:gd name="T4" fmla="*/ 2147483647 w 1447"/>
                  <a:gd name="T5" fmla="*/ 2147483647 h 1550"/>
                  <a:gd name="T6" fmla="*/ 2147483647 w 1447"/>
                  <a:gd name="T7" fmla="*/ 0 h 1550"/>
                  <a:gd name="T8" fmla="*/ 2147483647 w 1447"/>
                  <a:gd name="T9" fmla="*/ 2147483647 h 1550"/>
                  <a:gd name="T10" fmla="*/ 2147483647 w 1447"/>
                  <a:gd name="T11" fmla="*/ 2147483647 h 1550"/>
                  <a:gd name="T12" fmla="*/ 2147483647 w 1447"/>
                  <a:gd name="T13" fmla="*/ 2147483647 h 1550"/>
                  <a:gd name="T14" fmla="*/ 2147483647 w 1447"/>
                  <a:gd name="T15" fmla="*/ 2147483647 h 1550"/>
                  <a:gd name="T16" fmla="*/ 2147483647 w 1447"/>
                  <a:gd name="T17" fmla="*/ 2147483647 h 1550"/>
                  <a:gd name="T18" fmla="*/ 2147483647 w 1447"/>
                  <a:gd name="T19" fmla="*/ 2147483647 h 1550"/>
                  <a:gd name="T20" fmla="*/ 2147483647 w 1447"/>
                  <a:gd name="T21" fmla="*/ 2147483647 h 1550"/>
                  <a:gd name="T22" fmla="*/ 2147483647 w 1447"/>
                  <a:gd name="T23" fmla="*/ 2147483647 h 1550"/>
                  <a:gd name="T24" fmla="*/ 2147483647 w 1447"/>
                  <a:gd name="T25" fmla="*/ 2147483647 h 1550"/>
                  <a:gd name="T26" fmla="*/ 2147483647 w 1447"/>
                  <a:gd name="T27" fmla="*/ 2147483647 h 1550"/>
                  <a:gd name="T28" fmla="*/ 2147483647 w 1447"/>
                  <a:gd name="T29" fmla="*/ 2147483647 h 1550"/>
                  <a:gd name="T30" fmla="*/ 2147483647 w 1447"/>
                  <a:gd name="T31" fmla="*/ 2147483647 h 1550"/>
                  <a:gd name="T32" fmla="*/ 2147483647 w 1447"/>
                  <a:gd name="T33" fmla="*/ 2147483647 h 1550"/>
                  <a:gd name="T34" fmla="*/ 2147483647 w 1447"/>
                  <a:gd name="T35" fmla="*/ 2147483647 h 1550"/>
                  <a:gd name="T36" fmla="*/ 2147483647 w 1447"/>
                  <a:gd name="T37" fmla="*/ 2147483647 h 1550"/>
                  <a:gd name="T38" fmla="*/ 2147483647 w 1447"/>
                  <a:gd name="T39" fmla="*/ 2147483647 h 1550"/>
                  <a:gd name="T40" fmla="*/ 2147483647 w 1447"/>
                  <a:gd name="T41" fmla="*/ 2147483647 h 1550"/>
                  <a:gd name="T42" fmla="*/ 2147483647 w 1447"/>
                  <a:gd name="T43" fmla="*/ 2147483647 h 1550"/>
                  <a:gd name="T44" fmla="*/ 2147483647 w 1447"/>
                  <a:gd name="T45" fmla="*/ 2147483647 h 1550"/>
                  <a:gd name="T46" fmla="*/ 2147483647 w 1447"/>
                  <a:gd name="T47" fmla="*/ 2147483647 h 1550"/>
                  <a:gd name="T48" fmla="*/ 2147483647 w 1447"/>
                  <a:gd name="T49" fmla="*/ 2147483647 h 1550"/>
                  <a:gd name="T50" fmla="*/ 2147483647 w 1447"/>
                  <a:gd name="T51" fmla="*/ 2147483647 h 1550"/>
                  <a:gd name="T52" fmla="*/ 2147483647 w 1447"/>
                  <a:gd name="T53" fmla="*/ 2147483647 h 1550"/>
                  <a:gd name="T54" fmla="*/ 2147483647 w 1447"/>
                  <a:gd name="T55" fmla="*/ 2147483647 h 1550"/>
                  <a:gd name="T56" fmla="*/ 2147483647 w 1447"/>
                  <a:gd name="T57" fmla="*/ 2147483647 h 1550"/>
                  <a:gd name="T58" fmla="*/ 2147483647 w 1447"/>
                  <a:gd name="T59" fmla="*/ 2147483647 h 1550"/>
                  <a:gd name="T60" fmla="*/ 2147483647 w 1447"/>
                  <a:gd name="T61" fmla="*/ 2147483647 h 1550"/>
                  <a:gd name="T62" fmla="*/ 2147483647 w 1447"/>
                  <a:gd name="T63" fmla="*/ 2147483647 h 1550"/>
                  <a:gd name="T64" fmla="*/ 2147483647 w 1447"/>
                  <a:gd name="T65" fmla="*/ 2147483647 h 1550"/>
                  <a:gd name="T66" fmla="*/ 2147483647 w 1447"/>
                  <a:gd name="T67" fmla="*/ 2147483647 h 1550"/>
                  <a:gd name="T68" fmla="*/ 2147483647 w 1447"/>
                  <a:gd name="T69" fmla="*/ 2147483647 h 1550"/>
                  <a:gd name="T70" fmla="*/ 2147483647 w 1447"/>
                  <a:gd name="T71" fmla="*/ 2147483647 h 1550"/>
                  <a:gd name="T72" fmla="*/ 2147483647 w 1447"/>
                  <a:gd name="T73" fmla="*/ 2147483647 h 1550"/>
                  <a:gd name="T74" fmla="*/ 2147483647 w 1447"/>
                  <a:gd name="T75" fmla="*/ 2147483647 h 1550"/>
                  <a:gd name="T76" fmla="*/ 2147483647 w 1447"/>
                  <a:gd name="T77" fmla="*/ 2147483647 h 1550"/>
                  <a:gd name="T78" fmla="*/ 2147483647 w 1447"/>
                  <a:gd name="T79" fmla="*/ 2147483647 h 1550"/>
                  <a:gd name="T80" fmla="*/ 2147483647 w 1447"/>
                  <a:gd name="T81" fmla="*/ 2147483647 h 1550"/>
                  <a:gd name="T82" fmla="*/ 2147483647 w 1447"/>
                  <a:gd name="T83" fmla="*/ 2147483647 h 1550"/>
                  <a:gd name="T84" fmla="*/ 2147483647 w 1447"/>
                  <a:gd name="T85" fmla="*/ 2147483647 h 1550"/>
                  <a:gd name="T86" fmla="*/ 2147483647 w 1447"/>
                  <a:gd name="T87" fmla="*/ 2147483647 h 1550"/>
                  <a:gd name="T88" fmla="*/ 2147483647 w 1447"/>
                  <a:gd name="T89" fmla="*/ 2147483647 h 1550"/>
                  <a:gd name="T90" fmla="*/ 2147483647 w 1447"/>
                  <a:gd name="T91" fmla="*/ 2147483647 h 1550"/>
                  <a:gd name="T92" fmla="*/ 2147483647 w 1447"/>
                  <a:gd name="T93" fmla="*/ 2147483647 h 1550"/>
                  <a:gd name="T94" fmla="*/ 2147483647 w 1447"/>
                  <a:gd name="T95" fmla="*/ 2147483647 h 1550"/>
                  <a:gd name="T96" fmla="*/ 2147483647 w 1447"/>
                  <a:gd name="T97" fmla="*/ 2147483647 h 1550"/>
                  <a:gd name="T98" fmla="*/ 2147483647 w 1447"/>
                  <a:gd name="T99" fmla="*/ 2147483647 h 1550"/>
                  <a:gd name="T100" fmla="*/ 2147483647 w 1447"/>
                  <a:gd name="T101" fmla="*/ 2147483647 h 1550"/>
                  <a:gd name="T102" fmla="*/ 2147483647 w 1447"/>
                  <a:gd name="T103" fmla="*/ 2147483647 h 1550"/>
                  <a:gd name="T104" fmla="*/ 2147483647 w 1447"/>
                  <a:gd name="T105" fmla="*/ 2147483647 h 1550"/>
                  <a:gd name="T106" fmla="*/ 2147483647 w 1447"/>
                  <a:gd name="T107" fmla="*/ 2147483647 h 1550"/>
                  <a:gd name="T108" fmla="*/ 2147483647 w 1447"/>
                  <a:gd name="T109" fmla="*/ 2147483647 h 1550"/>
                  <a:gd name="T110" fmla="*/ 2147483647 w 1447"/>
                  <a:gd name="T111" fmla="*/ 2147483647 h 1550"/>
                  <a:gd name="T112" fmla="*/ 2147483647 w 1447"/>
                  <a:gd name="T113" fmla="*/ 2147483647 h 1550"/>
                  <a:gd name="T114" fmla="*/ 2147483647 w 1447"/>
                  <a:gd name="T115" fmla="*/ 2147483647 h 1550"/>
                  <a:gd name="T116" fmla="*/ 2147483647 w 1447"/>
                  <a:gd name="T117" fmla="*/ 2147483647 h 1550"/>
                  <a:gd name="T118" fmla="*/ 2147483647 w 1447"/>
                  <a:gd name="T119" fmla="*/ 2147483647 h 1550"/>
                  <a:gd name="T120" fmla="*/ 2147483647 w 1447"/>
                  <a:gd name="T121" fmla="*/ 2147483647 h 1550"/>
                  <a:gd name="T122" fmla="*/ 2147483647 w 1447"/>
                  <a:gd name="T123" fmla="*/ 2147483647 h 155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447"/>
                  <a:gd name="T187" fmla="*/ 0 h 1550"/>
                  <a:gd name="T188" fmla="*/ 1447 w 1447"/>
                  <a:gd name="T189" fmla="*/ 1550 h 155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447" h="1550">
                    <a:moveTo>
                      <a:pt x="1440" y="211"/>
                    </a:moveTo>
                    <a:lnTo>
                      <a:pt x="1435" y="210"/>
                    </a:lnTo>
                    <a:lnTo>
                      <a:pt x="1430" y="205"/>
                    </a:lnTo>
                    <a:lnTo>
                      <a:pt x="1428" y="202"/>
                    </a:lnTo>
                    <a:lnTo>
                      <a:pt x="1422" y="200"/>
                    </a:lnTo>
                    <a:lnTo>
                      <a:pt x="1414" y="193"/>
                    </a:lnTo>
                    <a:lnTo>
                      <a:pt x="1412" y="189"/>
                    </a:lnTo>
                    <a:lnTo>
                      <a:pt x="1411" y="184"/>
                    </a:lnTo>
                    <a:lnTo>
                      <a:pt x="1406" y="184"/>
                    </a:lnTo>
                    <a:lnTo>
                      <a:pt x="1402" y="183"/>
                    </a:lnTo>
                    <a:lnTo>
                      <a:pt x="1397" y="183"/>
                    </a:lnTo>
                    <a:lnTo>
                      <a:pt x="1390" y="182"/>
                    </a:lnTo>
                    <a:lnTo>
                      <a:pt x="1386" y="183"/>
                    </a:lnTo>
                    <a:lnTo>
                      <a:pt x="1381" y="185"/>
                    </a:lnTo>
                    <a:lnTo>
                      <a:pt x="1373" y="189"/>
                    </a:lnTo>
                    <a:lnTo>
                      <a:pt x="1369" y="189"/>
                    </a:lnTo>
                    <a:lnTo>
                      <a:pt x="1365" y="190"/>
                    </a:lnTo>
                    <a:lnTo>
                      <a:pt x="1361" y="190"/>
                    </a:lnTo>
                    <a:lnTo>
                      <a:pt x="1356" y="191"/>
                    </a:lnTo>
                    <a:lnTo>
                      <a:pt x="1351" y="189"/>
                    </a:lnTo>
                    <a:lnTo>
                      <a:pt x="1342" y="186"/>
                    </a:lnTo>
                    <a:lnTo>
                      <a:pt x="1336" y="182"/>
                    </a:lnTo>
                    <a:lnTo>
                      <a:pt x="1331" y="177"/>
                    </a:lnTo>
                    <a:lnTo>
                      <a:pt x="1328" y="172"/>
                    </a:lnTo>
                    <a:lnTo>
                      <a:pt x="1324" y="170"/>
                    </a:lnTo>
                    <a:lnTo>
                      <a:pt x="1318" y="164"/>
                    </a:lnTo>
                    <a:lnTo>
                      <a:pt x="1313" y="160"/>
                    </a:lnTo>
                    <a:lnTo>
                      <a:pt x="1313" y="156"/>
                    </a:lnTo>
                    <a:lnTo>
                      <a:pt x="1314" y="152"/>
                    </a:lnTo>
                    <a:lnTo>
                      <a:pt x="1313" y="146"/>
                    </a:lnTo>
                    <a:lnTo>
                      <a:pt x="1313" y="131"/>
                    </a:lnTo>
                    <a:lnTo>
                      <a:pt x="1313" y="126"/>
                    </a:lnTo>
                    <a:lnTo>
                      <a:pt x="1314" y="121"/>
                    </a:lnTo>
                    <a:lnTo>
                      <a:pt x="1318" y="117"/>
                    </a:lnTo>
                    <a:lnTo>
                      <a:pt x="1322" y="115"/>
                    </a:lnTo>
                    <a:lnTo>
                      <a:pt x="1327" y="112"/>
                    </a:lnTo>
                    <a:lnTo>
                      <a:pt x="1328" y="106"/>
                    </a:lnTo>
                    <a:lnTo>
                      <a:pt x="1327" y="102"/>
                    </a:lnTo>
                    <a:lnTo>
                      <a:pt x="1325" y="97"/>
                    </a:lnTo>
                    <a:lnTo>
                      <a:pt x="1324" y="94"/>
                    </a:lnTo>
                    <a:lnTo>
                      <a:pt x="1329" y="89"/>
                    </a:lnTo>
                    <a:lnTo>
                      <a:pt x="1332" y="83"/>
                    </a:lnTo>
                    <a:lnTo>
                      <a:pt x="1338" y="77"/>
                    </a:lnTo>
                    <a:lnTo>
                      <a:pt x="1341" y="69"/>
                    </a:lnTo>
                    <a:lnTo>
                      <a:pt x="1345" y="63"/>
                    </a:lnTo>
                    <a:lnTo>
                      <a:pt x="1350" y="59"/>
                    </a:lnTo>
                    <a:lnTo>
                      <a:pt x="1358" y="51"/>
                    </a:lnTo>
                    <a:lnTo>
                      <a:pt x="1361" y="49"/>
                    </a:lnTo>
                    <a:lnTo>
                      <a:pt x="1365" y="45"/>
                    </a:lnTo>
                    <a:lnTo>
                      <a:pt x="1359" y="38"/>
                    </a:lnTo>
                    <a:lnTo>
                      <a:pt x="1358" y="34"/>
                    </a:lnTo>
                    <a:lnTo>
                      <a:pt x="1350" y="29"/>
                    </a:lnTo>
                    <a:lnTo>
                      <a:pt x="1347" y="25"/>
                    </a:lnTo>
                    <a:lnTo>
                      <a:pt x="1340" y="22"/>
                    </a:lnTo>
                    <a:lnTo>
                      <a:pt x="1332" y="18"/>
                    </a:lnTo>
                    <a:lnTo>
                      <a:pt x="1328" y="15"/>
                    </a:lnTo>
                    <a:lnTo>
                      <a:pt x="1322" y="11"/>
                    </a:lnTo>
                    <a:lnTo>
                      <a:pt x="1318" y="10"/>
                    </a:lnTo>
                    <a:lnTo>
                      <a:pt x="1308" y="10"/>
                    </a:lnTo>
                    <a:lnTo>
                      <a:pt x="1304" y="8"/>
                    </a:lnTo>
                    <a:lnTo>
                      <a:pt x="1298" y="6"/>
                    </a:lnTo>
                    <a:lnTo>
                      <a:pt x="1294" y="6"/>
                    </a:lnTo>
                    <a:lnTo>
                      <a:pt x="1292" y="3"/>
                    </a:lnTo>
                    <a:lnTo>
                      <a:pt x="1284" y="0"/>
                    </a:lnTo>
                    <a:lnTo>
                      <a:pt x="1280" y="0"/>
                    </a:lnTo>
                    <a:lnTo>
                      <a:pt x="1276" y="1"/>
                    </a:lnTo>
                    <a:lnTo>
                      <a:pt x="1270" y="0"/>
                    </a:lnTo>
                    <a:lnTo>
                      <a:pt x="1266" y="0"/>
                    </a:lnTo>
                    <a:lnTo>
                      <a:pt x="1262" y="3"/>
                    </a:lnTo>
                    <a:lnTo>
                      <a:pt x="1257" y="6"/>
                    </a:lnTo>
                    <a:lnTo>
                      <a:pt x="1256" y="10"/>
                    </a:lnTo>
                    <a:lnTo>
                      <a:pt x="1257" y="19"/>
                    </a:lnTo>
                    <a:lnTo>
                      <a:pt x="1262" y="19"/>
                    </a:lnTo>
                    <a:lnTo>
                      <a:pt x="1264" y="24"/>
                    </a:lnTo>
                    <a:lnTo>
                      <a:pt x="1266" y="35"/>
                    </a:lnTo>
                    <a:lnTo>
                      <a:pt x="1269" y="40"/>
                    </a:lnTo>
                    <a:lnTo>
                      <a:pt x="1274" y="45"/>
                    </a:lnTo>
                    <a:lnTo>
                      <a:pt x="1282" y="51"/>
                    </a:lnTo>
                    <a:lnTo>
                      <a:pt x="1287" y="53"/>
                    </a:lnTo>
                    <a:lnTo>
                      <a:pt x="1282" y="51"/>
                    </a:lnTo>
                    <a:lnTo>
                      <a:pt x="1267" y="40"/>
                    </a:lnTo>
                    <a:lnTo>
                      <a:pt x="1262" y="39"/>
                    </a:lnTo>
                    <a:lnTo>
                      <a:pt x="1255" y="37"/>
                    </a:lnTo>
                    <a:lnTo>
                      <a:pt x="1250" y="38"/>
                    </a:lnTo>
                    <a:lnTo>
                      <a:pt x="1246" y="38"/>
                    </a:lnTo>
                    <a:lnTo>
                      <a:pt x="1241" y="37"/>
                    </a:lnTo>
                    <a:lnTo>
                      <a:pt x="1233" y="38"/>
                    </a:lnTo>
                    <a:lnTo>
                      <a:pt x="1226" y="41"/>
                    </a:lnTo>
                    <a:lnTo>
                      <a:pt x="1220" y="49"/>
                    </a:lnTo>
                    <a:lnTo>
                      <a:pt x="1214" y="49"/>
                    </a:lnTo>
                    <a:lnTo>
                      <a:pt x="1208" y="50"/>
                    </a:lnTo>
                    <a:lnTo>
                      <a:pt x="1205" y="47"/>
                    </a:lnTo>
                    <a:lnTo>
                      <a:pt x="1199" y="36"/>
                    </a:lnTo>
                    <a:lnTo>
                      <a:pt x="1193" y="35"/>
                    </a:lnTo>
                    <a:lnTo>
                      <a:pt x="1186" y="28"/>
                    </a:lnTo>
                    <a:lnTo>
                      <a:pt x="1183" y="24"/>
                    </a:lnTo>
                    <a:lnTo>
                      <a:pt x="1177" y="22"/>
                    </a:lnTo>
                    <a:lnTo>
                      <a:pt x="1166" y="22"/>
                    </a:lnTo>
                    <a:lnTo>
                      <a:pt x="1160" y="22"/>
                    </a:lnTo>
                    <a:lnTo>
                      <a:pt x="1155" y="23"/>
                    </a:lnTo>
                    <a:lnTo>
                      <a:pt x="1151" y="24"/>
                    </a:lnTo>
                    <a:lnTo>
                      <a:pt x="1142" y="25"/>
                    </a:lnTo>
                    <a:lnTo>
                      <a:pt x="1138" y="26"/>
                    </a:lnTo>
                    <a:lnTo>
                      <a:pt x="1124" y="32"/>
                    </a:lnTo>
                    <a:lnTo>
                      <a:pt x="1121" y="33"/>
                    </a:lnTo>
                    <a:lnTo>
                      <a:pt x="1116" y="33"/>
                    </a:lnTo>
                    <a:lnTo>
                      <a:pt x="1108" y="37"/>
                    </a:lnTo>
                    <a:lnTo>
                      <a:pt x="1104" y="39"/>
                    </a:lnTo>
                    <a:lnTo>
                      <a:pt x="1099" y="41"/>
                    </a:lnTo>
                    <a:lnTo>
                      <a:pt x="1096" y="44"/>
                    </a:lnTo>
                    <a:lnTo>
                      <a:pt x="1090" y="51"/>
                    </a:lnTo>
                    <a:lnTo>
                      <a:pt x="1087" y="56"/>
                    </a:lnTo>
                    <a:lnTo>
                      <a:pt x="1084" y="60"/>
                    </a:lnTo>
                    <a:lnTo>
                      <a:pt x="1079" y="64"/>
                    </a:lnTo>
                    <a:lnTo>
                      <a:pt x="1078" y="68"/>
                    </a:lnTo>
                    <a:lnTo>
                      <a:pt x="1074" y="72"/>
                    </a:lnTo>
                    <a:lnTo>
                      <a:pt x="1072" y="77"/>
                    </a:lnTo>
                    <a:lnTo>
                      <a:pt x="1069" y="83"/>
                    </a:lnTo>
                    <a:lnTo>
                      <a:pt x="1064" y="86"/>
                    </a:lnTo>
                    <a:lnTo>
                      <a:pt x="1063" y="93"/>
                    </a:lnTo>
                    <a:lnTo>
                      <a:pt x="1059" y="98"/>
                    </a:lnTo>
                    <a:lnTo>
                      <a:pt x="1057" y="102"/>
                    </a:lnTo>
                    <a:lnTo>
                      <a:pt x="1056" y="107"/>
                    </a:lnTo>
                    <a:lnTo>
                      <a:pt x="1051" y="111"/>
                    </a:lnTo>
                    <a:lnTo>
                      <a:pt x="1050" y="116"/>
                    </a:lnTo>
                    <a:lnTo>
                      <a:pt x="1046" y="119"/>
                    </a:lnTo>
                    <a:lnTo>
                      <a:pt x="1035" y="128"/>
                    </a:lnTo>
                    <a:lnTo>
                      <a:pt x="1034" y="133"/>
                    </a:lnTo>
                    <a:lnTo>
                      <a:pt x="1034" y="136"/>
                    </a:lnTo>
                    <a:lnTo>
                      <a:pt x="1030" y="142"/>
                    </a:lnTo>
                    <a:lnTo>
                      <a:pt x="1029" y="146"/>
                    </a:lnTo>
                    <a:lnTo>
                      <a:pt x="1025" y="151"/>
                    </a:lnTo>
                    <a:lnTo>
                      <a:pt x="1021" y="153"/>
                    </a:lnTo>
                    <a:lnTo>
                      <a:pt x="1018" y="158"/>
                    </a:lnTo>
                    <a:lnTo>
                      <a:pt x="1004" y="160"/>
                    </a:lnTo>
                    <a:lnTo>
                      <a:pt x="999" y="158"/>
                    </a:lnTo>
                    <a:lnTo>
                      <a:pt x="993" y="159"/>
                    </a:lnTo>
                    <a:lnTo>
                      <a:pt x="986" y="160"/>
                    </a:lnTo>
                    <a:lnTo>
                      <a:pt x="977" y="159"/>
                    </a:lnTo>
                    <a:lnTo>
                      <a:pt x="970" y="160"/>
                    </a:lnTo>
                    <a:lnTo>
                      <a:pt x="965" y="163"/>
                    </a:lnTo>
                    <a:lnTo>
                      <a:pt x="955" y="166"/>
                    </a:lnTo>
                    <a:lnTo>
                      <a:pt x="950" y="170"/>
                    </a:lnTo>
                    <a:lnTo>
                      <a:pt x="938" y="177"/>
                    </a:lnTo>
                    <a:lnTo>
                      <a:pt x="933" y="180"/>
                    </a:lnTo>
                    <a:lnTo>
                      <a:pt x="929" y="181"/>
                    </a:lnTo>
                    <a:lnTo>
                      <a:pt x="923" y="184"/>
                    </a:lnTo>
                    <a:lnTo>
                      <a:pt x="918" y="184"/>
                    </a:lnTo>
                    <a:lnTo>
                      <a:pt x="910" y="180"/>
                    </a:lnTo>
                    <a:lnTo>
                      <a:pt x="910" y="177"/>
                    </a:lnTo>
                    <a:lnTo>
                      <a:pt x="907" y="173"/>
                    </a:lnTo>
                    <a:lnTo>
                      <a:pt x="909" y="168"/>
                    </a:lnTo>
                    <a:lnTo>
                      <a:pt x="916" y="167"/>
                    </a:lnTo>
                    <a:lnTo>
                      <a:pt x="920" y="167"/>
                    </a:lnTo>
                    <a:lnTo>
                      <a:pt x="918" y="161"/>
                    </a:lnTo>
                    <a:lnTo>
                      <a:pt x="914" y="158"/>
                    </a:lnTo>
                    <a:lnTo>
                      <a:pt x="910" y="158"/>
                    </a:lnTo>
                    <a:lnTo>
                      <a:pt x="902" y="159"/>
                    </a:lnTo>
                    <a:lnTo>
                      <a:pt x="897" y="160"/>
                    </a:lnTo>
                    <a:lnTo>
                      <a:pt x="893" y="160"/>
                    </a:lnTo>
                    <a:lnTo>
                      <a:pt x="886" y="158"/>
                    </a:lnTo>
                    <a:lnTo>
                      <a:pt x="882" y="162"/>
                    </a:lnTo>
                    <a:lnTo>
                      <a:pt x="878" y="162"/>
                    </a:lnTo>
                    <a:lnTo>
                      <a:pt x="866" y="164"/>
                    </a:lnTo>
                    <a:lnTo>
                      <a:pt x="862" y="167"/>
                    </a:lnTo>
                    <a:lnTo>
                      <a:pt x="857" y="169"/>
                    </a:lnTo>
                    <a:lnTo>
                      <a:pt x="858" y="173"/>
                    </a:lnTo>
                    <a:lnTo>
                      <a:pt x="854" y="178"/>
                    </a:lnTo>
                    <a:lnTo>
                      <a:pt x="850" y="180"/>
                    </a:lnTo>
                    <a:lnTo>
                      <a:pt x="847" y="187"/>
                    </a:lnTo>
                    <a:lnTo>
                      <a:pt x="851" y="191"/>
                    </a:lnTo>
                    <a:lnTo>
                      <a:pt x="855" y="195"/>
                    </a:lnTo>
                    <a:lnTo>
                      <a:pt x="850" y="201"/>
                    </a:lnTo>
                    <a:lnTo>
                      <a:pt x="851" y="206"/>
                    </a:lnTo>
                    <a:lnTo>
                      <a:pt x="847" y="210"/>
                    </a:lnTo>
                    <a:lnTo>
                      <a:pt x="845" y="215"/>
                    </a:lnTo>
                    <a:lnTo>
                      <a:pt x="848" y="221"/>
                    </a:lnTo>
                    <a:lnTo>
                      <a:pt x="852" y="224"/>
                    </a:lnTo>
                    <a:lnTo>
                      <a:pt x="854" y="228"/>
                    </a:lnTo>
                    <a:lnTo>
                      <a:pt x="855" y="233"/>
                    </a:lnTo>
                    <a:lnTo>
                      <a:pt x="850" y="234"/>
                    </a:lnTo>
                    <a:lnTo>
                      <a:pt x="847" y="229"/>
                    </a:lnTo>
                    <a:lnTo>
                      <a:pt x="842" y="222"/>
                    </a:lnTo>
                    <a:lnTo>
                      <a:pt x="837" y="220"/>
                    </a:lnTo>
                    <a:lnTo>
                      <a:pt x="833" y="225"/>
                    </a:lnTo>
                    <a:lnTo>
                      <a:pt x="835" y="234"/>
                    </a:lnTo>
                    <a:lnTo>
                      <a:pt x="837" y="237"/>
                    </a:lnTo>
                    <a:lnTo>
                      <a:pt x="838" y="241"/>
                    </a:lnTo>
                    <a:lnTo>
                      <a:pt x="839" y="253"/>
                    </a:lnTo>
                    <a:lnTo>
                      <a:pt x="840" y="258"/>
                    </a:lnTo>
                    <a:lnTo>
                      <a:pt x="834" y="252"/>
                    </a:lnTo>
                    <a:lnTo>
                      <a:pt x="834" y="249"/>
                    </a:lnTo>
                    <a:lnTo>
                      <a:pt x="831" y="244"/>
                    </a:lnTo>
                    <a:lnTo>
                      <a:pt x="832" y="239"/>
                    </a:lnTo>
                    <a:lnTo>
                      <a:pt x="835" y="236"/>
                    </a:lnTo>
                    <a:lnTo>
                      <a:pt x="834" y="229"/>
                    </a:lnTo>
                    <a:lnTo>
                      <a:pt x="833" y="225"/>
                    </a:lnTo>
                    <a:lnTo>
                      <a:pt x="828" y="224"/>
                    </a:lnTo>
                    <a:lnTo>
                      <a:pt x="823" y="222"/>
                    </a:lnTo>
                    <a:lnTo>
                      <a:pt x="819" y="223"/>
                    </a:lnTo>
                    <a:lnTo>
                      <a:pt x="813" y="228"/>
                    </a:lnTo>
                    <a:lnTo>
                      <a:pt x="809" y="228"/>
                    </a:lnTo>
                    <a:lnTo>
                      <a:pt x="804" y="231"/>
                    </a:lnTo>
                    <a:lnTo>
                      <a:pt x="799" y="232"/>
                    </a:lnTo>
                    <a:lnTo>
                      <a:pt x="797" y="228"/>
                    </a:lnTo>
                    <a:lnTo>
                      <a:pt x="798" y="224"/>
                    </a:lnTo>
                    <a:lnTo>
                      <a:pt x="808" y="220"/>
                    </a:lnTo>
                    <a:lnTo>
                      <a:pt x="813" y="212"/>
                    </a:lnTo>
                    <a:lnTo>
                      <a:pt x="811" y="204"/>
                    </a:lnTo>
                    <a:lnTo>
                      <a:pt x="807" y="201"/>
                    </a:lnTo>
                    <a:lnTo>
                      <a:pt x="800" y="202"/>
                    </a:lnTo>
                    <a:lnTo>
                      <a:pt x="794" y="209"/>
                    </a:lnTo>
                    <a:lnTo>
                      <a:pt x="789" y="215"/>
                    </a:lnTo>
                    <a:lnTo>
                      <a:pt x="764" y="230"/>
                    </a:lnTo>
                    <a:lnTo>
                      <a:pt x="757" y="233"/>
                    </a:lnTo>
                    <a:lnTo>
                      <a:pt x="753" y="234"/>
                    </a:lnTo>
                    <a:lnTo>
                      <a:pt x="746" y="237"/>
                    </a:lnTo>
                    <a:lnTo>
                      <a:pt x="742" y="239"/>
                    </a:lnTo>
                    <a:lnTo>
                      <a:pt x="738" y="242"/>
                    </a:lnTo>
                    <a:lnTo>
                      <a:pt x="733" y="242"/>
                    </a:lnTo>
                    <a:lnTo>
                      <a:pt x="721" y="249"/>
                    </a:lnTo>
                    <a:lnTo>
                      <a:pt x="716" y="250"/>
                    </a:lnTo>
                    <a:lnTo>
                      <a:pt x="712" y="250"/>
                    </a:lnTo>
                    <a:lnTo>
                      <a:pt x="699" y="249"/>
                    </a:lnTo>
                    <a:lnTo>
                      <a:pt x="698" y="255"/>
                    </a:lnTo>
                    <a:lnTo>
                      <a:pt x="699" y="260"/>
                    </a:lnTo>
                    <a:lnTo>
                      <a:pt x="709" y="269"/>
                    </a:lnTo>
                    <a:lnTo>
                      <a:pt x="712" y="274"/>
                    </a:lnTo>
                    <a:lnTo>
                      <a:pt x="705" y="287"/>
                    </a:lnTo>
                    <a:lnTo>
                      <a:pt x="701" y="289"/>
                    </a:lnTo>
                    <a:lnTo>
                      <a:pt x="701" y="293"/>
                    </a:lnTo>
                    <a:lnTo>
                      <a:pt x="695" y="301"/>
                    </a:lnTo>
                    <a:lnTo>
                      <a:pt x="697" y="311"/>
                    </a:lnTo>
                    <a:lnTo>
                      <a:pt x="700" y="317"/>
                    </a:lnTo>
                    <a:lnTo>
                      <a:pt x="705" y="318"/>
                    </a:lnTo>
                    <a:lnTo>
                      <a:pt x="708" y="315"/>
                    </a:lnTo>
                    <a:lnTo>
                      <a:pt x="713" y="315"/>
                    </a:lnTo>
                    <a:lnTo>
                      <a:pt x="715" y="310"/>
                    </a:lnTo>
                    <a:lnTo>
                      <a:pt x="717" y="314"/>
                    </a:lnTo>
                    <a:lnTo>
                      <a:pt x="718" y="318"/>
                    </a:lnTo>
                    <a:lnTo>
                      <a:pt x="722" y="326"/>
                    </a:lnTo>
                    <a:lnTo>
                      <a:pt x="723" y="331"/>
                    </a:lnTo>
                    <a:lnTo>
                      <a:pt x="727" y="337"/>
                    </a:lnTo>
                    <a:lnTo>
                      <a:pt x="733" y="337"/>
                    </a:lnTo>
                    <a:lnTo>
                      <a:pt x="745" y="345"/>
                    </a:lnTo>
                    <a:lnTo>
                      <a:pt x="750" y="346"/>
                    </a:lnTo>
                    <a:lnTo>
                      <a:pt x="754" y="350"/>
                    </a:lnTo>
                    <a:lnTo>
                      <a:pt x="762" y="353"/>
                    </a:lnTo>
                    <a:lnTo>
                      <a:pt x="757" y="356"/>
                    </a:lnTo>
                    <a:lnTo>
                      <a:pt x="754" y="359"/>
                    </a:lnTo>
                    <a:lnTo>
                      <a:pt x="749" y="359"/>
                    </a:lnTo>
                    <a:lnTo>
                      <a:pt x="745" y="360"/>
                    </a:lnTo>
                    <a:lnTo>
                      <a:pt x="740" y="362"/>
                    </a:lnTo>
                    <a:lnTo>
                      <a:pt x="736" y="361"/>
                    </a:lnTo>
                    <a:lnTo>
                      <a:pt x="731" y="362"/>
                    </a:lnTo>
                    <a:lnTo>
                      <a:pt x="727" y="363"/>
                    </a:lnTo>
                    <a:lnTo>
                      <a:pt x="722" y="366"/>
                    </a:lnTo>
                    <a:lnTo>
                      <a:pt x="722" y="375"/>
                    </a:lnTo>
                    <a:lnTo>
                      <a:pt x="722" y="379"/>
                    </a:lnTo>
                    <a:lnTo>
                      <a:pt x="727" y="389"/>
                    </a:lnTo>
                    <a:lnTo>
                      <a:pt x="733" y="390"/>
                    </a:lnTo>
                    <a:lnTo>
                      <a:pt x="735" y="395"/>
                    </a:lnTo>
                    <a:lnTo>
                      <a:pt x="732" y="398"/>
                    </a:lnTo>
                    <a:lnTo>
                      <a:pt x="725" y="402"/>
                    </a:lnTo>
                    <a:lnTo>
                      <a:pt x="716" y="405"/>
                    </a:lnTo>
                    <a:lnTo>
                      <a:pt x="712" y="406"/>
                    </a:lnTo>
                    <a:lnTo>
                      <a:pt x="707" y="404"/>
                    </a:lnTo>
                    <a:lnTo>
                      <a:pt x="694" y="402"/>
                    </a:lnTo>
                    <a:lnTo>
                      <a:pt x="690" y="403"/>
                    </a:lnTo>
                    <a:lnTo>
                      <a:pt x="681" y="404"/>
                    </a:lnTo>
                    <a:lnTo>
                      <a:pt x="676" y="405"/>
                    </a:lnTo>
                    <a:lnTo>
                      <a:pt x="672" y="409"/>
                    </a:lnTo>
                    <a:lnTo>
                      <a:pt x="668" y="412"/>
                    </a:lnTo>
                    <a:lnTo>
                      <a:pt x="664" y="420"/>
                    </a:lnTo>
                    <a:lnTo>
                      <a:pt x="660" y="423"/>
                    </a:lnTo>
                    <a:lnTo>
                      <a:pt x="659" y="428"/>
                    </a:lnTo>
                    <a:lnTo>
                      <a:pt x="657" y="432"/>
                    </a:lnTo>
                    <a:lnTo>
                      <a:pt x="648" y="438"/>
                    </a:lnTo>
                    <a:lnTo>
                      <a:pt x="644" y="440"/>
                    </a:lnTo>
                    <a:lnTo>
                      <a:pt x="640" y="446"/>
                    </a:lnTo>
                    <a:lnTo>
                      <a:pt x="636" y="446"/>
                    </a:lnTo>
                    <a:lnTo>
                      <a:pt x="631" y="447"/>
                    </a:lnTo>
                    <a:lnTo>
                      <a:pt x="626" y="448"/>
                    </a:lnTo>
                    <a:lnTo>
                      <a:pt x="622" y="445"/>
                    </a:lnTo>
                    <a:lnTo>
                      <a:pt x="617" y="446"/>
                    </a:lnTo>
                    <a:lnTo>
                      <a:pt x="611" y="445"/>
                    </a:lnTo>
                    <a:lnTo>
                      <a:pt x="605" y="441"/>
                    </a:lnTo>
                    <a:lnTo>
                      <a:pt x="588" y="440"/>
                    </a:lnTo>
                    <a:lnTo>
                      <a:pt x="581" y="439"/>
                    </a:lnTo>
                    <a:lnTo>
                      <a:pt x="577" y="439"/>
                    </a:lnTo>
                    <a:lnTo>
                      <a:pt x="581" y="439"/>
                    </a:lnTo>
                    <a:lnTo>
                      <a:pt x="581" y="442"/>
                    </a:lnTo>
                    <a:lnTo>
                      <a:pt x="584" y="446"/>
                    </a:lnTo>
                    <a:lnTo>
                      <a:pt x="584" y="450"/>
                    </a:lnTo>
                    <a:lnTo>
                      <a:pt x="588" y="455"/>
                    </a:lnTo>
                    <a:lnTo>
                      <a:pt x="592" y="462"/>
                    </a:lnTo>
                    <a:lnTo>
                      <a:pt x="593" y="467"/>
                    </a:lnTo>
                    <a:lnTo>
                      <a:pt x="593" y="470"/>
                    </a:lnTo>
                    <a:lnTo>
                      <a:pt x="593" y="477"/>
                    </a:lnTo>
                    <a:lnTo>
                      <a:pt x="593" y="480"/>
                    </a:lnTo>
                    <a:lnTo>
                      <a:pt x="594" y="485"/>
                    </a:lnTo>
                    <a:lnTo>
                      <a:pt x="595" y="489"/>
                    </a:lnTo>
                    <a:lnTo>
                      <a:pt x="596" y="495"/>
                    </a:lnTo>
                    <a:lnTo>
                      <a:pt x="597" y="500"/>
                    </a:lnTo>
                    <a:lnTo>
                      <a:pt x="598" y="505"/>
                    </a:lnTo>
                    <a:lnTo>
                      <a:pt x="601" y="512"/>
                    </a:lnTo>
                    <a:lnTo>
                      <a:pt x="601" y="515"/>
                    </a:lnTo>
                    <a:lnTo>
                      <a:pt x="602" y="519"/>
                    </a:lnTo>
                    <a:lnTo>
                      <a:pt x="601" y="527"/>
                    </a:lnTo>
                    <a:lnTo>
                      <a:pt x="599" y="518"/>
                    </a:lnTo>
                    <a:lnTo>
                      <a:pt x="594" y="523"/>
                    </a:lnTo>
                    <a:lnTo>
                      <a:pt x="590" y="524"/>
                    </a:lnTo>
                    <a:lnTo>
                      <a:pt x="585" y="525"/>
                    </a:lnTo>
                    <a:lnTo>
                      <a:pt x="579" y="523"/>
                    </a:lnTo>
                    <a:lnTo>
                      <a:pt x="574" y="523"/>
                    </a:lnTo>
                    <a:lnTo>
                      <a:pt x="569" y="524"/>
                    </a:lnTo>
                    <a:lnTo>
                      <a:pt x="565" y="522"/>
                    </a:lnTo>
                    <a:lnTo>
                      <a:pt x="560" y="521"/>
                    </a:lnTo>
                    <a:lnTo>
                      <a:pt x="555" y="521"/>
                    </a:lnTo>
                    <a:lnTo>
                      <a:pt x="553" y="516"/>
                    </a:lnTo>
                    <a:lnTo>
                      <a:pt x="545" y="510"/>
                    </a:lnTo>
                    <a:lnTo>
                      <a:pt x="540" y="511"/>
                    </a:lnTo>
                    <a:lnTo>
                      <a:pt x="536" y="508"/>
                    </a:lnTo>
                    <a:lnTo>
                      <a:pt x="530" y="506"/>
                    </a:lnTo>
                    <a:lnTo>
                      <a:pt x="520" y="499"/>
                    </a:lnTo>
                    <a:lnTo>
                      <a:pt x="515" y="498"/>
                    </a:lnTo>
                    <a:lnTo>
                      <a:pt x="513" y="494"/>
                    </a:lnTo>
                    <a:lnTo>
                      <a:pt x="508" y="492"/>
                    </a:lnTo>
                    <a:lnTo>
                      <a:pt x="503" y="490"/>
                    </a:lnTo>
                    <a:lnTo>
                      <a:pt x="501" y="488"/>
                    </a:lnTo>
                    <a:lnTo>
                      <a:pt x="495" y="485"/>
                    </a:lnTo>
                    <a:lnTo>
                      <a:pt x="491" y="486"/>
                    </a:lnTo>
                    <a:lnTo>
                      <a:pt x="486" y="487"/>
                    </a:lnTo>
                    <a:lnTo>
                      <a:pt x="477" y="483"/>
                    </a:lnTo>
                    <a:lnTo>
                      <a:pt x="473" y="480"/>
                    </a:lnTo>
                    <a:lnTo>
                      <a:pt x="466" y="479"/>
                    </a:lnTo>
                    <a:lnTo>
                      <a:pt x="461" y="480"/>
                    </a:lnTo>
                    <a:lnTo>
                      <a:pt x="457" y="478"/>
                    </a:lnTo>
                    <a:lnTo>
                      <a:pt x="445" y="480"/>
                    </a:lnTo>
                    <a:lnTo>
                      <a:pt x="457" y="478"/>
                    </a:lnTo>
                    <a:lnTo>
                      <a:pt x="461" y="478"/>
                    </a:lnTo>
                    <a:lnTo>
                      <a:pt x="466" y="477"/>
                    </a:lnTo>
                    <a:lnTo>
                      <a:pt x="470" y="477"/>
                    </a:lnTo>
                    <a:lnTo>
                      <a:pt x="475" y="476"/>
                    </a:lnTo>
                    <a:lnTo>
                      <a:pt x="478" y="478"/>
                    </a:lnTo>
                    <a:lnTo>
                      <a:pt x="483" y="477"/>
                    </a:lnTo>
                    <a:lnTo>
                      <a:pt x="487" y="476"/>
                    </a:lnTo>
                    <a:lnTo>
                      <a:pt x="494" y="475"/>
                    </a:lnTo>
                    <a:lnTo>
                      <a:pt x="499" y="473"/>
                    </a:lnTo>
                    <a:lnTo>
                      <a:pt x="503" y="472"/>
                    </a:lnTo>
                    <a:lnTo>
                      <a:pt x="506" y="464"/>
                    </a:lnTo>
                    <a:lnTo>
                      <a:pt x="504" y="459"/>
                    </a:lnTo>
                    <a:lnTo>
                      <a:pt x="498" y="456"/>
                    </a:lnTo>
                    <a:lnTo>
                      <a:pt x="494" y="454"/>
                    </a:lnTo>
                    <a:lnTo>
                      <a:pt x="491" y="451"/>
                    </a:lnTo>
                    <a:lnTo>
                      <a:pt x="486" y="444"/>
                    </a:lnTo>
                    <a:lnTo>
                      <a:pt x="482" y="442"/>
                    </a:lnTo>
                    <a:lnTo>
                      <a:pt x="475" y="433"/>
                    </a:lnTo>
                    <a:lnTo>
                      <a:pt x="472" y="430"/>
                    </a:lnTo>
                    <a:lnTo>
                      <a:pt x="468" y="415"/>
                    </a:lnTo>
                    <a:lnTo>
                      <a:pt x="459" y="411"/>
                    </a:lnTo>
                    <a:lnTo>
                      <a:pt x="455" y="409"/>
                    </a:lnTo>
                    <a:lnTo>
                      <a:pt x="449" y="408"/>
                    </a:lnTo>
                    <a:lnTo>
                      <a:pt x="442" y="404"/>
                    </a:lnTo>
                    <a:lnTo>
                      <a:pt x="437" y="401"/>
                    </a:lnTo>
                    <a:lnTo>
                      <a:pt x="433" y="402"/>
                    </a:lnTo>
                    <a:lnTo>
                      <a:pt x="429" y="402"/>
                    </a:lnTo>
                    <a:lnTo>
                      <a:pt x="423" y="401"/>
                    </a:lnTo>
                    <a:lnTo>
                      <a:pt x="412" y="400"/>
                    </a:lnTo>
                    <a:lnTo>
                      <a:pt x="407" y="403"/>
                    </a:lnTo>
                    <a:lnTo>
                      <a:pt x="399" y="405"/>
                    </a:lnTo>
                    <a:lnTo>
                      <a:pt x="394" y="405"/>
                    </a:lnTo>
                    <a:lnTo>
                      <a:pt x="388" y="406"/>
                    </a:lnTo>
                    <a:lnTo>
                      <a:pt x="383" y="407"/>
                    </a:lnTo>
                    <a:lnTo>
                      <a:pt x="376" y="410"/>
                    </a:lnTo>
                    <a:lnTo>
                      <a:pt x="374" y="413"/>
                    </a:lnTo>
                    <a:lnTo>
                      <a:pt x="370" y="418"/>
                    </a:lnTo>
                    <a:lnTo>
                      <a:pt x="381" y="425"/>
                    </a:lnTo>
                    <a:lnTo>
                      <a:pt x="384" y="429"/>
                    </a:lnTo>
                    <a:lnTo>
                      <a:pt x="379" y="429"/>
                    </a:lnTo>
                    <a:lnTo>
                      <a:pt x="375" y="430"/>
                    </a:lnTo>
                    <a:lnTo>
                      <a:pt x="360" y="426"/>
                    </a:lnTo>
                    <a:lnTo>
                      <a:pt x="359" y="430"/>
                    </a:lnTo>
                    <a:lnTo>
                      <a:pt x="351" y="429"/>
                    </a:lnTo>
                    <a:lnTo>
                      <a:pt x="345" y="424"/>
                    </a:lnTo>
                    <a:lnTo>
                      <a:pt x="335" y="421"/>
                    </a:lnTo>
                    <a:lnTo>
                      <a:pt x="331" y="422"/>
                    </a:lnTo>
                    <a:lnTo>
                      <a:pt x="323" y="425"/>
                    </a:lnTo>
                    <a:lnTo>
                      <a:pt x="318" y="427"/>
                    </a:lnTo>
                    <a:lnTo>
                      <a:pt x="311" y="430"/>
                    </a:lnTo>
                    <a:lnTo>
                      <a:pt x="310" y="437"/>
                    </a:lnTo>
                    <a:lnTo>
                      <a:pt x="309" y="442"/>
                    </a:lnTo>
                    <a:lnTo>
                      <a:pt x="310" y="455"/>
                    </a:lnTo>
                    <a:lnTo>
                      <a:pt x="311" y="460"/>
                    </a:lnTo>
                    <a:lnTo>
                      <a:pt x="312" y="465"/>
                    </a:lnTo>
                    <a:lnTo>
                      <a:pt x="312" y="468"/>
                    </a:lnTo>
                    <a:lnTo>
                      <a:pt x="317" y="476"/>
                    </a:lnTo>
                    <a:lnTo>
                      <a:pt x="321" y="480"/>
                    </a:lnTo>
                    <a:lnTo>
                      <a:pt x="325" y="483"/>
                    </a:lnTo>
                    <a:lnTo>
                      <a:pt x="331" y="484"/>
                    </a:lnTo>
                    <a:lnTo>
                      <a:pt x="328" y="490"/>
                    </a:lnTo>
                    <a:lnTo>
                      <a:pt x="325" y="493"/>
                    </a:lnTo>
                    <a:lnTo>
                      <a:pt x="320" y="497"/>
                    </a:lnTo>
                    <a:lnTo>
                      <a:pt x="317" y="501"/>
                    </a:lnTo>
                    <a:lnTo>
                      <a:pt x="312" y="505"/>
                    </a:lnTo>
                    <a:lnTo>
                      <a:pt x="300" y="510"/>
                    </a:lnTo>
                    <a:lnTo>
                      <a:pt x="295" y="510"/>
                    </a:lnTo>
                    <a:lnTo>
                      <a:pt x="288" y="513"/>
                    </a:lnTo>
                    <a:lnTo>
                      <a:pt x="282" y="517"/>
                    </a:lnTo>
                    <a:lnTo>
                      <a:pt x="262" y="525"/>
                    </a:lnTo>
                    <a:lnTo>
                      <a:pt x="257" y="525"/>
                    </a:lnTo>
                    <a:lnTo>
                      <a:pt x="254" y="529"/>
                    </a:lnTo>
                    <a:lnTo>
                      <a:pt x="247" y="530"/>
                    </a:lnTo>
                    <a:lnTo>
                      <a:pt x="243" y="525"/>
                    </a:lnTo>
                    <a:lnTo>
                      <a:pt x="236" y="523"/>
                    </a:lnTo>
                    <a:lnTo>
                      <a:pt x="231" y="521"/>
                    </a:lnTo>
                    <a:lnTo>
                      <a:pt x="221" y="520"/>
                    </a:lnTo>
                    <a:lnTo>
                      <a:pt x="217" y="515"/>
                    </a:lnTo>
                    <a:lnTo>
                      <a:pt x="211" y="509"/>
                    </a:lnTo>
                    <a:lnTo>
                      <a:pt x="210" y="506"/>
                    </a:lnTo>
                    <a:lnTo>
                      <a:pt x="210" y="501"/>
                    </a:lnTo>
                    <a:lnTo>
                      <a:pt x="207" y="497"/>
                    </a:lnTo>
                    <a:lnTo>
                      <a:pt x="200" y="496"/>
                    </a:lnTo>
                    <a:lnTo>
                      <a:pt x="195" y="496"/>
                    </a:lnTo>
                    <a:lnTo>
                      <a:pt x="191" y="497"/>
                    </a:lnTo>
                    <a:lnTo>
                      <a:pt x="186" y="500"/>
                    </a:lnTo>
                    <a:lnTo>
                      <a:pt x="183" y="502"/>
                    </a:lnTo>
                    <a:lnTo>
                      <a:pt x="178" y="503"/>
                    </a:lnTo>
                    <a:lnTo>
                      <a:pt x="174" y="505"/>
                    </a:lnTo>
                    <a:lnTo>
                      <a:pt x="163" y="510"/>
                    </a:lnTo>
                    <a:lnTo>
                      <a:pt x="159" y="512"/>
                    </a:lnTo>
                    <a:lnTo>
                      <a:pt x="154" y="513"/>
                    </a:lnTo>
                    <a:lnTo>
                      <a:pt x="147" y="514"/>
                    </a:lnTo>
                    <a:lnTo>
                      <a:pt x="143" y="516"/>
                    </a:lnTo>
                    <a:lnTo>
                      <a:pt x="129" y="519"/>
                    </a:lnTo>
                    <a:lnTo>
                      <a:pt x="127" y="523"/>
                    </a:lnTo>
                    <a:lnTo>
                      <a:pt x="122" y="525"/>
                    </a:lnTo>
                    <a:lnTo>
                      <a:pt x="119" y="528"/>
                    </a:lnTo>
                    <a:lnTo>
                      <a:pt x="114" y="529"/>
                    </a:lnTo>
                    <a:lnTo>
                      <a:pt x="110" y="532"/>
                    </a:lnTo>
                    <a:lnTo>
                      <a:pt x="105" y="534"/>
                    </a:lnTo>
                    <a:lnTo>
                      <a:pt x="106" y="538"/>
                    </a:lnTo>
                    <a:lnTo>
                      <a:pt x="108" y="542"/>
                    </a:lnTo>
                    <a:lnTo>
                      <a:pt x="109" y="545"/>
                    </a:lnTo>
                    <a:lnTo>
                      <a:pt x="112" y="550"/>
                    </a:lnTo>
                    <a:lnTo>
                      <a:pt x="113" y="554"/>
                    </a:lnTo>
                    <a:lnTo>
                      <a:pt x="113" y="558"/>
                    </a:lnTo>
                    <a:lnTo>
                      <a:pt x="109" y="561"/>
                    </a:lnTo>
                    <a:lnTo>
                      <a:pt x="105" y="561"/>
                    </a:lnTo>
                    <a:lnTo>
                      <a:pt x="99" y="558"/>
                    </a:lnTo>
                    <a:lnTo>
                      <a:pt x="94" y="558"/>
                    </a:lnTo>
                    <a:lnTo>
                      <a:pt x="87" y="551"/>
                    </a:lnTo>
                    <a:lnTo>
                      <a:pt x="89" y="546"/>
                    </a:lnTo>
                    <a:lnTo>
                      <a:pt x="92" y="543"/>
                    </a:lnTo>
                    <a:lnTo>
                      <a:pt x="92" y="538"/>
                    </a:lnTo>
                    <a:lnTo>
                      <a:pt x="91" y="530"/>
                    </a:lnTo>
                    <a:lnTo>
                      <a:pt x="86" y="528"/>
                    </a:lnTo>
                    <a:lnTo>
                      <a:pt x="86" y="523"/>
                    </a:lnTo>
                    <a:lnTo>
                      <a:pt x="83" y="521"/>
                    </a:lnTo>
                    <a:lnTo>
                      <a:pt x="78" y="521"/>
                    </a:lnTo>
                    <a:lnTo>
                      <a:pt x="74" y="522"/>
                    </a:lnTo>
                    <a:lnTo>
                      <a:pt x="70" y="524"/>
                    </a:lnTo>
                    <a:lnTo>
                      <a:pt x="68" y="528"/>
                    </a:lnTo>
                    <a:lnTo>
                      <a:pt x="60" y="534"/>
                    </a:lnTo>
                    <a:lnTo>
                      <a:pt x="55" y="535"/>
                    </a:lnTo>
                    <a:lnTo>
                      <a:pt x="51" y="535"/>
                    </a:lnTo>
                    <a:lnTo>
                      <a:pt x="46" y="534"/>
                    </a:lnTo>
                    <a:lnTo>
                      <a:pt x="40" y="543"/>
                    </a:lnTo>
                    <a:lnTo>
                      <a:pt x="38" y="547"/>
                    </a:lnTo>
                    <a:lnTo>
                      <a:pt x="39" y="555"/>
                    </a:lnTo>
                    <a:lnTo>
                      <a:pt x="38" y="562"/>
                    </a:lnTo>
                    <a:lnTo>
                      <a:pt x="39" y="566"/>
                    </a:lnTo>
                    <a:lnTo>
                      <a:pt x="42" y="572"/>
                    </a:lnTo>
                    <a:lnTo>
                      <a:pt x="42" y="577"/>
                    </a:lnTo>
                    <a:lnTo>
                      <a:pt x="47" y="579"/>
                    </a:lnTo>
                    <a:lnTo>
                      <a:pt x="45" y="584"/>
                    </a:lnTo>
                    <a:lnTo>
                      <a:pt x="46" y="602"/>
                    </a:lnTo>
                    <a:lnTo>
                      <a:pt x="46" y="607"/>
                    </a:lnTo>
                    <a:lnTo>
                      <a:pt x="47" y="611"/>
                    </a:lnTo>
                    <a:lnTo>
                      <a:pt x="48" y="615"/>
                    </a:lnTo>
                    <a:lnTo>
                      <a:pt x="48" y="619"/>
                    </a:lnTo>
                    <a:lnTo>
                      <a:pt x="49" y="624"/>
                    </a:lnTo>
                    <a:lnTo>
                      <a:pt x="58" y="626"/>
                    </a:lnTo>
                    <a:lnTo>
                      <a:pt x="63" y="628"/>
                    </a:lnTo>
                    <a:lnTo>
                      <a:pt x="70" y="631"/>
                    </a:lnTo>
                    <a:lnTo>
                      <a:pt x="75" y="634"/>
                    </a:lnTo>
                    <a:lnTo>
                      <a:pt x="80" y="638"/>
                    </a:lnTo>
                    <a:lnTo>
                      <a:pt x="88" y="644"/>
                    </a:lnTo>
                    <a:lnTo>
                      <a:pt x="101" y="650"/>
                    </a:lnTo>
                    <a:lnTo>
                      <a:pt x="105" y="655"/>
                    </a:lnTo>
                    <a:lnTo>
                      <a:pt x="112" y="666"/>
                    </a:lnTo>
                    <a:lnTo>
                      <a:pt x="114" y="670"/>
                    </a:lnTo>
                    <a:lnTo>
                      <a:pt x="115" y="674"/>
                    </a:lnTo>
                    <a:lnTo>
                      <a:pt x="114" y="679"/>
                    </a:lnTo>
                    <a:lnTo>
                      <a:pt x="122" y="686"/>
                    </a:lnTo>
                    <a:lnTo>
                      <a:pt x="126" y="688"/>
                    </a:lnTo>
                    <a:lnTo>
                      <a:pt x="129" y="693"/>
                    </a:lnTo>
                    <a:lnTo>
                      <a:pt x="134" y="696"/>
                    </a:lnTo>
                    <a:lnTo>
                      <a:pt x="135" y="700"/>
                    </a:lnTo>
                    <a:lnTo>
                      <a:pt x="128" y="699"/>
                    </a:lnTo>
                    <a:lnTo>
                      <a:pt x="126" y="711"/>
                    </a:lnTo>
                    <a:lnTo>
                      <a:pt x="131" y="706"/>
                    </a:lnTo>
                    <a:lnTo>
                      <a:pt x="125" y="718"/>
                    </a:lnTo>
                    <a:lnTo>
                      <a:pt x="122" y="721"/>
                    </a:lnTo>
                    <a:lnTo>
                      <a:pt x="125" y="732"/>
                    </a:lnTo>
                    <a:lnTo>
                      <a:pt x="118" y="735"/>
                    </a:lnTo>
                    <a:lnTo>
                      <a:pt x="114" y="737"/>
                    </a:lnTo>
                    <a:lnTo>
                      <a:pt x="113" y="742"/>
                    </a:lnTo>
                    <a:lnTo>
                      <a:pt x="111" y="746"/>
                    </a:lnTo>
                    <a:lnTo>
                      <a:pt x="103" y="755"/>
                    </a:lnTo>
                    <a:lnTo>
                      <a:pt x="101" y="760"/>
                    </a:lnTo>
                    <a:lnTo>
                      <a:pt x="102" y="764"/>
                    </a:lnTo>
                    <a:lnTo>
                      <a:pt x="95" y="778"/>
                    </a:lnTo>
                    <a:lnTo>
                      <a:pt x="93" y="782"/>
                    </a:lnTo>
                    <a:lnTo>
                      <a:pt x="89" y="785"/>
                    </a:lnTo>
                    <a:lnTo>
                      <a:pt x="87" y="790"/>
                    </a:lnTo>
                    <a:lnTo>
                      <a:pt x="82" y="792"/>
                    </a:lnTo>
                    <a:lnTo>
                      <a:pt x="79" y="795"/>
                    </a:lnTo>
                    <a:lnTo>
                      <a:pt x="77" y="801"/>
                    </a:lnTo>
                    <a:lnTo>
                      <a:pt x="78" y="812"/>
                    </a:lnTo>
                    <a:lnTo>
                      <a:pt x="82" y="815"/>
                    </a:lnTo>
                    <a:lnTo>
                      <a:pt x="84" y="821"/>
                    </a:lnTo>
                    <a:lnTo>
                      <a:pt x="85" y="826"/>
                    </a:lnTo>
                    <a:lnTo>
                      <a:pt x="39" y="854"/>
                    </a:lnTo>
                    <a:lnTo>
                      <a:pt x="35" y="855"/>
                    </a:lnTo>
                    <a:lnTo>
                      <a:pt x="20" y="862"/>
                    </a:lnTo>
                    <a:lnTo>
                      <a:pt x="13" y="864"/>
                    </a:lnTo>
                    <a:lnTo>
                      <a:pt x="9" y="867"/>
                    </a:lnTo>
                    <a:lnTo>
                      <a:pt x="5" y="872"/>
                    </a:lnTo>
                    <a:lnTo>
                      <a:pt x="0" y="886"/>
                    </a:lnTo>
                    <a:lnTo>
                      <a:pt x="3" y="890"/>
                    </a:lnTo>
                    <a:lnTo>
                      <a:pt x="12" y="894"/>
                    </a:lnTo>
                    <a:lnTo>
                      <a:pt x="23" y="908"/>
                    </a:lnTo>
                    <a:lnTo>
                      <a:pt x="24" y="912"/>
                    </a:lnTo>
                    <a:lnTo>
                      <a:pt x="27" y="916"/>
                    </a:lnTo>
                    <a:lnTo>
                      <a:pt x="32" y="917"/>
                    </a:lnTo>
                    <a:lnTo>
                      <a:pt x="37" y="918"/>
                    </a:lnTo>
                    <a:lnTo>
                      <a:pt x="41" y="923"/>
                    </a:lnTo>
                    <a:lnTo>
                      <a:pt x="45" y="925"/>
                    </a:lnTo>
                    <a:lnTo>
                      <a:pt x="46" y="930"/>
                    </a:lnTo>
                    <a:lnTo>
                      <a:pt x="46" y="933"/>
                    </a:lnTo>
                    <a:lnTo>
                      <a:pt x="48" y="946"/>
                    </a:lnTo>
                    <a:lnTo>
                      <a:pt x="50" y="950"/>
                    </a:lnTo>
                    <a:lnTo>
                      <a:pt x="51" y="955"/>
                    </a:lnTo>
                    <a:lnTo>
                      <a:pt x="51" y="958"/>
                    </a:lnTo>
                    <a:lnTo>
                      <a:pt x="52" y="963"/>
                    </a:lnTo>
                    <a:lnTo>
                      <a:pt x="55" y="988"/>
                    </a:lnTo>
                    <a:lnTo>
                      <a:pt x="56" y="992"/>
                    </a:lnTo>
                    <a:lnTo>
                      <a:pt x="56" y="995"/>
                    </a:lnTo>
                    <a:lnTo>
                      <a:pt x="57" y="1000"/>
                    </a:lnTo>
                    <a:lnTo>
                      <a:pt x="61" y="1012"/>
                    </a:lnTo>
                    <a:lnTo>
                      <a:pt x="61" y="1018"/>
                    </a:lnTo>
                    <a:lnTo>
                      <a:pt x="62" y="1023"/>
                    </a:lnTo>
                    <a:lnTo>
                      <a:pt x="62" y="1035"/>
                    </a:lnTo>
                    <a:lnTo>
                      <a:pt x="47" y="1044"/>
                    </a:lnTo>
                    <a:lnTo>
                      <a:pt x="42" y="1045"/>
                    </a:lnTo>
                    <a:lnTo>
                      <a:pt x="42" y="1048"/>
                    </a:lnTo>
                    <a:lnTo>
                      <a:pt x="46" y="1052"/>
                    </a:lnTo>
                    <a:lnTo>
                      <a:pt x="56" y="1061"/>
                    </a:lnTo>
                    <a:lnTo>
                      <a:pt x="59" y="1066"/>
                    </a:lnTo>
                    <a:lnTo>
                      <a:pt x="64" y="1071"/>
                    </a:lnTo>
                    <a:lnTo>
                      <a:pt x="65" y="1075"/>
                    </a:lnTo>
                    <a:lnTo>
                      <a:pt x="68" y="1079"/>
                    </a:lnTo>
                    <a:lnTo>
                      <a:pt x="68" y="1083"/>
                    </a:lnTo>
                    <a:lnTo>
                      <a:pt x="71" y="1092"/>
                    </a:lnTo>
                    <a:lnTo>
                      <a:pt x="72" y="1097"/>
                    </a:lnTo>
                    <a:lnTo>
                      <a:pt x="73" y="1102"/>
                    </a:lnTo>
                    <a:lnTo>
                      <a:pt x="73" y="1105"/>
                    </a:lnTo>
                    <a:lnTo>
                      <a:pt x="79" y="1109"/>
                    </a:lnTo>
                    <a:lnTo>
                      <a:pt x="83" y="1114"/>
                    </a:lnTo>
                    <a:lnTo>
                      <a:pt x="84" y="1119"/>
                    </a:lnTo>
                    <a:lnTo>
                      <a:pt x="88" y="1126"/>
                    </a:lnTo>
                    <a:lnTo>
                      <a:pt x="91" y="1130"/>
                    </a:lnTo>
                    <a:lnTo>
                      <a:pt x="96" y="1136"/>
                    </a:lnTo>
                    <a:lnTo>
                      <a:pt x="102" y="1137"/>
                    </a:lnTo>
                    <a:lnTo>
                      <a:pt x="107" y="1143"/>
                    </a:lnTo>
                    <a:lnTo>
                      <a:pt x="110" y="1147"/>
                    </a:lnTo>
                    <a:lnTo>
                      <a:pt x="112" y="1150"/>
                    </a:lnTo>
                    <a:lnTo>
                      <a:pt x="113" y="1155"/>
                    </a:lnTo>
                    <a:lnTo>
                      <a:pt x="116" y="1165"/>
                    </a:lnTo>
                    <a:lnTo>
                      <a:pt x="114" y="1163"/>
                    </a:lnTo>
                    <a:lnTo>
                      <a:pt x="98" y="1178"/>
                    </a:lnTo>
                    <a:lnTo>
                      <a:pt x="93" y="1183"/>
                    </a:lnTo>
                    <a:lnTo>
                      <a:pt x="89" y="1184"/>
                    </a:lnTo>
                    <a:lnTo>
                      <a:pt x="89" y="1187"/>
                    </a:lnTo>
                    <a:lnTo>
                      <a:pt x="85" y="1190"/>
                    </a:lnTo>
                    <a:lnTo>
                      <a:pt x="85" y="1194"/>
                    </a:lnTo>
                    <a:lnTo>
                      <a:pt x="86" y="1199"/>
                    </a:lnTo>
                    <a:lnTo>
                      <a:pt x="86" y="1202"/>
                    </a:lnTo>
                    <a:lnTo>
                      <a:pt x="87" y="1207"/>
                    </a:lnTo>
                    <a:lnTo>
                      <a:pt x="89" y="1211"/>
                    </a:lnTo>
                    <a:lnTo>
                      <a:pt x="95" y="1214"/>
                    </a:lnTo>
                    <a:lnTo>
                      <a:pt x="100" y="1216"/>
                    </a:lnTo>
                    <a:lnTo>
                      <a:pt x="105" y="1217"/>
                    </a:lnTo>
                    <a:lnTo>
                      <a:pt x="115" y="1219"/>
                    </a:lnTo>
                    <a:lnTo>
                      <a:pt x="120" y="1219"/>
                    </a:lnTo>
                    <a:lnTo>
                      <a:pt x="127" y="1220"/>
                    </a:lnTo>
                    <a:lnTo>
                      <a:pt x="137" y="1226"/>
                    </a:lnTo>
                    <a:lnTo>
                      <a:pt x="141" y="1225"/>
                    </a:lnTo>
                    <a:lnTo>
                      <a:pt x="146" y="1227"/>
                    </a:lnTo>
                    <a:lnTo>
                      <a:pt x="150" y="1226"/>
                    </a:lnTo>
                    <a:lnTo>
                      <a:pt x="162" y="1225"/>
                    </a:lnTo>
                    <a:lnTo>
                      <a:pt x="166" y="1228"/>
                    </a:lnTo>
                    <a:lnTo>
                      <a:pt x="174" y="1229"/>
                    </a:lnTo>
                    <a:lnTo>
                      <a:pt x="190" y="1229"/>
                    </a:lnTo>
                    <a:lnTo>
                      <a:pt x="199" y="1233"/>
                    </a:lnTo>
                    <a:lnTo>
                      <a:pt x="205" y="1235"/>
                    </a:lnTo>
                    <a:lnTo>
                      <a:pt x="209" y="1239"/>
                    </a:lnTo>
                    <a:lnTo>
                      <a:pt x="212" y="1247"/>
                    </a:lnTo>
                    <a:lnTo>
                      <a:pt x="211" y="1254"/>
                    </a:lnTo>
                    <a:lnTo>
                      <a:pt x="211" y="1269"/>
                    </a:lnTo>
                    <a:lnTo>
                      <a:pt x="212" y="1272"/>
                    </a:lnTo>
                    <a:lnTo>
                      <a:pt x="212" y="1277"/>
                    </a:lnTo>
                    <a:lnTo>
                      <a:pt x="215" y="1282"/>
                    </a:lnTo>
                    <a:lnTo>
                      <a:pt x="218" y="1287"/>
                    </a:lnTo>
                    <a:lnTo>
                      <a:pt x="221" y="1292"/>
                    </a:lnTo>
                    <a:lnTo>
                      <a:pt x="225" y="1292"/>
                    </a:lnTo>
                    <a:lnTo>
                      <a:pt x="232" y="1293"/>
                    </a:lnTo>
                    <a:lnTo>
                      <a:pt x="236" y="1290"/>
                    </a:lnTo>
                    <a:lnTo>
                      <a:pt x="240" y="1288"/>
                    </a:lnTo>
                    <a:lnTo>
                      <a:pt x="245" y="1287"/>
                    </a:lnTo>
                    <a:lnTo>
                      <a:pt x="249" y="1290"/>
                    </a:lnTo>
                    <a:lnTo>
                      <a:pt x="245" y="1291"/>
                    </a:lnTo>
                    <a:lnTo>
                      <a:pt x="240" y="1292"/>
                    </a:lnTo>
                    <a:lnTo>
                      <a:pt x="232" y="1293"/>
                    </a:lnTo>
                    <a:lnTo>
                      <a:pt x="229" y="1293"/>
                    </a:lnTo>
                    <a:lnTo>
                      <a:pt x="223" y="1290"/>
                    </a:lnTo>
                    <a:lnTo>
                      <a:pt x="217" y="1285"/>
                    </a:lnTo>
                    <a:lnTo>
                      <a:pt x="217" y="1280"/>
                    </a:lnTo>
                    <a:lnTo>
                      <a:pt x="214" y="1272"/>
                    </a:lnTo>
                    <a:lnTo>
                      <a:pt x="213" y="1269"/>
                    </a:lnTo>
                    <a:lnTo>
                      <a:pt x="216" y="1250"/>
                    </a:lnTo>
                    <a:lnTo>
                      <a:pt x="218" y="1255"/>
                    </a:lnTo>
                    <a:lnTo>
                      <a:pt x="234" y="1261"/>
                    </a:lnTo>
                    <a:lnTo>
                      <a:pt x="243" y="1273"/>
                    </a:lnTo>
                    <a:lnTo>
                      <a:pt x="245" y="1276"/>
                    </a:lnTo>
                    <a:lnTo>
                      <a:pt x="250" y="1280"/>
                    </a:lnTo>
                    <a:lnTo>
                      <a:pt x="251" y="1284"/>
                    </a:lnTo>
                    <a:lnTo>
                      <a:pt x="255" y="1292"/>
                    </a:lnTo>
                    <a:lnTo>
                      <a:pt x="252" y="1297"/>
                    </a:lnTo>
                    <a:lnTo>
                      <a:pt x="246" y="1314"/>
                    </a:lnTo>
                    <a:lnTo>
                      <a:pt x="246" y="1318"/>
                    </a:lnTo>
                    <a:lnTo>
                      <a:pt x="251" y="1320"/>
                    </a:lnTo>
                    <a:lnTo>
                      <a:pt x="254" y="1324"/>
                    </a:lnTo>
                    <a:lnTo>
                      <a:pt x="254" y="1328"/>
                    </a:lnTo>
                    <a:lnTo>
                      <a:pt x="263" y="1327"/>
                    </a:lnTo>
                    <a:lnTo>
                      <a:pt x="268" y="1323"/>
                    </a:lnTo>
                    <a:lnTo>
                      <a:pt x="272" y="1323"/>
                    </a:lnTo>
                    <a:lnTo>
                      <a:pt x="273" y="1328"/>
                    </a:lnTo>
                    <a:lnTo>
                      <a:pt x="273" y="1332"/>
                    </a:lnTo>
                    <a:lnTo>
                      <a:pt x="277" y="1335"/>
                    </a:lnTo>
                    <a:lnTo>
                      <a:pt x="274" y="1339"/>
                    </a:lnTo>
                    <a:lnTo>
                      <a:pt x="276" y="1352"/>
                    </a:lnTo>
                    <a:lnTo>
                      <a:pt x="277" y="1357"/>
                    </a:lnTo>
                    <a:lnTo>
                      <a:pt x="280" y="1362"/>
                    </a:lnTo>
                    <a:lnTo>
                      <a:pt x="283" y="1369"/>
                    </a:lnTo>
                    <a:lnTo>
                      <a:pt x="286" y="1372"/>
                    </a:lnTo>
                    <a:lnTo>
                      <a:pt x="288" y="1376"/>
                    </a:lnTo>
                    <a:lnTo>
                      <a:pt x="292" y="1380"/>
                    </a:lnTo>
                    <a:lnTo>
                      <a:pt x="298" y="1400"/>
                    </a:lnTo>
                    <a:lnTo>
                      <a:pt x="299" y="1405"/>
                    </a:lnTo>
                    <a:lnTo>
                      <a:pt x="306" y="1404"/>
                    </a:lnTo>
                    <a:lnTo>
                      <a:pt x="311" y="1403"/>
                    </a:lnTo>
                    <a:lnTo>
                      <a:pt x="315" y="1403"/>
                    </a:lnTo>
                    <a:lnTo>
                      <a:pt x="320" y="1402"/>
                    </a:lnTo>
                    <a:lnTo>
                      <a:pt x="322" y="1405"/>
                    </a:lnTo>
                    <a:lnTo>
                      <a:pt x="322" y="1418"/>
                    </a:lnTo>
                    <a:lnTo>
                      <a:pt x="323" y="1422"/>
                    </a:lnTo>
                    <a:lnTo>
                      <a:pt x="320" y="1426"/>
                    </a:lnTo>
                    <a:lnTo>
                      <a:pt x="321" y="1430"/>
                    </a:lnTo>
                    <a:lnTo>
                      <a:pt x="320" y="1443"/>
                    </a:lnTo>
                    <a:lnTo>
                      <a:pt x="319" y="1448"/>
                    </a:lnTo>
                    <a:lnTo>
                      <a:pt x="320" y="1451"/>
                    </a:lnTo>
                    <a:lnTo>
                      <a:pt x="319" y="1461"/>
                    </a:lnTo>
                    <a:lnTo>
                      <a:pt x="319" y="1465"/>
                    </a:lnTo>
                    <a:lnTo>
                      <a:pt x="315" y="1482"/>
                    </a:lnTo>
                    <a:lnTo>
                      <a:pt x="313" y="1487"/>
                    </a:lnTo>
                    <a:lnTo>
                      <a:pt x="314" y="1491"/>
                    </a:lnTo>
                    <a:lnTo>
                      <a:pt x="314" y="1495"/>
                    </a:lnTo>
                    <a:lnTo>
                      <a:pt x="315" y="1499"/>
                    </a:lnTo>
                    <a:lnTo>
                      <a:pt x="312" y="1503"/>
                    </a:lnTo>
                    <a:lnTo>
                      <a:pt x="314" y="1514"/>
                    </a:lnTo>
                    <a:lnTo>
                      <a:pt x="314" y="1518"/>
                    </a:lnTo>
                    <a:lnTo>
                      <a:pt x="315" y="1523"/>
                    </a:lnTo>
                    <a:lnTo>
                      <a:pt x="315" y="1526"/>
                    </a:lnTo>
                    <a:lnTo>
                      <a:pt x="319" y="1530"/>
                    </a:lnTo>
                    <a:lnTo>
                      <a:pt x="323" y="1532"/>
                    </a:lnTo>
                    <a:lnTo>
                      <a:pt x="326" y="1536"/>
                    </a:lnTo>
                    <a:lnTo>
                      <a:pt x="331" y="1539"/>
                    </a:lnTo>
                    <a:lnTo>
                      <a:pt x="341" y="1544"/>
                    </a:lnTo>
                    <a:lnTo>
                      <a:pt x="346" y="1546"/>
                    </a:lnTo>
                    <a:lnTo>
                      <a:pt x="351" y="1549"/>
                    </a:lnTo>
                    <a:lnTo>
                      <a:pt x="356" y="1550"/>
                    </a:lnTo>
                    <a:lnTo>
                      <a:pt x="357" y="1545"/>
                    </a:lnTo>
                    <a:lnTo>
                      <a:pt x="361" y="1544"/>
                    </a:lnTo>
                    <a:lnTo>
                      <a:pt x="365" y="1536"/>
                    </a:lnTo>
                    <a:lnTo>
                      <a:pt x="370" y="1531"/>
                    </a:lnTo>
                    <a:lnTo>
                      <a:pt x="373" y="1530"/>
                    </a:lnTo>
                    <a:lnTo>
                      <a:pt x="378" y="1526"/>
                    </a:lnTo>
                    <a:lnTo>
                      <a:pt x="391" y="1520"/>
                    </a:lnTo>
                    <a:lnTo>
                      <a:pt x="397" y="1524"/>
                    </a:lnTo>
                    <a:lnTo>
                      <a:pt x="401" y="1521"/>
                    </a:lnTo>
                    <a:lnTo>
                      <a:pt x="406" y="1510"/>
                    </a:lnTo>
                    <a:lnTo>
                      <a:pt x="411" y="1510"/>
                    </a:lnTo>
                    <a:lnTo>
                      <a:pt x="422" y="1508"/>
                    </a:lnTo>
                    <a:lnTo>
                      <a:pt x="437" y="1511"/>
                    </a:lnTo>
                    <a:lnTo>
                      <a:pt x="441" y="1511"/>
                    </a:lnTo>
                    <a:lnTo>
                      <a:pt x="450" y="1513"/>
                    </a:lnTo>
                    <a:lnTo>
                      <a:pt x="455" y="1512"/>
                    </a:lnTo>
                    <a:lnTo>
                      <a:pt x="460" y="1511"/>
                    </a:lnTo>
                    <a:lnTo>
                      <a:pt x="463" y="1508"/>
                    </a:lnTo>
                    <a:lnTo>
                      <a:pt x="465" y="1504"/>
                    </a:lnTo>
                    <a:lnTo>
                      <a:pt x="469" y="1499"/>
                    </a:lnTo>
                    <a:lnTo>
                      <a:pt x="472" y="1488"/>
                    </a:lnTo>
                    <a:lnTo>
                      <a:pt x="474" y="1484"/>
                    </a:lnTo>
                    <a:lnTo>
                      <a:pt x="489" y="1482"/>
                    </a:lnTo>
                    <a:lnTo>
                      <a:pt x="494" y="1468"/>
                    </a:lnTo>
                    <a:lnTo>
                      <a:pt x="494" y="1456"/>
                    </a:lnTo>
                    <a:lnTo>
                      <a:pt x="500" y="1449"/>
                    </a:lnTo>
                    <a:lnTo>
                      <a:pt x="497" y="1441"/>
                    </a:lnTo>
                    <a:lnTo>
                      <a:pt x="507" y="1437"/>
                    </a:lnTo>
                    <a:lnTo>
                      <a:pt x="503" y="1429"/>
                    </a:lnTo>
                    <a:lnTo>
                      <a:pt x="507" y="1425"/>
                    </a:lnTo>
                    <a:lnTo>
                      <a:pt x="510" y="1414"/>
                    </a:lnTo>
                    <a:lnTo>
                      <a:pt x="516" y="1411"/>
                    </a:lnTo>
                    <a:lnTo>
                      <a:pt x="518" y="1407"/>
                    </a:lnTo>
                    <a:lnTo>
                      <a:pt x="519" y="1402"/>
                    </a:lnTo>
                    <a:lnTo>
                      <a:pt x="528" y="1396"/>
                    </a:lnTo>
                    <a:lnTo>
                      <a:pt x="514" y="1400"/>
                    </a:lnTo>
                    <a:lnTo>
                      <a:pt x="518" y="1398"/>
                    </a:lnTo>
                    <a:lnTo>
                      <a:pt x="531" y="1388"/>
                    </a:lnTo>
                    <a:lnTo>
                      <a:pt x="545" y="1386"/>
                    </a:lnTo>
                    <a:lnTo>
                      <a:pt x="549" y="1385"/>
                    </a:lnTo>
                    <a:lnTo>
                      <a:pt x="554" y="1385"/>
                    </a:lnTo>
                    <a:lnTo>
                      <a:pt x="557" y="1382"/>
                    </a:lnTo>
                    <a:lnTo>
                      <a:pt x="562" y="1381"/>
                    </a:lnTo>
                    <a:lnTo>
                      <a:pt x="567" y="1385"/>
                    </a:lnTo>
                    <a:lnTo>
                      <a:pt x="576" y="1386"/>
                    </a:lnTo>
                    <a:lnTo>
                      <a:pt x="583" y="1387"/>
                    </a:lnTo>
                    <a:lnTo>
                      <a:pt x="589" y="1389"/>
                    </a:lnTo>
                    <a:lnTo>
                      <a:pt x="600" y="1400"/>
                    </a:lnTo>
                    <a:lnTo>
                      <a:pt x="603" y="1405"/>
                    </a:lnTo>
                    <a:lnTo>
                      <a:pt x="609" y="1412"/>
                    </a:lnTo>
                    <a:lnTo>
                      <a:pt x="612" y="1417"/>
                    </a:lnTo>
                    <a:lnTo>
                      <a:pt x="625" y="1415"/>
                    </a:lnTo>
                    <a:lnTo>
                      <a:pt x="629" y="1415"/>
                    </a:lnTo>
                    <a:lnTo>
                      <a:pt x="643" y="1413"/>
                    </a:lnTo>
                    <a:lnTo>
                      <a:pt x="648" y="1412"/>
                    </a:lnTo>
                    <a:lnTo>
                      <a:pt x="655" y="1415"/>
                    </a:lnTo>
                    <a:lnTo>
                      <a:pt x="660" y="1417"/>
                    </a:lnTo>
                    <a:lnTo>
                      <a:pt x="664" y="1420"/>
                    </a:lnTo>
                    <a:lnTo>
                      <a:pt x="670" y="1421"/>
                    </a:lnTo>
                    <a:lnTo>
                      <a:pt x="682" y="1433"/>
                    </a:lnTo>
                    <a:lnTo>
                      <a:pt x="688" y="1439"/>
                    </a:lnTo>
                    <a:lnTo>
                      <a:pt x="692" y="1440"/>
                    </a:lnTo>
                    <a:lnTo>
                      <a:pt x="704" y="1448"/>
                    </a:lnTo>
                    <a:lnTo>
                      <a:pt x="708" y="1453"/>
                    </a:lnTo>
                    <a:lnTo>
                      <a:pt x="719" y="1463"/>
                    </a:lnTo>
                    <a:lnTo>
                      <a:pt x="721" y="1468"/>
                    </a:lnTo>
                    <a:lnTo>
                      <a:pt x="727" y="1470"/>
                    </a:lnTo>
                    <a:lnTo>
                      <a:pt x="727" y="1475"/>
                    </a:lnTo>
                    <a:lnTo>
                      <a:pt x="731" y="1479"/>
                    </a:lnTo>
                    <a:lnTo>
                      <a:pt x="735" y="1484"/>
                    </a:lnTo>
                    <a:lnTo>
                      <a:pt x="739" y="1489"/>
                    </a:lnTo>
                    <a:lnTo>
                      <a:pt x="744" y="1490"/>
                    </a:lnTo>
                    <a:lnTo>
                      <a:pt x="755" y="1499"/>
                    </a:lnTo>
                    <a:lnTo>
                      <a:pt x="757" y="1503"/>
                    </a:lnTo>
                    <a:lnTo>
                      <a:pt x="763" y="1506"/>
                    </a:lnTo>
                    <a:lnTo>
                      <a:pt x="767" y="1510"/>
                    </a:lnTo>
                    <a:lnTo>
                      <a:pt x="783" y="1524"/>
                    </a:lnTo>
                    <a:lnTo>
                      <a:pt x="786" y="1528"/>
                    </a:lnTo>
                    <a:lnTo>
                      <a:pt x="791" y="1530"/>
                    </a:lnTo>
                    <a:lnTo>
                      <a:pt x="794" y="1534"/>
                    </a:lnTo>
                    <a:lnTo>
                      <a:pt x="798" y="1537"/>
                    </a:lnTo>
                    <a:lnTo>
                      <a:pt x="803" y="1539"/>
                    </a:lnTo>
                    <a:lnTo>
                      <a:pt x="808" y="1538"/>
                    </a:lnTo>
                    <a:lnTo>
                      <a:pt x="818" y="1529"/>
                    </a:lnTo>
                    <a:lnTo>
                      <a:pt x="822" y="1523"/>
                    </a:lnTo>
                    <a:lnTo>
                      <a:pt x="832" y="1512"/>
                    </a:lnTo>
                    <a:lnTo>
                      <a:pt x="841" y="1508"/>
                    </a:lnTo>
                    <a:lnTo>
                      <a:pt x="845" y="1508"/>
                    </a:lnTo>
                    <a:lnTo>
                      <a:pt x="858" y="1506"/>
                    </a:lnTo>
                    <a:lnTo>
                      <a:pt x="862" y="1506"/>
                    </a:lnTo>
                    <a:lnTo>
                      <a:pt x="867" y="1505"/>
                    </a:lnTo>
                    <a:lnTo>
                      <a:pt x="874" y="1506"/>
                    </a:lnTo>
                    <a:lnTo>
                      <a:pt x="878" y="1505"/>
                    </a:lnTo>
                    <a:lnTo>
                      <a:pt x="885" y="1510"/>
                    </a:lnTo>
                    <a:lnTo>
                      <a:pt x="890" y="1510"/>
                    </a:lnTo>
                    <a:lnTo>
                      <a:pt x="898" y="1513"/>
                    </a:lnTo>
                    <a:lnTo>
                      <a:pt x="902" y="1512"/>
                    </a:lnTo>
                    <a:lnTo>
                      <a:pt x="907" y="1515"/>
                    </a:lnTo>
                    <a:lnTo>
                      <a:pt x="911" y="1516"/>
                    </a:lnTo>
                    <a:lnTo>
                      <a:pt x="917" y="1517"/>
                    </a:lnTo>
                    <a:lnTo>
                      <a:pt x="926" y="1520"/>
                    </a:lnTo>
                    <a:lnTo>
                      <a:pt x="930" y="1520"/>
                    </a:lnTo>
                    <a:lnTo>
                      <a:pt x="932" y="1515"/>
                    </a:lnTo>
                    <a:lnTo>
                      <a:pt x="932" y="1511"/>
                    </a:lnTo>
                    <a:lnTo>
                      <a:pt x="928" y="1507"/>
                    </a:lnTo>
                    <a:lnTo>
                      <a:pt x="931" y="1503"/>
                    </a:lnTo>
                    <a:lnTo>
                      <a:pt x="939" y="1499"/>
                    </a:lnTo>
                    <a:lnTo>
                      <a:pt x="943" y="1499"/>
                    </a:lnTo>
                    <a:lnTo>
                      <a:pt x="951" y="1501"/>
                    </a:lnTo>
                    <a:lnTo>
                      <a:pt x="956" y="1500"/>
                    </a:lnTo>
                    <a:lnTo>
                      <a:pt x="965" y="1499"/>
                    </a:lnTo>
                    <a:lnTo>
                      <a:pt x="968" y="1498"/>
                    </a:lnTo>
                    <a:lnTo>
                      <a:pt x="980" y="1498"/>
                    </a:lnTo>
                    <a:lnTo>
                      <a:pt x="984" y="1497"/>
                    </a:lnTo>
                    <a:lnTo>
                      <a:pt x="995" y="1500"/>
                    </a:lnTo>
                    <a:lnTo>
                      <a:pt x="1000" y="1499"/>
                    </a:lnTo>
                    <a:lnTo>
                      <a:pt x="1005" y="1501"/>
                    </a:lnTo>
                    <a:lnTo>
                      <a:pt x="1011" y="1501"/>
                    </a:lnTo>
                    <a:lnTo>
                      <a:pt x="1025" y="1501"/>
                    </a:lnTo>
                    <a:lnTo>
                      <a:pt x="1030" y="1500"/>
                    </a:lnTo>
                    <a:lnTo>
                      <a:pt x="1034" y="1499"/>
                    </a:lnTo>
                    <a:lnTo>
                      <a:pt x="1052" y="1499"/>
                    </a:lnTo>
                    <a:lnTo>
                      <a:pt x="1058" y="1499"/>
                    </a:lnTo>
                    <a:lnTo>
                      <a:pt x="1061" y="1499"/>
                    </a:lnTo>
                    <a:lnTo>
                      <a:pt x="1066" y="1498"/>
                    </a:lnTo>
                    <a:lnTo>
                      <a:pt x="1085" y="1496"/>
                    </a:lnTo>
                    <a:lnTo>
                      <a:pt x="1092" y="1495"/>
                    </a:lnTo>
                    <a:lnTo>
                      <a:pt x="1097" y="1493"/>
                    </a:lnTo>
                    <a:lnTo>
                      <a:pt x="1123" y="1481"/>
                    </a:lnTo>
                    <a:lnTo>
                      <a:pt x="1126" y="1478"/>
                    </a:lnTo>
                    <a:lnTo>
                      <a:pt x="1126" y="1474"/>
                    </a:lnTo>
                    <a:lnTo>
                      <a:pt x="1131" y="1473"/>
                    </a:lnTo>
                    <a:lnTo>
                      <a:pt x="1132" y="1469"/>
                    </a:lnTo>
                    <a:lnTo>
                      <a:pt x="1153" y="1455"/>
                    </a:lnTo>
                    <a:lnTo>
                      <a:pt x="1160" y="1454"/>
                    </a:lnTo>
                    <a:lnTo>
                      <a:pt x="1164" y="1452"/>
                    </a:lnTo>
                    <a:lnTo>
                      <a:pt x="1169" y="1451"/>
                    </a:lnTo>
                    <a:lnTo>
                      <a:pt x="1186" y="1457"/>
                    </a:lnTo>
                    <a:lnTo>
                      <a:pt x="1190" y="1456"/>
                    </a:lnTo>
                    <a:lnTo>
                      <a:pt x="1196" y="1456"/>
                    </a:lnTo>
                    <a:lnTo>
                      <a:pt x="1201" y="1455"/>
                    </a:lnTo>
                    <a:lnTo>
                      <a:pt x="1204" y="1451"/>
                    </a:lnTo>
                    <a:lnTo>
                      <a:pt x="1204" y="1446"/>
                    </a:lnTo>
                    <a:lnTo>
                      <a:pt x="1203" y="1443"/>
                    </a:lnTo>
                    <a:lnTo>
                      <a:pt x="1202" y="1437"/>
                    </a:lnTo>
                    <a:lnTo>
                      <a:pt x="1207" y="1431"/>
                    </a:lnTo>
                    <a:lnTo>
                      <a:pt x="1211" y="1430"/>
                    </a:lnTo>
                    <a:lnTo>
                      <a:pt x="1215" y="1425"/>
                    </a:lnTo>
                    <a:lnTo>
                      <a:pt x="1221" y="1421"/>
                    </a:lnTo>
                    <a:lnTo>
                      <a:pt x="1227" y="1418"/>
                    </a:lnTo>
                    <a:lnTo>
                      <a:pt x="1240" y="1410"/>
                    </a:lnTo>
                    <a:lnTo>
                      <a:pt x="1244" y="1406"/>
                    </a:lnTo>
                    <a:lnTo>
                      <a:pt x="1261" y="1380"/>
                    </a:lnTo>
                    <a:lnTo>
                      <a:pt x="1263" y="1375"/>
                    </a:lnTo>
                    <a:lnTo>
                      <a:pt x="1249" y="1369"/>
                    </a:lnTo>
                    <a:lnTo>
                      <a:pt x="1243" y="1365"/>
                    </a:lnTo>
                    <a:lnTo>
                      <a:pt x="1244" y="1357"/>
                    </a:lnTo>
                    <a:lnTo>
                      <a:pt x="1247" y="1352"/>
                    </a:lnTo>
                    <a:lnTo>
                      <a:pt x="1248" y="1349"/>
                    </a:lnTo>
                    <a:lnTo>
                      <a:pt x="1256" y="1337"/>
                    </a:lnTo>
                    <a:lnTo>
                      <a:pt x="1255" y="1333"/>
                    </a:lnTo>
                    <a:lnTo>
                      <a:pt x="1254" y="1328"/>
                    </a:lnTo>
                    <a:lnTo>
                      <a:pt x="1250" y="1313"/>
                    </a:lnTo>
                    <a:lnTo>
                      <a:pt x="1245" y="1313"/>
                    </a:lnTo>
                    <a:lnTo>
                      <a:pt x="1241" y="1299"/>
                    </a:lnTo>
                    <a:lnTo>
                      <a:pt x="1230" y="1288"/>
                    </a:lnTo>
                    <a:lnTo>
                      <a:pt x="1219" y="1289"/>
                    </a:lnTo>
                    <a:lnTo>
                      <a:pt x="1218" y="1284"/>
                    </a:lnTo>
                    <a:lnTo>
                      <a:pt x="1218" y="1261"/>
                    </a:lnTo>
                    <a:lnTo>
                      <a:pt x="1213" y="1262"/>
                    </a:lnTo>
                    <a:lnTo>
                      <a:pt x="1209" y="1262"/>
                    </a:lnTo>
                    <a:lnTo>
                      <a:pt x="1208" y="1246"/>
                    </a:lnTo>
                    <a:lnTo>
                      <a:pt x="1209" y="1246"/>
                    </a:lnTo>
                    <a:lnTo>
                      <a:pt x="1200" y="1243"/>
                    </a:lnTo>
                    <a:lnTo>
                      <a:pt x="1187" y="1243"/>
                    </a:lnTo>
                    <a:lnTo>
                      <a:pt x="1187" y="1238"/>
                    </a:lnTo>
                    <a:lnTo>
                      <a:pt x="1191" y="1231"/>
                    </a:lnTo>
                    <a:lnTo>
                      <a:pt x="1192" y="1224"/>
                    </a:lnTo>
                    <a:lnTo>
                      <a:pt x="1180" y="1199"/>
                    </a:lnTo>
                    <a:lnTo>
                      <a:pt x="1177" y="1196"/>
                    </a:lnTo>
                    <a:lnTo>
                      <a:pt x="1176" y="1191"/>
                    </a:lnTo>
                    <a:lnTo>
                      <a:pt x="1176" y="1173"/>
                    </a:lnTo>
                    <a:lnTo>
                      <a:pt x="1181" y="1169"/>
                    </a:lnTo>
                    <a:lnTo>
                      <a:pt x="1191" y="1162"/>
                    </a:lnTo>
                    <a:lnTo>
                      <a:pt x="1192" y="1157"/>
                    </a:lnTo>
                    <a:lnTo>
                      <a:pt x="1195" y="1153"/>
                    </a:lnTo>
                    <a:lnTo>
                      <a:pt x="1196" y="1148"/>
                    </a:lnTo>
                    <a:lnTo>
                      <a:pt x="1199" y="1139"/>
                    </a:lnTo>
                    <a:lnTo>
                      <a:pt x="1203" y="1137"/>
                    </a:lnTo>
                    <a:lnTo>
                      <a:pt x="1207" y="1135"/>
                    </a:lnTo>
                    <a:lnTo>
                      <a:pt x="1220" y="1126"/>
                    </a:lnTo>
                    <a:lnTo>
                      <a:pt x="1225" y="1126"/>
                    </a:lnTo>
                    <a:lnTo>
                      <a:pt x="1229" y="1125"/>
                    </a:lnTo>
                    <a:lnTo>
                      <a:pt x="1235" y="1119"/>
                    </a:lnTo>
                    <a:lnTo>
                      <a:pt x="1250" y="1111"/>
                    </a:lnTo>
                    <a:lnTo>
                      <a:pt x="1252" y="1107"/>
                    </a:lnTo>
                    <a:lnTo>
                      <a:pt x="1264" y="1092"/>
                    </a:lnTo>
                    <a:lnTo>
                      <a:pt x="1265" y="1089"/>
                    </a:lnTo>
                    <a:lnTo>
                      <a:pt x="1257" y="1081"/>
                    </a:lnTo>
                    <a:lnTo>
                      <a:pt x="1274" y="1073"/>
                    </a:lnTo>
                    <a:lnTo>
                      <a:pt x="1285" y="1071"/>
                    </a:lnTo>
                    <a:lnTo>
                      <a:pt x="1289" y="1069"/>
                    </a:lnTo>
                    <a:lnTo>
                      <a:pt x="1305" y="1049"/>
                    </a:lnTo>
                    <a:lnTo>
                      <a:pt x="1309" y="1047"/>
                    </a:lnTo>
                    <a:lnTo>
                      <a:pt x="1311" y="1041"/>
                    </a:lnTo>
                    <a:lnTo>
                      <a:pt x="1308" y="1036"/>
                    </a:lnTo>
                    <a:lnTo>
                      <a:pt x="1308" y="1033"/>
                    </a:lnTo>
                    <a:lnTo>
                      <a:pt x="1307" y="1018"/>
                    </a:lnTo>
                    <a:lnTo>
                      <a:pt x="1307" y="1013"/>
                    </a:lnTo>
                    <a:lnTo>
                      <a:pt x="1306" y="1010"/>
                    </a:lnTo>
                    <a:lnTo>
                      <a:pt x="1301" y="997"/>
                    </a:lnTo>
                    <a:lnTo>
                      <a:pt x="1297" y="994"/>
                    </a:lnTo>
                    <a:lnTo>
                      <a:pt x="1297" y="989"/>
                    </a:lnTo>
                    <a:lnTo>
                      <a:pt x="1285" y="969"/>
                    </a:lnTo>
                    <a:lnTo>
                      <a:pt x="1282" y="966"/>
                    </a:lnTo>
                    <a:lnTo>
                      <a:pt x="1278" y="966"/>
                    </a:lnTo>
                    <a:lnTo>
                      <a:pt x="1273" y="963"/>
                    </a:lnTo>
                    <a:lnTo>
                      <a:pt x="1270" y="959"/>
                    </a:lnTo>
                    <a:lnTo>
                      <a:pt x="1267" y="955"/>
                    </a:lnTo>
                    <a:lnTo>
                      <a:pt x="1264" y="947"/>
                    </a:lnTo>
                    <a:lnTo>
                      <a:pt x="1263" y="943"/>
                    </a:lnTo>
                    <a:lnTo>
                      <a:pt x="1263" y="939"/>
                    </a:lnTo>
                    <a:lnTo>
                      <a:pt x="1260" y="920"/>
                    </a:lnTo>
                    <a:lnTo>
                      <a:pt x="1258" y="917"/>
                    </a:lnTo>
                    <a:lnTo>
                      <a:pt x="1267" y="906"/>
                    </a:lnTo>
                    <a:lnTo>
                      <a:pt x="1272" y="902"/>
                    </a:lnTo>
                    <a:lnTo>
                      <a:pt x="1275" y="895"/>
                    </a:lnTo>
                    <a:lnTo>
                      <a:pt x="1274" y="892"/>
                    </a:lnTo>
                    <a:lnTo>
                      <a:pt x="1270" y="877"/>
                    </a:lnTo>
                    <a:lnTo>
                      <a:pt x="1270" y="872"/>
                    </a:lnTo>
                    <a:lnTo>
                      <a:pt x="1269" y="869"/>
                    </a:lnTo>
                    <a:lnTo>
                      <a:pt x="1267" y="865"/>
                    </a:lnTo>
                    <a:lnTo>
                      <a:pt x="1266" y="861"/>
                    </a:lnTo>
                    <a:lnTo>
                      <a:pt x="1256" y="841"/>
                    </a:lnTo>
                    <a:lnTo>
                      <a:pt x="1254" y="836"/>
                    </a:lnTo>
                    <a:lnTo>
                      <a:pt x="1255" y="828"/>
                    </a:lnTo>
                    <a:lnTo>
                      <a:pt x="1256" y="824"/>
                    </a:lnTo>
                    <a:lnTo>
                      <a:pt x="1254" y="820"/>
                    </a:lnTo>
                    <a:lnTo>
                      <a:pt x="1244" y="812"/>
                    </a:lnTo>
                    <a:lnTo>
                      <a:pt x="1247" y="809"/>
                    </a:lnTo>
                    <a:lnTo>
                      <a:pt x="1251" y="803"/>
                    </a:lnTo>
                    <a:lnTo>
                      <a:pt x="1256" y="803"/>
                    </a:lnTo>
                    <a:lnTo>
                      <a:pt x="1268" y="804"/>
                    </a:lnTo>
                    <a:lnTo>
                      <a:pt x="1272" y="807"/>
                    </a:lnTo>
                    <a:lnTo>
                      <a:pt x="1291" y="806"/>
                    </a:lnTo>
                    <a:lnTo>
                      <a:pt x="1297" y="803"/>
                    </a:lnTo>
                    <a:lnTo>
                      <a:pt x="1302" y="803"/>
                    </a:lnTo>
                    <a:lnTo>
                      <a:pt x="1317" y="799"/>
                    </a:lnTo>
                    <a:lnTo>
                      <a:pt x="1325" y="800"/>
                    </a:lnTo>
                    <a:lnTo>
                      <a:pt x="1331" y="799"/>
                    </a:lnTo>
                    <a:lnTo>
                      <a:pt x="1340" y="796"/>
                    </a:lnTo>
                    <a:lnTo>
                      <a:pt x="1342" y="789"/>
                    </a:lnTo>
                    <a:lnTo>
                      <a:pt x="1342" y="784"/>
                    </a:lnTo>
                    <a:lnTo>
                      <a:pt x="1346" y="780"/>
                    </a:lnTo>
                    <a:lnTo>
                      <a:pt x="1354" y="772"/>
                    </a:lnTo>
                    <a:lnTo>
                      <a:pt x="1358" y="770"/>
                    </a:lnTo>
                    <a:lnTo>
                      <a:pt x="1363" y="768"/>
                    </a:lnTo>
                    <a:lnTo>
                      <a:pt x="1367" y="768"/>
                    </a:lnTo>
                    <a:lnTo>
                      <a:pt x="1374" y="767"/>
                    </a:lnTo>
                    <a:lnTo>
                      <a:pt x="1385" y="766"/>
                    </a:lnTo>
                    <a:lnTo>
                      <a:pt x="1389" y="749"/>
                    </a:lnTo>
                    <a:lnTo>
                      <a:pt x="1392" y="744"/>
                    </a:lnTo>
                    <a:lnTo>
                      <a:pt x="1390" y="729"/>
                    </a:lnTo>
                    <a:lnTo>
                      <a:pt x="1389" y="726"/>
                    </a:lnTo>
                    <a:lnTo>
                      <a:pt x="1389" y="721"/>
                    </a:lnTo>
                    <a:lnTo>
                      <a:pt x="1388" y="717"/>
                    </a:lnTo>
                    <a:lnTo>
                      <a:pt x="1379" y="705"/>
                    </a:lnTo>
                    <a:lnTo>
                      <a:pt x="1376" y="703"/>
                    </a:lnTo>
                    <a:lnTo>
                      <a:pt x="1371" y="698"/>
                    </a:lnTo>
                    <a:lnTo>
                      <a:pt x="1363" y="689"/>
                    </a:lnTo>
                    <a:lnTo>
                      <a:pt x="1361" y="685"/>
                    </a:lnTo>
                    <a:lnTo>
                      <a:pt x="1358" y="680"/>
                    </a:lnTo>
                    <a:lnTo>
                      <a:pt x="1354" y="673"/>
                    </a:lnTo>
                    <a:lnTo>
                      <a:pt x="1343" y="661"/>
                    </a:lnTo>
                    <a:lnTo>
                      <a:pt x="1341" y="657"/>
                    </a:lnTo>
                    <a:lnTo>
                      <a:pt x="1335" y="655"/>
                    </a:lnTo>
                    <a:lnTo>
                      <a:pt x="1328" y="648"/>
                    </a:lnTo>
                    <a:lnTo>
                      <a:pt x="1327" y="641"/>
                    </a:lnTo>
                    <a:lnTo>
                      <a:pt x="1324" y="638"/>
                    </a:lnTo>
                    <a:lnTo>
                      <a:pt x="1319" y="626"/>
                    </a:lnTo>
                    <a:lnTo>
                      <a:pt x="1319" y="622"/>
                    </a:lnTo>
                    <a:lnTo>
                      <a:pt x="1318" y="617"/>
                    </a:lnTo>
                    <a:lnTo>
                      <a:pt x="1317" y="607"/>
                    </a:lnTo>
                    <a:lnTo>
                      <a:pt x="1316" y="602"/>
                    </a:lnTo>
                    <a:lnTo>
                      <a:pt x="1316" y="599"/>
                    </a:lnTo>
                    <a:lnTo>
                      <a:pt x="1315" y="592"/>
                    </a:lnTo>
                    <a:lnTo>
                      <a:pt x="1317" y="589"/>
                    </a:lnTo>
                    <a:lnTo>
                      <a:pt x="1328" y="580"/>
                    </a:lnTo>
                    <a:lnTo>
                      <a:pt x="1332" y="578"/>
                    </a:lnTo>
                    <a:lnTo>
                      <a:pt x="1337" y="577"/>
                    </a:lnTo>
                    <a:lnTo>
                      <a:pt x="1349" y="569"/>
                    </a:lnTo>
                    <a:lnTo>
                      <a:pt x="1356" y="570"/>
                    </a:lnTo>
                    <a:lnTo>
                      <a:pt x="1363" y="571"/>
                    </a:lnTo>
                    <a:lnTo>
                      <a:pt x="1363" y="567"/>
                    </a:lnTo>
                    <a:lnTo>
                      <a:pt x="1360" y="561"/>
                    </a:lnTo>
                    <a:lnTo>
                      <a:pt x="1349" y="544"/>
                    </a:lnTo>
                    <a:lnTo>
                      <a:pt x="1345" y="539"/>
                    </a:lnTo>
                    <a:lnTo>
                      <a:pt x="1345" y="536"/>
                    </a:lnTo>
                    <a:lnTo>
                      <a:pt x="1342" y="530"/>
                    </a:lnTo>
                    <a:lnTo>
                      <a:pt x="1348" y="527"/>
                    </a:lnTo>
                    <a:lnTo>
                      <a:pt x="1355" y="523"/>
                    </a:lnTo>
                    <a:lnTo>
                      <a:pt x="1359" y="522"/>
                    </a:lnTo>
                    <a:lnTo>
                      <a:pt x="1370" y="516"/>
                    </a:lnTo>
                    <a:lnTo>
                      <a:pt x="1368" y="503"/>
                    </a:lnTo>
                    <a:lnTo>
                      <a:pt x="1377" y="500"/>
                    </a:lnTo>
                    <a:lnTo>
                      <a:pt x="1381" y="499"/>
                    </a:lnTo>
                    <a:lnTo>
                      <a:pt x="1393" y="502"/>
                    </a:lnTo>
                    <a:lnTo>
                      <a:pt x="1397" y="501"/>
                    </a:lnTo>
                    <a:lnTo>
                      <a:pt x="1409" y="498"/>
                    </a:lnTo>
                    <a:lnTo>
                      <a:pt x="1413" y="495"/>
                    </a:lnTo>
                    <a:lnTo>
                      <a:pt x="1414" y="487"/>
                    </a:lnTo>
                    <a:lnTo>
                      <a:pt x="1416" y="481"/>
                    </a:lnTo>
                    <a:lnTo>
                      <a:pt x="1416" y="479"/>
                    </a:lnTo>
                    <a:lnTo>
                      <a:pt x="1415" y="474"/>
                    </a:lnTo>
                    <a:lnTo>
                      <a:pt x="1420" y="453"/>
                    </a:lnTo>
                    <a:lnTo>
                      <a:pt x="1421" y="447"/>
                    </a:lnTo>
                    <a:lnTo>
                      <a:pt x="1423" y="442"/>
                    </a:lnTo>
                    <a:lnTo>
                      <a:pt x="1428" y="442"/>
                    </a:lnTo>
                    <a:lnTo>
                      <a:pt x="1434" y="438"/>
                    </a:lnTo>
                    <a:lnTo>
                      <a:pt x="1447" y="436"/>
                    </a:lnTo>
                    <a:lnTo>
                      <a:pt x="1438" y="435"/>
                    </a:lnTo>
                    <a:lnTo>
                      <a:pt x="1434" y="433"/>
                    </a:lnTo>
                    <a:lnTo>
                      <a:pt x="1428" y="431"/>
                    </a:lnTo>
                    <a:lnTo>
                      <a:pt x="1426" y="426"/>
                    </a:lnTo>
                    <a:lnTo>
                      <a:pt x="1418" y="423"/>
                    </a:lnTo>
                    <a:lnTo>
                      <a:pt x="1413" y="423"/>
                    </a:lnTo>
                    <a:lnTo>
                      <a:pt x="1405" y="419"/>
                    </a:lnTo>
                    <a:lnTo>
                      <a:pt x="1400" y="419"/>
                    </a:lnTo>
                    <a:lnTo>
                      <a:pt x="1397" y="408"/>
                    </a:lnTo>
                    <a:lnTo>
                      <a:pt x="1398" y="400"/>
                    </a:lnTo>
                    <a:lnTo>
                      <a:pt x="1397" y="394"/>
                    </a:lnTo>
                    <a:lnTo>
                      <a:pt x="1394" y="390"/>
                    </a:lnTo>
                    <a:lnTo>
                      <a:pt x="1394" y="386"/>
                    </a:lnTo>
                    <a:lnTo>
                      <a:pt x="1390" y="380"/>
                    </a:lnTo>
                    <a:lnTo>
                      <a:pt x="1390" y="376"/>
                    </a:lnTo>
                    <a:lnTo>
                      <a:pt x="1381" y="366"/>
                    </a:lnTo>
                    <a:lnTo>
                      <a:pt x="1381" y="362"/>
                    </a:lnTo>
                    <a:lnTo>
                      <a:pt x="1377" y="362"/>
                    </a:lnTo>
                    <a:lnTo>
                      <a:pt x="1374" y="357"/>
                    </a:lnTo>
                    <a:lnTo>
                      <a:pt x="1370" y="350"/>
                    </a:lnTo>
                    <a:lnTo>
                      <a:pt x="1370" y="347"/>
                    </a:lnTo>
                    <a:lnTo>
                      <a:pt x="1375" y="338"/>
                    </a:lnTo>
                    <a:lnTo>
                      <a:pt x="1377" y="333"/>
                    </a:lnTo>
                    <a:lnTo>
                      <a:pt x="1379" y="329"/>
                    </a:lnTo>
                    <a:lnTo>
                      <a:pt x="1381" y="324"/>
                    </a:lnTo>
                    <a:lnTo>
                      <a:pt x="1380" y="321"/>
                    </a:lnTo>
                    <a:lnTo>
                      <a:pt x="1375" y="319"/>
                    </a:lnTo>
                    <a:lnTo>
                      <a:pt x="1372" y="315"/>
                    </a:lnTo>
                    <a:lnTo>
                      <a:pt x="1376" y="308"/>
                    </a:lnTo>
                    <a:lnTo>
                      <a:pt x="1380" y="303"/>
                    </a:lnTo>
                    <a:lnTo>
                      <a:pt x="1382" y="298"/>
                    </a:lnTo>
                    <a:lnTo>
                      <a:pt x="1384" y="294"/>
                    </a:lnTo>
                    <a:lnTo>
                      <a:pt x="1390" y="276"/>
                    </a:lnTo>
                    <a:lnTo>
                      <a:pt x="1393" y="274"/>
                    </a:lnTo>
                    <a:lnTo>
                      <a:pt x="1396" y="270"/>
                    </a:lnTo>
                    <a:lnTo>
                      <a:pt x="1412" y="270"/>
                    </a:lnTo>
                    <a:lnTo>
                      <a:pt x="1422" y="267"/>
                    </a:lnTo>
                    <a:lnTo>
                      <a:pt x="1430" y="264"/>
                    </a:lnTo>
                    <a:lnTo>
                      <a:pt x="1437" y="264"/>
                    </a:lnTo>
                    <a:lnTo>
                      <a:pt x="1442" y="253"/>
                    </a:lnTo>
                    <a:lnTo>
                      <a:pt x="1439" y="254"/>
                    </a:lnTo>
                    <a:lnTo>
                      <a:pt x="1442" y="242"/>
                    </a:lnTo>
                    <a:lnTo>
                      <a:pt x="1442" y="238"/>
                    </a:lnTo>
                    <a:lnTo>
                      <a:pt x="1443" y="232"/>
                    </a:lnTo>
                    <a:lnTo>
                      <a:pt x="1442" y="226"/>
                    </a:lnTo>
                    <a:lnTo>
                      <a:pt x="1439" y="221"/>
                    </a:lnTo>
                    <a:lnTo>
                      <a:pt x="1436" y="217"/>
                    </a:lnTo>
                    <a:lnTo>
                      <a:pt x="1433" y="214"/>
                    </a:lnTo>
                    <a:lnTo>
                      <a:pt x="1440" y="211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6" name="Freeform 118"/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 rot="-459984">
                <a:off x="4193327" y="3994663"/>
                <a:ext cx="280605" cy="393478"/>
              </a:xfrm>
              <a:custGeom>
                <a:avLst/>
                <a:gdLst>
                  <a:gd name="T0" fmla="*/ 2147483647 w 193"/>
                  <a:gd name="T1" fmla="*/ 0 h 291"/>
                  <a:gd name="T2" fmla="*/ 2147483647 w 193"/>
                  <a:gd name="T3" fmla="*/ 2147483647 h 291"/>
                  <a:gd name="T4" fmla="*/ 2147483647 w 193"/>
                  <a:gd name="T5" fmla="*/ 2147483647 h 291"/>
                  <a:gd name="T6" fmla="*/ 2147483647 w 193"/>
                  <a:gd name="T7" fmla="*/ 2147483647 h 291"/>
                  <a:gd name="T8" fmla="*/ 2147483647 w 193"/>
                  <a:gd name="T9" fmla="*/ 2147483647 h 291"/>
                  <a:gd name="T10" fmla="*/ 2147483647 w 193"/>
                  <a:gd name="T11" fmla="*/ 2147483647 h 291"/>
                  <a:gd name="T12" fmla="*/ 2147483647 w 193"/>
                  <a:gd name="T13" fmla="*/ 2147483647 h 291"/>
                  <a:gd name="T14" fmla="*/ 2147483647 w 193"/>
                  <a:gd name="T15" fmla="*/ 2147483647 h 291"/>
                  <a:gd name="T16" fmla="*/ 2147483647 w 193"/>
                  <a:gd name="T17" fmla="*/ 2147483647 h 291"/>
                  <a:gd name="T18" fmla="*/ 2147483647 w 193"/>
                  <a:gd name="T19" fmla="*/ 2147483647 h 291"/>
                  <a:gd name="T20" fmla="*/ 2147483647 w 193"/>
                  <a:gd name="T21" fmla="*/ 2147483647 h 291"/>
                  <a:gd name="T22" fmla="*/ 2147483647 w 193"/>
                  <a:gd name="T23" fmla="*/ 2147483647 h 291"/>
                  <a:gd name="T24" fmla="*/ 2147483647 w 193"/>
                  <a:gd name="T25" fmla="*/ 2147483647 h 291"/>
                  <a:gd name="T26" fmla="*/ 0 w 193"/>
                  <a:gd name="T27" fmla="*/ 2147483647 h 291"/>
                  <a:gd name="T28" fmla="*/ 2147483647 w 193"/>
                  <a:gd name="T29" fmla="*/ 2147483647 h 291"/>
                  <a:gd name="T30" fmla="*/ 2147483647 w 193"/>
                  <a:gd name="T31" fmla="*/ 2147483647 h 291"/>
                  <a:gd name="T32" fmla="*/ 2147483647 w 193"/>
                  <a:gd name="T33" fmla="*/ 2147483647 h 291"/>
                  <a:gd name="T34" fmla="*/ 2147483647 w 193"/>
                  <a:gd name="T35" fmla="*/ 2147483647 h 291"/>
                  <a:gd name="T36" fmla="*/ 2147483647 w 193"/>
                  <a:gd name="T37" fmla="*/ 2147483647 h 291"/>
                  <a:gd name="T38" fmla="*/ 2147483647 w 193"/>
                  <a:gd name="T39" fmla="*/ 2147483647 h 291"/>
                  <a:gd name="T40" fmla="*/ 2147483647 w 193"/>
                  <a:gd name="T41" fmla="*/ 2147483647 h 291"/>
                  <a:gd name="T42" fmla="*/ 2147483647 w 193"/>
                  <a:gd name="T43" fmla="*/ 2147483647 h 291"/>
                  <a:gd name="T44" fmla="*/ 2147483647 w 193"/>
                  <a:gd name="T45" fmla="*/ 2147483647 h 291"/>
                  <a:gd name="T46" fmla="*/ 2147483647 w 193"/>
                  <a:gd name="T47" fmla="*/ 2147483647 h 291"/>
                  <a:gd name="T48" fmla="*/ 2147483647 w 193"/>
                  <a:gd name="T49" fmla="*/ 2147483647 h 291"/>
                  <a:gd name="T50" fmla="*/ 2147483647 w 193"/>
                  <a:gd name="T51" fmla="*/ 2147483647 h 291"/>
                  <a:gd name="T52" fmla="*/ 2147483647 w 193"/>
                  <a:gd name="T53" fmla="*/ 2147483647 h 291"/>
                  <a:gd name="T54" fmla="*/ 2147483647 w 193"/>
                  <a:gd name="T55" fmla="*/ 2147483647 h 291"/>
                  <a:gd name="T56" fmla="*/ 2147483647 w 193"/>
                  <a:gd name="T57" fmla="*/ 2147483647 h 291"/>
                  <a:gd name="T58" fmla="*/ 2147483647 w 193"/>
                  <a:gd name="T59" fmla="*/ 2147483647 h 291"/>
                  <a:gd name="T60" fmla="*/ 2147483647 w 193"/>
                  <a:gd name="T61" fmla="*/ 2147483647 h 291"/>
                  <a:gd name="T62" fmla="*/ 2147483647 w 193"/>
                  <a:gd name="T63" fmla="*/ 2147483647 h 291"/>
                  <a:gd name="T64" fmla="*/ 2147483647 w 193"/>
                  <a:gd name="T65" fmla="*/ 2147483647 h 291"/>
                  <a:gd name="T66" fmla="*/ 2147483647 w 193"/>
                  <a:gd name="T67" fmla="*/ 2147483647 h 291"/>
                  <a:gd name="T68" fmla="*/ 2147483647 w 193"/>
                  <a:gd name="T69" fmla="*/ 2147483647 h 291"/>
                  <a:gd name="T70" fmla="*/ 2147483647 w 193"/>
                  <a:gd name="T71" fmla="*/ 2147483647 h 291"/>
                  <a:gd name="T72" fmla="*/ 2147483647 w 193"/>
                  <a:gd name="T73" fmla="*/ 2147483647 h 291"/>
                  <a:gd name="T74" fmla="*/ 2147483647 w 193"/>
                  <a:gd name="T75" fmla="*/ 2147483647 h 291"/>
                  <a:gd name="T76" fmla="*/ 2147483647 w 193"/>
                  <a:gd name="T77" fmla="*/ 2147483647 h 291"/>
                  <a:gd name="T78" fmla="*/ 2147483647 w 193"/>
                  <a:gd name="T79" fmla="*/ 2147483647 h 291"/>
                  <a:gd name="T80" fmla="*/ 2147483647 w 193"/>
                  <a:gd name="T81" fmla="*/ 2147483647 h 291"/>
                  <a:gd name="T82" fmla="*/ 2147483647 w 193"/>
                  <a:gd name="T83" fmla="*/ 2147483647 h 291"/>
                  <a:gd name="T84" fmla="*/ 2147483647 w 193"/>
                  <a:gd name="T85" fmla="*/ 2147483647 h 291"/>
                  <a:gd name="T86" fmla="*/ 2147483647 w 193"/>
                  <a:gd name="T87" fmla="*/ 2147483647 h 291"/>
                  <a:gd name="T88" fmla="*/ 2147483647 w 193"/>
                  <a:gd name="T89" fmla="*/ 2147483647 h 291"/>
                  <a:gd name="T90" fmla="*/ 2147483647 w 193"/>
                  <a:gd name="T91" fmla="*/ 2147483647 h 291"/>
                  <a:gd name="T92" fmla="*/ 2147483647 w 193"/>
                  <a:gd name="T93" fmla="*/ 2147483647 h 291"/>
                  <a:gd name="T94" fmla="*/ 2147483647 w 193"/>
                  <a:gd name="T95" fmla="*/ 2147483647 h 291"/>
                  <a:gd name="T96" fmla="*/ 2147483647 w 193"/>
                  <a:gd name="T97" fmla="*/ 2147483647 h 291"/>
                  <a:gd name="T98" fmla="*/ 2147483647 w 193"/>
                  <a:gd name="T99" fmla="*/ 2147483647 h 291"/>
                  <a:gd name="T100" fmla="*/ 2147483647 w 193"/>
                  <a:gd name="T101" fmla="*/ 2147483647 h 291"/>
                  <a:gd name="T102" fmla="*/ 2147483647 w 193"/>
                  <a:gd name="T103" fmla="*/ 2147483647 h 291"/>
                  <a:gd name="T104" fmla="*/ 2147483647 w 193"/>
                  <a:gd name="T105" fmla="*/ 2147483647 h 291"/>
                  <a:gd name="T106" fmla="*/ 2147483647 w 193"/>
                  <a:gd name="T107" fmla="*/ 2147483647 h 291"/>
                  <a:gd name="T108" fmla="*/ 2147483647 w 193"/>
                  <a:gd name="T109" fmla="*/ 2147483647 h 29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93"/>
                  <a:gd name="T166" fmla="*/ 0 h 291"/>
                  <a:gd name="T167" fmla="*/ 193 w 193"/>
                  <a:gd name="T168" fmla="*/ 291 h 29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93" h="291">
                    <a:moveTo>
                      <a:pt x="170" y="2"/>
                    </a:moveTo>
                    <a:lnTo>
                      <a:pt x="166" y="2"/>
                    </a:lnTo>
                    <a:lnTo>
                      <a:pt x="162" y="0"/>
                    </a:lnTo>
                    <a:lnTo>
                      <a:pt x="158" y="0"/>
                    </a:lnTo>
                    <a:lnTo>
                      <a:pt x="154" y="2"/>
                    </a:lnTo>
                    <a:lnTo>
                      <a:pt x="154" y="5"/>
                    </a:lnTo>
                    <a:lnTo>
                      <a:pt x="152" y="9"/>
                    </a:lnTo>
                    <a:lnTo>
                      <a:pt x="150" y="13"/>
                    </a:lnTo>
                    <a:lnTo>
                      <a:pt x="146" y="15"/>
                    </a:lnTo>
                    <a:lnTo>
                      <a:pt x="141" y="16"/>
                    </a:lnTo>
                    <a:lnTo>
                      <a:pt x="137" y="16"/>
                    </a:lnTo>
                    <a:lnTo>
                      <a:pt x="133" y="18"/>
                    </a:lnTo>
                    <a:lnTo>
                      <a:pt x="129" y="18"/>
                    </a:lnTo>
                    <a:lnTo>
                      <a:pt x="123" y="18"/>
                    </a:lnTo>
                    <a:lnTo>
                      <a:pt x="119" y="18"/>
                    </a:lnTo>
                    <a:lnTo>
                      <a:pt x="115" y="18"/>
                    </a:lnTo>
                    <a:lnTo>
                      <a:pt x="111" y="18"/>
                    </a:lnTo>
                    <a:lnTo>
                      <a:pt x="107" y="18"/>
                    </a:lnTo>
                    <a:lnTo>
                      <a:pt x="101" y="18"/>
                    </a:lnTo>
                    <a:lnTo>
                      <a:pt x="97" y="18"/>
                    </a:lnTo>
                    <a:lnTo>
                      <a:pt x="93" y="18"/>
                    </a:lnTo>
                    <a:lnTo>
                      <a:pt x="89" y="18"/>
                    </a:lnTo>
                    <a:lnTo>
                      <a:pt x="85" y="18"/>
                    </a:lnTo>
                    <a:lnTo>
                      <a:pt x="81" y="18"/>
                    </a:lnTo>
                    <a:lnTo>
                      <a:pt x="77" y="18"/>
                    </a:lnTo>
                    <a:lnTo>
                      <a:pt x="69" y="18"/>
                    </a:lnTo>
                    <a:lnTo>
                      <a:pt x="65" y="18"/>
                    </a:lnTo>
                    <a:lnTo>
                      <a:pt x="59" y="18"/>
                    </a:lnTo>
                    <a:lnTo>
                      <a:pt x="55" y="18"/>
                    </a:lnTo>
                    <a:lnTo>
                      <a:pt x="51" y="18"/>
                    </a:lnTo>
                    <a:lnTo>
                      <a:pt x="48" y="20"/>
                    </a:lnTo>
                    <a:lnTo>
                      <a:pt x="46" y="24"/>
                    </a:lnTo>
                    <a:lnTo>
                      <a:pt x="46" y="27"/>
                    </a:lnTo>
                    <a:lnTo>
                      <a:pt x="42" y="29"/>
                    </a:lnTo>
                    <a:lnTo>
                      <a:pt x="38" y="29"/>
                    </a:lnTo>
                    <a:lnTo>
                      <a:pt x="34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2" y="33"/>
                    </a:lnTo>
                    <a:lnTo>
                      <a:pt x="18" y="33"/>
                    </a:lnTo>
                    <a:lnTo>
                      <a:pt x="14" y="33"/>
                    </a:lnTo>
                    <a:lnTo>
                      <a:pt x="10" y="33"/>
                    </a:lnTo>
                    <a:lnTo>
                      <a:pt x="6" y="35"/>
                    </a:lnTo>
                    <a:lnTo>
                      <a:pt x="6" y="38"/>
                    </a:lnTo>
                    <a:lnTo>
                      <a:pt x="4" y="42"/>
                    </a:lnTo>
                    <a:lnTo>
                      <a:pt x="4" y="46"/>
                    </a:lnTo>
                    <a:lnTo>
                      <a:pt x="4" y="49"/>
                    </a:lnTo>
                    <a:lnTo>
                      <a:pt x="4" y="53"/>
                    </a:lnTo>
                    <a:lnTo>
                      <a:pt x="4" y="58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4" y="69"/>
                    </a:lnTo>
                    <a:lnTo>
                      <a:pt x="2" y="73"/>
                    </a:lnTo>
                    <a:lnTo>
                      <a:pt x="2" y="77"/>
                    </a:lnTo>
                    <a:lnTo>
                      <a:pt x="0" y="80"/>
                    </a:lnTo>
                    <a:lnTo>
                      <a:pt x="0" y="86"/>
                    </a:lnTo>
                    <a:lnTo>
                      <a:pt x="2" y="89"/>
                    </a:lnTo>
                    <a:lnTo>
                      <a:pt x="4" y="93"/>
                    </a:lnTo>
                    <a:lnTo>
                      <a:pt x="4" y="97"/>
                    </a:lnTo>
                    <a:lnTo>
                      <a:pt x="6" y="100"/>
                    </a:lnTo>
                    <a:lnTo>
                      <a:pt x="6" y="104"/>
                    </a:lnTo>
                    <a:lnTo>
                      <a:pt x="6" y="108"/>
                    </a:lnTo>
                    <a:lnTo>
                      <a:pt x="6" y="111"/>
                    </a:lnTo>
                    <a:lnTo>
                      <a:pt x="6" y="115"/>
                    </a:lnTo>
                    <a:lnTo>
                      <a:pt x="6" y="119"/>
                    </a:lnTo>
                    <a:lnTo>
                      <a:pt x="6" y="122"/>
                    </a:lnTo>
                    <a:lnTo>
                      <a:pt x="6" y="126"/>
                    </a:lnTo>
                    <a:lnTo>
                      <a:pt x="8" y="130"/>
                    </a:lnTo>
                    <a:lnTo>
                      <a:pt x="10" y="133"/>
                    </a:lnTo>
                    <a:lnTo>
                      <a:pt x="12" y="137"/>
                    </a:lnTo>
                    <a:lnTo>
                      <a:pt x="12" y="140"/>
                    </a:lnTo>
                    <a:lnTo>
                      <a:pt x="14" y="146"/>
                    </a:lnTo>
                    <a:lnTo>
                      <a:pt x="16" y="150"/>
                    </a:lnTo>
                    <a:lnTo>
                      <a:pt x="16" y="153"/>
                    </a:lnTo>
                    <a:lnTo>
                      <a:pt x="18" y="157"/>
                    </a:lnTo>
                    <a:lnTo>
                      <a:pt x="20" y="161"/>
                    </a:lnTo>
                    <a:lnTo>
                      <a:pt x="24" y="164"/>
                    </a:lnTo>
                    <a:lnTo>
                      <a:pt x="26" y="168"/>
                    </a:lnTo>
                    <a:lnTo>
                      <a:pt x="30" y="171"/>
                    </a:lnTo>
                    <a:lnTo>
                      <a:pt x="32" y="175"/>
                    </a:lnTo>
                    <a:lnTo>
                      <a:pt x="36" y="175"/>
                    </a:lnTo>
                    <a:lnTo>
                      <a:pt x="38" y="179"/>
                    </a:lnTo>
                    <a:lnTo>
                      <a:pt x="42" y="181"/>
                    </a:lnTo>
                    <a:lnTo>
                      <a:pt x="44" y="184"/>
                    </a:lnTo>
                    <a:lnTo>
                      <a:pt x="46" y="188"/>
                    </a:lnTo>
                    <a:lnTo>
                      <a:pt x="46" y="192"/>
                    </a:lnTo>
                    <a:lnTo>
                      <a:pt x="48" y="195"/>
                    </a:lnTo>
                    <a:lnTo>
                      <a:pt x="49" y="199"/>
                    </a:lnTo>
                    <a:lnTo>
                      <a:pt x="53" y="203"/>
                    </a:lnTo>
                    <a:lnTo>
                      <a:pt x="57" y="204"/>
                    </a:lnTo>
                    <a:lnTo>
                      <a:pt x="61" y="208"/>
                    </a:lnTo>
                    <a:lnTo>
                      <a:pt x="61" y="212"/>
                    </a:lnTo>
                    <a:lnTo>
                      <a:pt x="57" y="212"/>
                    </a:lnTo>
                    <a:lnTo>
                      <a:pt x="59" y="215"/>
                    </a:lnTo>
                    <a:lnTo>
                      <a:pt x="61" y="219"/>
                    </a:lnTo>
                    <a:lnTo>
                      <a:pt x="61" y="223"/>
                    </a:lnTo>
                    <a:lnTo>
                      <a:pt x="61" y="226"/>
                    </a:lnTo>
                    <a:lnTo>
                      <a:pt x="61" y="232"/>
                    </a:lnTo>
                    <a:lnTo>
                      <a:pt x="63" y="235"/>
                    </a:lnTo>
                    <a:lnTo>
                      <a:pt x="63" y="239"/>
                    </a:lnTo>
                    <a:lnTo>
                      <a:pt x="63" y="243"/>
                    </a:lnTo>
                    <a:lnTo>
                      <a:pt x="63" y="246"/>
                    </a:lnTo>
                    <a:lnTo>
                      <a:pt x="69" y="250"/>
                    </a:lnTo>
                    <a:lnTo>
                      <a:pt x="73" y="252"/>
                    </a:lnTo>
                    <a:lnTo>
                      <a:pt x="77" y="255"/>
                    </a:lnTo>
                    <a:lnTo>
                      <a:pt x="83" y="259"/>
                    </a:lnTo>
                    <a:lnTo>
                      <a:pt x="87" y="261"/>
                    </a:lnTo>
                    <a:lnTo>
                      <a:pt x="89" y="265"/>
                    </a:lnTo>
                    <a:lnTo>
                      <a:pt x="93" y="268"/>
                    </a:lnTo>
                    <a:lnTo>
                      <a:pt x="95" y="272"/>
                    </a:lnTo>
                    <a:lnTo>
                      <a:pt x="99" y="274"/>
                    </a:lnTo>
                    <a:lnTo>
                      <a:pt x="101" y="277"/>
                    </a:lnTo>
                    <a:lnTo>
                      <a:pt x="105" y="279"/>
                    </a:lnTo>
                    <a:lnTo>
                      <a:pt x="109" y="281"/>
                    </a:lnTo>
                    <a:lnTo>
                      <a:pt x="113" y="283"/>
                    </a:lnTo>
                    <a:lnTo>
                      <a:pt x="117" y="286"/>
                    </a:lnTo>
                    <a:lnTo>
                      <a:pt x="121" y="288"/>
                    </a:lnTo>
                    <a:lnTo>
                      <a:pt x="125" y="290"/>
                    </a:lnTo>
                    <a:lnTo>
                      <a:pt x="127" y="286"/>
                    </a:lnTo>
                    <a:lnTo>
                      <a:pt x="131" y="285"/>
                    </a:lnTo>
                    <a:lnTo>
                      <a:pt x="133" y="281"/>
                    </a:lnTo>
                    <a:lnTo>
                      <a:pt x="137" y="279"/>
                    </a:lnTo>
                    <a:lnTo>
                      <a:pt x="141" y="277"/>
                    </a:lnTo>
                    <a:lnTo>
                      <a:pt x="145" y="277"/>
                    </a:lnTo>
                    <a:lnTo>
                      <a:pt x="148" y="275"/>
                    </a:lnTo>
                    <a:lnTo>
                      <a:pt x="150" y="272"/>
                    </a:lnTo>
                    <a:lnTo>
                      <a:pt x="152" y="268"/>
                    </a:lnTo>
                    <a:lnTo>
                      <a:pt x="150" y="265"/>
                    </a:lnTo>
                    <a:lnTo>
                      <a:pt x="152" y="261"/>
                    </a:lnTo>
                    <a:lnTo>
                      <a:pt x="156" y="259"/>
                    </a:lnTo>
                    <a:lnTo>
                      <a:pt x="158" y="255"/>
                    </a:lnTo>
                    <a:lnTo>
                      <a:pt x="152" y="252"/>
                    </a:lnTo>
                    <a:lnTo>
                      <a:pt x="148" y="250"/>
                    </a:lnTo>
                    <a:lnTo>
                      <a:pt x="146" y="246"/>
                    </a:lnTo>
                    <a:lnTo>
                      <a:pt x="145" y="243"/>
                    </a:lnTo>
                    <a:lnTo>
                      <a:pt x="146" y="239"/>
                    </a:lnTo>
                    <a:lnTo>
                      <a:pt x="148" y="235"/>
                    </a:lnTo>
                    <a:lnTo>
                      <a:pt x="150" y="232"/>
                    </a:lnTo>
                    <a:lnTo>
                      <a:pt x="148" y="228"/>
                    </a:lnTo>
                    <a:lnTo>
                      <a:pt x="146" y="224"/>
                    </a:lnTo>
                    <a:lnTo>
                      <a:pt x="143" y="221"/>
                    </a:lnTo>
                    <a:lnTo>
                      <a:pt x="141" y="217"/>
                    </a:lnTo>
                    <a:lnTo>
                      <a:pt x="139" y="213"/>
                    </a:lnTo>
                    <a:lnTo>
                      <a:pt x="141" y="210"/>
                    </a:lnTo>
                    <a:lnTo>
                      <a:pt x="145" y="208"/>
                    </a:lnTo>
                    <a:lnTo>
                      <a:pt x="148" y="208"/>
                    </a:lnTo>
                    <a:lnTo>
                      <a:pt x="154" y="208"/>
                    </a:lnTo>
                    <a:lnTo>
                      <a:pt x="158" y="206"/>
                    </a:lnTo>
                    <a:lnTo>
                      <a:pt x="160" y="203"/>
                    </a:lnTo>
                    <a:lnTo>
                      <a:pt x="164" y="201"/>
                    </a:lnTo>
                    <a:lnTo>
                      <a:pt x="166" y="197"/>
                    </a:lnTo>
                    <a:lnTo>
                      <a:pt x="166" y="193"/>
                    </a:lnTo>
                    <a:lnTo>
                      <a:pt x="166" y="190"/>
                    </a:lnTo>
                    <a:lnTo>
                      <a:pt x="166" y="186"/>
                    </a:lnTo>
                    <a:lnTo>
                      <a:pt x="164" y="182"/>
                    </a:lnTo>
                    <a:lnTo>
                      <a:pt x="160" y="181"/>
                    </a:lnTo>
                    <a:lnTo>
                      <a:pt x="158" y="177"/>
                    </a:lnTo>
                    <a:lnTo>
                      <a:pt x="156" y="173"/>
                    </a:lnTo>
                    <a:lnTo>
                      <a:pt x="160" y="170"/>
                    </a:lnTo>
                    <a:lnTo>
                      <a:pt x="164" y="170"/>
                    </a:lnTo>
                    <a:lnTo>
                      <a:pt x="168" y="168"/>
                    </a:lnTo>
                    <a:lnTo>
                      <a:pt x="170" y="164"/>
                    </a:lnTo>
                    <a:lnTo>
                      <a:pt x="168" y="161"/>
                    </a:lnTo>
                    <a:lnTo>
                      <a:pt x="164" y="161"/>
                    </a:lnTo>
                    <a:lnTo>
                      <a:pt x="162" y="157"/>
                    </a:lnTo>
                    <a:lnTo>
                      <a:pt x="158" y="157"/>
                    </a:lnTo>
                    <a:lnTo>
                      <a:pt x="154" y="157"/>
                    </a:lnTo>
                    <a:lnTo>
                      <a:pt x="150" y="157"/>
                    </a:lnTo>
                    <a:lnTo>
                      <a:pt x="146" y="161"/>
                    </a:lnTo>
                    <a:lnTo>
                      <a:pt x="143" y="161"/>
                    </a:lnTo>
                    <a:lnTo>
                      <a:pt x="141" y="157"/>
                    </a:lnTo>
                    <a:lnTo>
                      <a:pt x="139" y="153"/>
                    </a:lnTo>
                    <a:lnTo>
                      <a:pt x="137" y="148"/>
                    </a:lnTo>
                    <a:lnTo>
                      <a:pt x="137" y="144"/>
                    </a:lnTo>
                    <a:lnTo>
                      <a:pt x="141" y="142"/>
                    </a:lnTo>
                    <a:lnTo>
                      <a:pt x="145" y="140"/>
                    </a:lnTo>
                    <a:lnTo>
                      <a:pt x="146" y="137"/>
                    </a:lnTo>
                    <a:lnTo>
                      <a:pt x="150" y="137"/>
                    </a:lnTo>
                    <a:lnTo>
                      <a:pt x="154" y="135"/>
                    </a:lnTo>
                    <a:lnTo>
                      <a:pt x="158" y="133"/>
                    </a:lnTo>
                    <a:lnTo>
                      <a:pt x="158" y="130"/>
                    </a:lnTo>
                    <a:lnTo>
                      <a:pt x="156" y="126"/>
                    </a:lnTo>
                    <a:lnTo>
                      <a:pt x="154" y="122"/>
                    </a:lnTo>
                    <a:lnTo>
                      <a:pt x="152" y="119"/>
                    </a:lnTo>
                    <a:lnTo>
                      <a:pt x="150" y="115"/>
                    </a:lnTo>
                    <a:lnTo>
                      <a:pt x="148" y="111"/>
                    </a:lnTo>
                    <a:lnTo>
                      <a:pt x="146" y="108"/>
                    </a:lnTo>
                    <a:lnTo>
                      <a:pt x="146" y="104"/>
                    </a:lnTo>
                    <a:lnTo>
                      <a:pt x="150" y="100"/>
                    </a:lnTo>
                    <a:lnTo>
                      <a:pt x="154" y="99"/>
                    </a:lnTo>
                    <a:lnTo>
                      <a:pt x="160" y="95"/>
                    </a:lnTo>
                    <a:lnTo>
                      <a:pt x="164" y="93"/>
                    </a:lnTo>
                    <a:lnTo>
                      <a:pt x="168" y="91"/>
                    </a:lnTo>
                    <a:lnTo>
                      <a:pt x="172" y="88"/>
                    </a:lnTo>
                    <a:lnTo>
                      <a:pt x="176" y="84"/>
                    </a:lnTo>
                    <a:lnTo>
                      <a:pt x="178" y="80"/>
                    </a:lnTo>
                    <a:lnTo>
                      <a:pt x="182" y="78"/>
                    </a:lnTo>
                    <a:lnTo>
                      <a:pt x="186" y="77"/>
                    </a:lnTo>
                    <a:lnTo>
                      <a:pt x="190" y="77"/>
                    </a:lnTo>
                    <a:lnTo>
                      <a:pt x="192" y="73"/>
                    </a:lnTo>
                    <a:lnTo>
                      <a:pt x="190" y="69"/>
                    </a:lnTo>
                    <a:lnTo>
                      <a:pt x="190" y="66"/>
                    </a:lnTo>
                    <a:lnTo>
                      <a:pt x="190" y="62"/>
                    </a:lnTo>
                    <a:lnTo>
                      <a:pt x="190" y="58"/>
                    </a:lnTo>
                    <a:lnTo>
                      <a:pt x="190" y="55"/>
                    </a:lnTo>
                    <a:lnTo>
                      <a:pt x="188" y="51"/>
                    </a:lnTo>
                    <a:lnTo>
                      <a:pt x="184" y="47"/>
                    </a:lnTo>
                    <a:lnTo>
                      <a:pt x="184" y="44"/>
                    </a:lnTo>
                    <a:lnTo>
                      <a:pt x="182" y="40"/>
                    </a:lnTo>
                    <a:lnTo>
                      <a:pt x="178" y="38"/>
                    </a:lnTo>
                    <a:lnTo>
                      <a:pt x="174" y="36"/>
                    </a:lnTo>
                    <a:lnTo>
                      <a:pt x="170" y="35"/>
                    </a:lnTo>
                    <a:lnTo>
                      <a:pt x="166" y="36"/>
                    </a:lnTo>
                    <a:lnTo>
                      <a:pt x="162" y="35"/>
                    </a:lnTo>
                    <a:lnTo>
                      <a:pt x="162" y="29"/>
                    </a:lnTo>
                    <a:lnTo>
                      <a:pt x="164" y="24"/>
                    </a:lnTo>
                    <a:lnTo>
                      <a:pt x="164" y="20"/>
                    </a:lnTo>
                    <a:lnTo>
                      <a:pt x="166" y="16"/>
                    </a:lnTo>
                    <a:lnTo>
                      <a:pt x="168" y="13"/>
                    </a:lnTo>
                    <a:lnTo>
                      <a:pt x="168" y="9"/>
                    </a:lnTo>
                    <a:lnTo>
                      <a:pt x="168" y="5"/>
                    </a:lnTo>
                    <a:lnTo>
                      <a:pt x="164" y="4"/>
                    </a:lnTo>
                    <a:lnTo>
                      <a:pt x="170" y="2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7" name="Freeform 119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316793" y="4097108"/>
                <a:ext cx="294073" cy="365538"/>
              </a:xfrm>
              <a:custGeom>
                <a:avLst/>
                <a:gdLst>
                  <a:gd name="T0" fmla="*/ 2147483647 w 236"/>
                  <a:gd name="T1" fmla="*/ 2147483647 h 307"/>
                  <a:gd name="T2" fmla="*/ 2147483647 w 236"/>
                  <a:gd name="T3" fmla="*/ 2147483647 h 307"/>
                  <a:gd name="T4" fmla="*/ 2147483647 w 236"/>
                  <a:gd name="T5" fmla="*/ 2147483647 h 307"/>
                  <a:gd name="T6" fmla="*/ 2147483647 w 236"/>
                  <a:gd name="T7" fmla="*/ 2147483647 h 307"/>
                  <a:gd name="T8" fmla="*/ 2147483647 w 236"/>
                  <a:gd name="T9" fmla="*/ 2147483647 h 307"/>
                  <a:gd name="T10" fmla="*/ 2147483647 w 236"/>
                  <a:gd name="T11" fmla="*/ 2147483647 h 307"/>
                  <a:gd name="T12" fmla="*/ 2147483647 w 236"/>
                  <a:gd name="T13" fmla="*/ 2147483647 h 307"/>
                  <a:gd name="T14" fmla="*/ 2147483647 w 236"/>
                  <a:gd name="T15" fmla="*/ 2147483647 h 307"/>
                  <a:gd name="T16" fmla="*/ 2147483647 w 236"/>
                  <a:gd name="T17" fmla="*/ 2147483647 h 307"/>
                  <a:gd name="T18" fmla="*/ 2147483647 w 236"/>
                  <a:gd name="T19" fmla="*/ 2147483647 h 307"/>
                  <a:gd name="T20" fmla="*/ 2147483647 w 236"/>
                  <a:gd name="T21" fmla="*/ 2147483647 h 307"/>
                  <a:gd name="T22" fmla="*/ 2147483647 w 236"/>
                  <a:gd name="T23" fmla="*/ 2147483647 h 307"/>
                  <a:gd name="T24" fmla="*/ 2147483647 w 236"/>
                  <a:gd name="T25" fmla="*/ 2147483647 h 307"/>
                  <a:gd name="T26" fmla="*/ 2147483647 w 236"/>
                  <a:gd name="T27" fmla="*/ 2147483647 h 307"/>
                  <a:gd name="T28" fmla="*/ 2147483647 w 236"/>
                  <a:gd name="T29" fmla="*/ 2147483647 h 307"/>
                  <a:gd name="T30" fmla="*/ 2147483647 w 236"/>
                  <a:gd name="T31" fmla="*/ 2147483647 h 307"/>
                  <a:gd name="T32" fmla="*/ 2147483647 w 236"/>
                  <a:gd name="T33" fmla="*/ 2147483647 h 307"/>
                  <a:gd name="T34" fmla="*/ 2147483647 w 236"/>
                  <a:gd name="T35" fmla="*/ 2147483647 h 307"/>
                  <a:gd name="T36" fmla="*/ 0 w 236"/>
                  <a:gd name="T37" fmla="*/ 2147483647 h 307"/>
                  <a:gd name="T38" fmla="*/ 2147483647 w 236"/>
                  <a:gd name="T39" fmla="*/ 2147483647 h 307"/>
                  <a:gd name="T40" fmla="*/ 2147483647 w 236"/>
                  <a:gd name="T41" fmla="*/ 2147483647 h 307"/>
                  <a:gd name="T42" fmla="*/ 2147483647 w 236"/>
                  <a:gd name="T43" fmla="*/ 2147483647 h 307"/>
                  <a:gd name="T44" fmla="*/ 2147483647 w 236"/>
                  <a:gd name="T45" fmla="*/ 2147483647 h 307"/>
                  <a:gd name="T46" fmla="*/ 2147483647 w 236"/>
                  <a:gd name="T47" fmla="*/ 2147483647 h 307"/>
                  <a:gd name="T48" fmla="*/ 2147483647 w 236"/>
                  <a:gd name="T49" fmla="*/ 2147483647 h 307"/>
                  <a:gd name="T50" fmla="*/ 2147483647 w 236"/>
                  <a:gd name="T51" fmla="*/ 2147483647 h 307"/>
                  <a:gd name="T52" fmla="*/ 2147483647 w 236"/>
                  <a:gd name="T53" fmla="*/ 2147483647 h 307"/>
                  <a:gd name="T54" fmla="*/ 2147483647 w 236"/>
                  <a:gd name="T55" fmla="*/ 2147483647 h 307"/>
                  <a:gd name="T56" fmla="*/ 2147483647 w 236"/>
                  <a:gd name="T57" fmla="*/ 2147483647 h 307"/>
                  <a:gd name="T58" fmla="*/ 2147483647 w 236"/>
                  <a:gd name="T59" fmla="*/ 2147483647 h 307"/>
                  <a:gd name="T60" fmla="*/ 2147483647 w 236"/>
                  <a:gd name="T61" fmla="*/ 2147483647 h 307"/>
                  <a:gd name="T62" fmla="*/ 2147483647 w 236"/>
                  <a:gd name="T63" fmla="*/ 2147483647 h 307"/>
                  <a:gd name="T64" fmla="*/ 2147483647 w 236"/>
                  <a:gd name="T65" fmla="*/ 2147483647 h 307"/>
                  <a:gd name="T66" fmla="*/ 2147483647 w 236"/>
                  <a:gd name="T67" fmla="*/ 2147483647 h 307"/>
                  <a:gd name="T68" fmla="*/ 2147483647 w 236"/>
                  <a:gd name="T69" fmla="*/ 2147483647 h 307"/>
                  <a:gd name="T70" fmla="*/ 2147483647 w 236"/>
                  <a:gd name="T71" fmla="*/ 2147483647 h 307"/>
                  <a:gd name="T72" fmla="*/ 2147483647 w 236"/>
                  <a:gd name="T73" fmla="*/ 2147483647 h 307"/>
                  <a:gd name="T74" fmla="*/ 2147483647 w 236"/>
                  <a:gd name="T75" fmla="*/ 2147483647 h 307"/>
                  <a:gd name="T76" fmla="*/ 2147483647 w 236"/>
                  <a:gd name="T77" fmla="*/ 2147483647 h 307"/>
                  <a:gd name="T78" fmla="*/ 2147483647 w 236"/>
                  <a:gd name="T79" fmla="*/ 2147483647 h 307"/>
                  <a:gd name="T80" fmla="*/ 2147483647 w 236"/>
                  <a:gd name="T81" fmla="*/ 2147483647 h 307"/>
                  <a:gd name="T82" fmla="*/ 2147483647 w 236"/>
                  <a:gd name="T83" fmla="*/ 2147483647 h 307"/>
                  <a:gd name="T84" fmla="*/ 2147483647 w 236"/>
                  <a:gd name="T85" fmla="*/ 2147483647 h 307"/>
                  <a:gd name="T86" fmla="*/ 2147483647 w 236"/>
                  <a:gd name="T87" fmla="*/ 2147483647 h 307"/>
                  <a:gd name="T88" fmla="*/ 2147483647 w 236"/>
                  <a:gd name="T89" fmla="*/ 2147483647 h 307"/>
                  <a:gd name="T90" fmla="*/ 2147483647 w 236"/>
                  <a:gd name="T91" fmla="*/ 2147483647 h 307"/>
                  <a:gd name="T92" fmla="*/ 2147483647 w 236"/>
                  <a:gd name="T93" fmla="*/ 2147483647 h 307"/>
                  <a:gd name="T94" fmla="*/ 2147483647 w 236"/>
                  <a:gd name="T95" fmla="*/ 2147483647 h 307"/>
                  <a:gd name="T96" fmla="*/ 2147483647 w 236"/>
                  <a:gd name="T97" fmla="*/ 2147483647 h 30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36"/>
                  <a:gd name="T148" fmla="*/ 0 h 307"/>
                  <a:gd name="T149" fmla="*/ 236 w 236"/>
                  <a:gd name="T150" fmla="*/ 307 h 307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36" h="307">
                    <a:moveTo>
                      <a:pt x="55" y="0"/>
                    </a:moveTo>
                    <a:lnTo>
                      <a:pt x="53" y="6"/>
                    </a:lnTo>
                    <a:lnTo>
                      <a:pt x="48" y="14"/>
                    </a:lnTo>
                    <a:lnTo>
                      <a:pt x="49" y="19"/>
                    </a:lnTo>
                    <a:lnTo>
                      <a:pt x="48" y="23"/>
                    </a:lnTo>
                    <a:lnTo>
                      <a:pt x="53" y="27"/>
                    </a:lnTo>
                    <a:lnTo>
                      <a:pt x="57" y="32"/>
                    </a:lnTo>
                    <a:lnTo>
                      <a:pt x="57" y="35"/>
                    </a:lnTo>
                    <a:lnTo>
                      <a:pt x="55" y="40"/>
                    </a:lnTo>
                    <a:lnTo>
                      <a:pt x="51" y="46"/>
                    </a:lnTo>
                    <a:lnTo>
                      <a:pt x="48" y="50"/>
                    </a:lnTo>
                    <a:lnTo>
                      <a:pt x="42" y="51"/>
                    </a:lnTo>
                    <a:lnTo>
                      <a:pt x="41" y="56"/>
                    </a:lnTo>
                    <a:lnTo>
                      <a:pt x="42" y="61"/>
                    </a:lnTo>
                    <a:lnTo>
                      <a:pt x="42" y="64"/>
                    </a:lnTo>
                    <a:lnTo>
                      <a:pt x="45" y="69"/>
                    </a:lnTo>
                    <a:lnTo>
                      <a:pt x="51" y="73"/>
                    </a:lnTo>
                    <a:lnTo>
                      <a:pt x="56" y="73"/>
                    </a:lnTo>
                    <a:lnTo>
                      <a:pt x="60" y="81"/>
                    </a:lnTo>
                    <a:lnTo>
                      <a:pt x="65" y="85"/>
                    </a:lnTo>
                    <a:lnTo>
                      <a:pt x="65" y="84"/>
                    </a:lnTo>
                    <a:lnTo>
                      <a:pt x="77" y="93"/>
                    </a:lnTo>
                    <a:lnTo>
                      <a:pt x="72" y="90"/>
                    </a:lnTo>
                    <a:lnTo>
                      <a:pt x="82" y="86"/>
                    </a:lnTo>
                    <a:lnTo>
                      <a:pt x="83" y="91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79" y="102"/>
                    </a:lnTo>
                    <a:lnTo>
                      <a:pt x="77" y="108"/>
                    </a:lnTo>
                    <a:lnTo>
                      <a:pt x="78" y="112"/>
                    </a:lnTo>
                    <a:lnTo>
                      <a:pt x="78" y="117"/>
                    </a:lnTo>
                    <a:lnTo>
                      <a:pt x="79" y="120"/>
                    </a:lnTo>
                    <a:lnTo>
                      <a:pt x="82" y="124"/>
                    </a:lnTo>
                    <a:lnTo>
                      <a:pt x="80" y="131"/>
                    </a:lnTo>
                    <a:lnTo>
                      <a:pt x="79" y="136"/>
                    </a:lnTo>
                    <a:lnTo>
                      <a:pt x="73" y="136"/>
                    </a:lnTo>
                    <a:lnTo>
                      <a:pt x="68" y="137"/>
                    </a:lnTo>
                    <a:lnTo>
                      <a:pt x="63" y="137"/>
                    </a:lnTo>
                    <a:lnTo>
                      <a:pt x="57" y="138"/>
                    </a:lnTo>
                    <a:lnTo>
                      <a:pt x="52" y="139"/>
                    </a:lnTo>
                    <a:lnTo>
                      <a:pt x="50" y="145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9" y="161"/>
                    </a:lnTo>
                    <a:lnTo>
                      <a:pt x="57" y="160"/>
                    </a:lnTo>
                    <a:lnTo>
                      <a:pt x="61" y="164"/>
                    </a:lnTo>
                    <a:lnTo>
                      <a:pt x="64" y="167"/>
                    </a:lnTo>
                    <a:lnTo>
                      <a:pt x="65" y="172"/>
                    </a:lnTo>
                    <a:lnTo>
                      <a:pt x="65" y="177"/>
                    </a:lnTo>
                    <a:lnTo>
                      <a:pt x="66" y="183"/>
                    </a:lnTo>
                    <a:lnTo>
                      <a:pt x="67" y="188"/>
                    </a:lnTo>
                    <a:lnTo>
                      <a:pt x="67" y="192"/>
                    </a:lnTo>
                    <a:lnTo>
                      <a:pt x="71" y="196"/>
                    </a:lnTo>
                    <a:lnTo>
                      <a:pt x="77" y="201"/>
                    </a:lnTo>
                    <a:lnTo>
                      <a:pt x="77" y="203"/>
                    </a:lnTo>
                    <a:lnTo>
                      <a:pt x="78" y="208"/>
                    </a:lnTo>
                    <a:lnTo>
                      <a:pt x="75" y="214"/>
                    </a:lnTo>
                    <a:lnTo>
                      <a:pt x="74" y="218"/>
                    </a:lnTo>
                    <a:lnTo>
                      <a:pt x="75" y="223"/>
                    </a:lnTo>
                    <a:lnTo>
                      <a:pt x="72" y="227"/>
                    </a:lnTo>
                    <a:lnTo>
                      <a:pt x="67" y="231"/>
                    </a:lnTo>
                    <a:lnTo>
                      <a:pt x="65" y="235"/>
                    </a:lnTo>
                    <a:lnTo>
                      <a:pt x="59" y="236"/>
                    </a:lnTo>
                    <a:lnTo>
                      <a:pt x="55" y="237"/>
                    </a:lnTo>
                    <a:lnTo>
                      <a:pt x="50" y="237"/>
                    </a:lnTo>
                    <a:lnTo>
                      <a:pt x="45" y="238"/>
                    </a:lnTo>
                    <a:lnTo>
                      <a:pt x="40" y="241"/>
                    </a:lnTo>
                    <a:lnTo>
                      <a:pt x="35" y="243"/>
                    </a:lnTo>
                    <a:lnTo>
                      <a:pt x="29" y="244"/>
                    </a:lnTo>
                    <a:lnTo>
                      <a:pt x="24" y="248"/>
                    </a:lnTo>
                    <a:lnTo>
                      <a:pt x="20" y="250"/>
                    </a:lnTo>
                    <a:lnTo>
                      <a:pt x="14" y="253"/>
                    </a:lnTo>
                    <a:lnTo>
                      <a:pt x="9" y="256"/>
                    </a:lnTo>
                    <a:lnTo>
                      <a:pt x="7" y="261"/>
                    </a:lnTo>
                    <a:lnTo>
                      <a:pt x="2" y="264"/>
                    </a:lnTo>
                    <a:lnTo>
                      <a:pt x="0" y="268"/>
                    </a:lnTo>
                    <a:lnTo>
                      <a:pt x="1" y="273"/>
                    </a:lnTo>
                    <a:lnTo>
                      <a:pt x="1" y="278"/>
                    </a:lnTo>
                    <a:lnTo>
                      <a:pt x="2" y="281"/>
                    </a:lnTo>
                    <a:lnTo>
                      <a:pt x="3" y="289"/>
                    </a:lnTo>
                    <a:lnTo>
                      <a:pt x="6" y="292"/>
                    </a:lnTo>
                    <a:lnTo>
                      <a:pt x="11" y="294"/>
                    </a:lnTo>
                    <a:lnTo>
                      <a:pt x="17" y="298"/>
                    </a:lnTo>
                    <a:lnTo>
                      <a:pt x="23" y="300"/>
                    </a:lnTo>
                    <a:lnTo>
                      <a:pt x="27" y="303"/>
                    </a:lnTo>
                    <a:lnTo>
                      <a:pt x="32" y="304"/>
                    </a:lnTo>
                    <a:lnTo>
                      <a:pt x="37" y="307"/>
                    </a:lnTo>
                    <a:lnTo>
                      <a:pt x="43" y="306"/>
                    </a:lnTo>
                    <a:lnTo>
                      <a:pt x="48" y="305"/>
                    </a:lnTo>
                    <a:lnTo>
                      <a:pt x="54" y="304"/>
                    </a:lnTo>
                    <a:lnTo>
                      <a:pt x="59" y="301"/>
                    </a:lnTo>
                    <a:lnTo>
                      <a:pt x="64" y="300"/>
                    </a:lnTo>
                    <a:lnTo>
                      <a:pt x="63" y="297"/>
                    </a:lnTo>
                    <a:lnTo>
                      <a:pt x="66" y="292"/>
                    </a:lnTo>
                    <a:lnTo>
                      <a:pt x="66" y="287"/>
                    </a:lnTo>
                    <a:lnTo>
                      <a:pt x="72" y="286"/>
                    </a:lnTo>
                    <a:lnTo>
                      <a:pt x="77" y="285"/>
                    </a:lnTo>
                    <a:lnTo>
                      <a:pt x="85" y="284"/>
                    </a:lnTo>
                    <a:lnTo>
                      <a:pt x="91" y="283"/>
                    </a:lnTo>
                    <a:lnTo>
                      <a:pt x="96" y="285"/>
                    </a:lnTo>
                    <a:lnTo>
                      <a:pt x="101" y="284"/>
                    </a:lnTo>
                    <a:lnTo>
                      <a:pt x="107" y="281"/>
                    </a:lnTo>
                    <a:lnTo>
                      <a:pt x="112" y="281"/>
                    </a:lnTo>
                    <a:lnTo>
                      <a:pt x="117" y="277"/>
                    </a:lnTo>
                    <a:lnTo>
                      <a:pt x="122" y="275"/>
                    </a:lnTo>
                    <a:lnTo>
                      <a:pt x="124" y="270"/>
                    </a:lnTo>
                    <a:lnTo>
                      <a:pt x="126" y="265"/>
                    </a:lnTo>
                    <a:lnTo>
                      <a:pt x="128" y="261"/>
                    </a:lnTo>
                    <a:lnTo>
                      <a:pt x="127" y="256"/>
                    </a:lnTo>
                    <a:lnTo>
                      <a:pt x="127" y="251"/>
                    </a:lnTo>
                    <a:lnTo>
                      <a:pt x="123" y="248"/>
                    </a:lnTo>
                    <a:lnTo>
                      <a:pt x="126" y="242"/>
                    </a:lnTo>
                    <a:lnTo>
                      <a:pt x="130" y="240"/>
                    </a:lnTo>
                    <a:lnTo>
                      <a:pt x="136" y="239"/>
                    </a:lnTo>
                    <a:lnTo>
                      <a:pt x="141" y="238"/>
                    </a:lnTo>
                    <a:lnTo>
                      <a:pt x="147" y="237"/>
                    </a:lnTo>
                    <a:lnTo>
                      <a:pt x="152" y="235"/>
                    </a:lnTo>
                    <a:lnTo>
                      <a:pt x="156" y="230"/>
                    </a:lnTo>
                    <a:lnTo>
                      <a:pt x="159" y="225"/>
                    </a:lnTo>
                    <a:lnTo>
                      <a:pt x="163" y="219"/>
                    </a:lnTo>
                    <a:lnTo>
                      <a:pt x="169" y="217"/>
                    </a:lnTo>
                    <a:lnTo>
                      <a:pt x="171" y="212"/>
                    </a:lnTo>
                    <a:lnTo>
                      <a:pt x="176" y="211"/>
                    </a:lnTo>
                    <a:lnTo>
                      <a:pt x="175" y="206"/>
                    </a:lnTo>
                    <a:lnTo>
                      <a:pt x="175" y="202"/>
                    </a:lnTo>
                    <a:lnTo>
                      <a:pt x="180" y="202"/>
                    </a:lnTo>
                    <a:lnTo>
                      <a:pt x="183" y="199"/>
                    </a:lnTo>
                    <a:lnTo>
                      <a:pt x="189" y="198"/>
                    </a:lnTo>
                    <a:lnTo>
                      <a:pt x="194" y="196"/>
                    </a:lnTo>
                    <a:lnTo>
                      <a:pt x="196" y="190"/>
                    </a:lnTo>
                    <a:lnTo>
                      <a:pt x="201" y="187"/>
                    </a:lnTo>
                    <a:lnTo>
                      <a:pt x="207" y="184"/>
                    </a:lnTo>
                    <a:lnTo>
                      <a:pt x="200" y="179"/>
                    </a:lnTo>
                    <a:lnTo>
                      <a:pt x="212" y="177"/>
                    </a:lnTo>
                    <a:lnTo>
                      <a:pt x="210" y="172"/>
                    </a:lnTo>
                    <a:lnTo>
                      <a:pt x="215" y="172"/>
                    </a:lnTo>
                    <a:lnTo>
                      <a:pt x="215" y="169"/>
                    </a:lnTo>
                    <a:lnTo>
                      <a:pt x="218" y="163"/>
                    </a:lnTo>
                    <a:lnTo>
                      <a:pt x="213" y="157"/>
                    </a:lnTo>
                    <a:lnTo>
                      <a:pt x="219" y="156"/>
                    </a:lnTo>
                    <a:lnTo>
                      <a:pt x="224" y="155"/>
                    </a:lnTo>
                    <a:lnTo>
                      <a:pt x="231" y="149"/>
                    </a:lnTo>
                    <a:lnTo>
                      <a:pt x="236" y="144"/>
                    </a:lnTo>
                    <a:lnTo>
                      <a:pt x="236" y="141"/>
                    </a:lnTo>
                    <a:lnTo>
                      <a:pt x="235" y="136"/>
                    </a:lnTo>
                    <a:lnTo>
                      <a:pt x="229" y="134"/>
                    </a:lnTo>
                    <a:lnTo>
                      <a:pt x="224" y="132"/>
                    </a:lnTo>
                    <a:lnTo>
                      <a:pt x="218" y="131"/>
                    </a:lnTo>
                    <a:lnTo>
                      <a:pt x="215" y="127"/>
                    </a:lnTo>
                    <a:lnTo>
                      <a:pt x="208" y="123"/>
                    </a:lnTo>
                    <a:lnTo>
                      <a:pt x="206" y="119"/>
                    </a:lnTo>
                    <a:lnTo>
                      <a:pt x="202" y="115"/>
                    </a:lnTo>
                    <a:lnTo>
                      <a:pt x="199" y="111"/>
                    </a:lnTo>
                    <a:lnTo>
                      <a:pt x="201" y="106"/>
                    </a:lnTo>
                    <a:lnTo>
                      <a:pt x="201" y="102"/>
                    </a:lnTo>
                    <a:lnTo>
                      <a:pt x="200" y="97"/>
                    </a:lnTo>
                    <a:lnTo>
                      <a:pt x="202" y="93"/>
                    </a:lnTo>
                    <a:lnTo>
                      <a:pt x="207" y="90"/>
                    </a:lnTo>
                    <a:lnTo>
                      <a:pt x="209" y="85"/>
                    </a:lnTo>
                    <a:lnTo>
                      <a:pt x="209" y="80"/>
                    </a:lnTo>
                    <a:lnTo>
                      <a:pt x="202" y="78"/>
                    </a:lnTo>
                    <a:lnTo>
                      <a:pt x="200" y="73"/>
                    </a:lnTo>
                    <a:lnTo>
                      <a:pt x="193" y="71"/>
                    </a:lnTo>
                    <a:lnTo>
                      <a:pt x="191" y="68"/>
                    </a:lnTo>
                    <a:lnTo>
                      <a:pt x="187" y="64"/>
                    </a:lnTo>
                    <a:lnTo>
                      <a:pt x="184" y="59"/>
                    </a:lnTo>
                    <a:lnTo>
                      <a:pt x="183" y="55"/>
                    </a:lnTo>
                    <a:lnTo>
                      <a:pt x="180" y="50"/>
                    </a:lnTo>
                    <a:lnTo>
                      <a:pt x="177" y="46"/>
                    </a:lnTo>
                    <a:lnTo>
                      <a:pt x="176" y="43"/>
                    </a:lnTo>
                    <a:lnTo>
                      <a:pt x="173" y="38"/>
                    </a:lnTo>
                    <a:lnTo>
                      <a:pt x="167" y="36"/>
                    </a:lnTo>
                    <a:lnTo>
                      <a:pt x="164" y="31"/>
                    </a:lnTo>
                    <a:lnTo>
                      <a:pt x="159" y="32"/>
                    </a:lnTo>
                    <a:lnTo>
                      <a:pt x="152" y="36"/>
                    </a:lnTo>
                    <a:lnTo>
                      <a:pt x="147" y="37"/>
                    </a:lnTo>
                    <a:lnTo>
                      <a:pt x="147" y="33"/>
                    </a:lnTo>
                    <a:lnTo>
                      <a:pt x="148" y="27"/>
                    </a:lnTo>
                    <a:lnTo>
                      <a:pt x="145" y="23"/>
                    </a:lnTo>
                    <a:lnTo>
                      <a:pt x="142" y="20"/>
                    </a:lnTo>
                    <a:lnTo>
                      <a:pt x="136" y="18"/>
                    </a:lnTo>
                    <a:lnTo>
                      <a:pt x="131" y="19"/>
                    </a:lnTo>
                    <a:lnTo>
                      <a:pt x="126" y="19"/>
                    </a:lnTo>
                    <a:lnTo>
                      <a:pt x="120" y="20"/>
                    </a:lnTo>
                    <a:lnTo>
                      <a:pt x="115" y="21"/>
                    </a:lnTo>
                    <a:lnTo>
                      <a:pt x="109" y="22"/>
                    </a:lnTo>
                    <a:lnTo>
                      <a:pt x="104" y="22"/>
                    </a:lnTo>
                    <a:lnTo>
                      <a:pt x="99" y="26"/>
                    </a:lnTo>
                    <a:lnTo>
                      <a:pt x="94" y="27"/>
                    </a:lnTo>
                    <a:lnTo>
                      <a:pt x="89" y="27"/>
                    </a:lnTo>
                    <a:lnTo>
                      <a:pt x="84" y="28"/>
                    </a:lnTo>
                    <a:lnTo>
                      <a:pt x="80" y="23"/>
                    </a:lnTo>
                    <a:lnTo>
                      <a:pt x="73" y="17"/>
                    </a:lnTo>
                    <a:lnTo>
                      <a:pt x="71" y="14"/>
                    </a:lnTo>
                    <a:lnTo>
                      <a:pt x="67" y="9"/>
                    </a:lnTo>
                    <a:lnTo>
                      <a:pt x="62" y="10"/>
                    </a:lnTo>
                    <a:lnTo>
                      <a:pt x="56" y="9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8" name="Freeform 120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772494" y="3258929"/>
                <a:ext cx="1126908" cy="1077991"/>
              </a:xfrm>
              <a:custGeom>
                <a:avLst/>
                <a:gdLst>
                  <a:gd name="T0" fmla="*/ 2147483647 w 910"/>
                  <a:gd name="T1" fmla="*/ 2147483647 h 910"/>
                  <a:gd name="T2" fmla="*/ 2147483647 w 910"/>
                  <a:gd name="T3" fmla="*/ 2147483647 h 910"/>
                  <a:gd name="T4" fmla="*/ 2147483647 w 910"/>
                  <a:gd name="T5" fmla="*/ 2147483647 h 910"/>
                  <a:gd name="T6" fmla="*/ 2147483647 w 910"/>
                  <a:gd name="T7" fmla="*/ 2147483647 h 910"/>
                  <a:gd name="T8" fmla="*/ 2147483647 w 910"/>
                  <a:gd name="T9" fmla="*/ 2147483647 h 910"/>
                  <a:gd name="T10" fmla="*/ 2147483647 w 910"/>
                  <a:gd name="T11" fmla="*/ 2147483647 h 910"/>
                  <a:gd name="T12" fmla="*/ 2147483647 w 910"/>
                  <a:gd name="T13" fmla="*/ 2147483647 h 910"/>
                  <a:gd name="T14" fmla="*/ 2147483647 w 910"/>
                  <a:gd name="T15" fmla="*/ 2147483647 h 910"/>
                  <a:gd name="T16" fmla="*/ 2147483647 w 910"/>
                  <a:gd name="T17" fmla="*/ 2147483647 h 910"/>
                  <a:gd name="T18" fmla="*/ 2147483647 w 910"/>
                  <a:gd name="T19" fmla="*/ 2147483647 h 910"/>
                  <a:gd name="T20" fmla="*/ 2147483647 w 910"/>
                  <a:gd name="T21" fmla="*/ 2147483647 h 910"/>
                  <a:gd name="T22" fmla="*/ 2147483647 w 910"/>
                  <a:gd name="T23" fmla="*/ 2147483647 h 910"/>
                  <a:gd name="T24" fmla="*/ 2147483647 w 910"/>
                  <a:gd name="T25" fmla="*/ 2147483647 h 910"/>
                  <a:gd name="T26" fmla="*/ 2147483647 w 910"/>
                  <a:gd name="T27" fmla="*/ 2147483647 h 910"/>
                  <a:gd name="T28" fmla="*/ 2147483647 w 910"/>
                  <a:gd name="T29" fmla="*/ 2147483647 h 910"/>
                  <a:gd name="T30" fmla="*/ 2147483647 w 910"/>
                  <a:gd name="T31" fmla="*/ 2147483647 h 910"/>
                  <a:gd name="T32" fmla="*/ 2147483647 w 910"/>
                  <a:gd name="T33" fmla="*/ 2147483647 h 910"/>
                  <a:gd name="T34" fmla="*/ 2147483647 w 910"/>
                  <a:gd name="T35" fmla="*/ 2147483647 h 910"/>
                  <a:gd name="T36" fmla="*/ 2147483647 w 910"/>
                  <a:gd name="T37" fmla="*/ 2147483647 h 910"/>
                  <a:gd name="T38" fmla="*/ 2147483647 w 910"/>
                  <a:gd name="T39" fmla="*/ 2147483647 h 910"/>
                  <a:gd name="T40" fmla="*/ 2147483647 w 910"/>
                  <a:gd name="T41" fmla="*/ 2147483647 h 910"/>
                  <a:gd name="T42" fmla="*/ 2147483647 w 910"/>
                  <a:gd name="T43" fmla="*/ 2147483647 h 910"/>
                  <a:gd name="T44" fmla="*/ 2147483647 w 910"/>
                  <a:gd name="T45" fmla="*/ 2147483647 h 910"/>
                  <a:gd name="T46" fmla="*/ 2147483647 w 910"/>
                  <a:gd name="T47" fmla="*/ 2147483647 h 910"/>
                  <a:gd name="T48" fmla="*/ 2147483647 w 910"/>
                  <a:gd name="T49" fmla="*/ 2147483647 h 910"/>
                  <a:gd name="T50" fmla="*/ 2147483647 w 910"/>
                  <a:gd name="T51" fmla="*/ 2147483647 h 910"/>
                  <a:gd name="T52" fmla="*/ 2147483647 w 910"/>
                  <a:gd name="T53" fmla="*/ 2147483647 h 910"/>
                  <a:gd name="T54" fmla="*/ 2147483647 w 910"/>
                  <a:gd name="T55" fmla="*/ 2147483647 h 910"/>
                  <a:gd name="T56" fmla="*/ 2147483647 w 910"/>
                  <a:gd name="T57" fmla="*/ 2147483647 h 910"/>
                  <a:gd name="T58" fmla="*/ 2147483647 w 910"/>
                  <a:gd name="T59" fmla="*/ 2147483647 h 910"/>
                  <a:gd name="T60" fmla="*/ 2147483647 w 910"/>
                  <a:gd name="T61" fmla="*/ 2147483647 h 910"/>
                  <a:gd name="T62" fmla="*/ 2147483647 w 910"/>
                  <a:gd name="T63" fmla="*/ 2147483647 h 910"/>
                  <a:gd name="T64" fmla="*/ 2147483647 w 910"/>
                  <a:gd name="T65" fmla="*/ 2147483647 h 910"/>
                  <a:gd name="T66" fmla="*/ 2147483647 w 910"/>
                  <a:gd name="T67" fmla="*/ 2147483647 h 910"/>
                  <a:gd name="T68" fmla="*/ 2147483647 w 910"/>
                  <a:gd name="T69" fmla="*/ 2147483647 h 910"/>
                  <a:gd name="T70" fmla="*/ 2147483647 w 910"/>
                  <a:gd name="T71" fmla="*/ 2147483647 h 910"/>
                  <a:gd name="T72" fmla="*/ 2147483647 w 910"/>
                  <a:gd name="T73" fmla="*/ 2147483647 h 910"/>
                  <a:gd name="T74" fmla="*/ 2147483647 w 910"/>
                  <a:gd name="T75" fmla="*/ 2147483647 h 910"/>
                  <a:gd name="T76" fmla="*/ 2147483647 w 910"/>
                  <a:gd name="T77" fmla="*/ 2147483647 h 910"/>
                  <a:gd name="T78" fmla="*/ 2147483647 w 910"/>
                  <a:gd name="T79" fmla="*/ 2147483647 h 910"/>
                  <a:gd name="T80" fmla="*/ 2147483647 w 910"/>
                  <a:gd name="T81" fmla="*/ 2147483647 h 910"/>
                  <a:gd name="T82" fmla="*/ 2147483647 w 910"/>
                  <a:gd name="T83" fmla="*/ 2147483647 h 910"/>
                  <a:gd name="T84" fmla="*/ 2147483647 w 910"/>
                  <a:gd name="T85" fmla="*/ 2147483647 h 910"/>
                  <a:gd name="T86" fmla="*/ 2147483647 w 910"/>
                  <a:gd name="T87" fmla="*/ 2147483647 h 910"/>
                  <a:gd name="T88" fmla="*/ 2147483647 w 910"/>
                  <a:gd name="T89" fmla="*/ 2147483647 h 910"/>
                  <a:gd name="T90" fmla="*/ 2147483647 w 910"/>
                  <a:gd name="T91" fmla="*/ 2147483647 h 910"/>
                  <a:gd name="T92" fmla="*/ 2147483647 w 910"/>
                  <a:gd name="T93" fmla="*/ 2147483647 h 910"/>
                  <a:gd name="T94" fmla="*/ 2147483647 w 910"/>
                  <a:gd name="T95" fmla="*/ 2147483647 h 910"/>
                  <a:gd name="T96" fmla="*/ 2147483647 w 910"/>
                  <a:gd name="T97" fmla="*/ 2147483647 h 910"/>
                  <a:gd name="T98" fmla="*/ 2147483647 w 910"/>
                  <a:gd name="T99" fmla="*/ 2147483647 h 910"/>
                  <a:gd name="T100" fmla="*/ 2147483647 w 910"/>
                  <a:gd name="T101" fmla="*/ 2147483647 h 910"/>
                  <a:gd name="T102" fmla="*/ 2147483647 w 910"/>
                  <a:gd name="T103" fmla="*/ 2147483647 h 910"/>
                  <a:gd name="T104" fmla="*/ 2147483647 w 910"/>
                  <a:gd name="T105" fmla="*/ 2147483647 h 910"/>
                  <a:gd name="T106" fmla="*/ 2147483647 w 910"/>
                  <a:gd name="T107" fmla="*/ 2147483647 h 910"/>
                  <a:gd name="T108" fmla="*/ 2147483647 w 910"/>
                  <a:gd name="T109" fmla="*/ 2147483647 h 910"/>
                  <a:gd name="T110" fmla="*/ 2147483647 w 910"/>
                  <a:gd name="T111" fmla="*/ 2147483647 h 910"/>
                  <a:gd name="T112" fmla="*/ 2147483647 w 910"/>
                  <a:gd name="T113" fmla="*/ 2147483647 h 910"/>
                  <a:gd name="T114" fmla="*/ 2147483647 w 910"/>
                  <a:gd name="T115" fmla="*/ 2147483647 h 910"/>
                  <a:gd name="T116" fmla="*/ 2147483647 w 910"/>
                  <a:gd name="T117" fmla="*/ 2147483647 h 910"/>
                  <a:gd name="T118" fmla="*/ 2147483647 w 910"/>
                  <a:gd name="T119" fmla="*/ 2147483647 h 910"/>
                  <a:gd name="T120" fmla="*/ 2147483647 w 910"/>
                  <a:gd name="T121" fmla="*/ 2147483647 h 910"/>
                  <a:gd name="T122" fmla="*/ 2147483647 w 910"/>
                  <a:gd name="T123" fmla="*/ 2147483647 h 91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910"/>
                  <a:gd name="T187" fmla="*/ 0 h 910"/>
                  <a:gd name="T188" fmla="*/ 910 w 910"/>
                  <a:gd name="T189" fmla="*/ 910 h 91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910" h="910">
                    <a:moveTo>
                      <a:pt x="366" y="0"/>
                    </a:moveTo>
                    <a:lnTo>
                      <a:pt x="362" y="5"/>
                    </a:lnTo>
                    <a:lnTo>
                      <a:pt x="357" y="7"/>
                    </a:lnTo>
                    <a:lnTo>
                      <a:pt x="355" y="11"/>
                    </a:lnTo>
                    <a:lnTo>
                      <a:pt x="352" y="14"/>
                    </a:lnTo>
                    <a:lnTo>
                      <a:pt x="349" y="19"/>
                    </a:lnTo>
                    <a:lnTo>
                      <a:pt x="345" y="21"/>
                    </a:lnTo>
                    <a:lnTo>
                      <a:pt x="343" y="26"/>
                    </a:lnTo>
                    <a:lnTo>
                      <a:pt x="337" y="27"/>
                    </a:lnTo>
                    <a:lnTo>
                      <a:pt x="332" y="27"/>
                    </a:lnTo>
                    <a:lnTo>
                      <a:pt x="327" y="28"/>
                    </a:lnTo>
                    <a:lnTo>
                      <a:pt x="324" y="31"/>
                    </a:lnTo>
                    <a:lnTo>
                      <a:pt x="319" y="33"/>
                    </a:lnTo>
                    <a:lnTo>
                      <a:pt x="317" y="36"/>
                    </a:lnTo>
                    <a:lnTo>
                      <a:pt x="316" y="42"/>
                    </a:lnTo>
                    <a:lnTo>
                      <a:pt x="317" y="47"/>
                    </a:lnTo>
                    <a:lnTo>
                      <a:pt x="321" y="51"/>
                    </a:lnTo>
                    <a:lnTo>
                      <a:pt x="325" y="56"/>
                    </a:lnTo>
                    <a:lnTo>
                      <a:pt x="326" y="60"/>
                    </a:lnTo>
                    <a:lnTo>
                      <a:pt x="321" y="61"/>
                    </a:lnTo>
                    <a:lnTo>
                      <a:pt x="316" y="65"/>
                    </a:lnTo>
                    <a:lnTo>
                      <a:pt x="312" y="67"/>
                    </a:lnTo>
                    <a:lnTo>
                      <a:pt x="308" y="72"/>
                    </a:lnTo>
                    <a:lnTo>
                      <a:pt x="307" y="76"/>
                    </a:lnTo>
                    <a:lnTo>
                      <a:pt x="305" y="80"/>
                    </a:lnTo>
                    <a:lnTo>
                      <a:pt x="308" y="85"/>
                    </a:lnTo>
                    <a:lnTo>
                      <a:pt x="310" y="88"/>
                    </a:lnTo>
                    <a:lnTo>
                      <a:pt x="316" y="94"/>
                    </a:lnTo>
                    <a:lnTo>
                      <a:pt x="318" y="97"/>
                    </a:lnTo>
                    <a:lnTo>
                      <a:pt x="324" y="101"/>
                    </a:lnTo>
                    <a:lnTo>
                      <a:pt x="327" y="105"/>
                    </a:lnTo>
                    <a:lnTo>
                      <a:pt x="329" y="109"/>
                    </a:lnTo>
                    <a:lnTo>
                      <a:pt x="333" y="112"/>
                    </a:lnTo>
                    <a:lnTo>
                      <a:pt x="334" y="119"/>
                    </a:lnTo>
                    <a:lnTo>
                      <a:pt x="336" y="122"/>
                    </a:lnTo>
                    <a:lnTo>
                      <a:pt x="339" y="126"/>
                    </a:lnTo>
                    <a:lnTo>
                      <a:pt x="339" y="129"/>
                    </a:lnTo>
                    <a:lnTo>
                      <a:pt x="340" y="134"/>
                    </a:lnTo>
                    <a:lnTo>
                      <a:pt x="336" y="135"/>
                    </a:lnTo>
                    <a:lnTo>
                      <a:pt x="336" y="139"/>
                    </a:lnTo>
                    <a:lnTo>
                      <a:pt x="337" y="143"/>
                    </a:lnTo>
                    <a:lnTo>
                      <a:pt x="339" y="147"/>
                    </a:lnTo>
                    <a:lnTo>
                      <a:pt x="340" y="151"/>
                    </a:lnTo>
                    <a:lnTo>
                      <a:pt x="342" y="154"/>
                    </a:lnTo>
                    <a:lnTo>
                      <a:pt x="343" y="159"/>
                    </a:lnTo>
                    <a:lnTo>
                      <a:pt x="345" y="163"/>
                    </a:lnTo>
                    <a:lnTo>
                      <a:pt x="344" y="167"/>
                    </a:lnTo>
                    <a:lnTo>
                      <a:pt x="340" y="168"/>
                    </a:lnTo>
                    <a:lnTo>
                      <a:pt x="336" y="172"/>
                    </a:lnTo>
                    <a:lnTo>
                      <a:pt x="332" y="180"/>
                    </a:lnTo>
                    <a:lnTo>
                      <a:pt x="332" y="183"/>
                    </a:lnTo>
                    <a:lnTo>
                      <a:pt x="331" y="188"/>
                    </a:lnTo>
                    <a:lnTo>
                      <a:pt x="331" y="192"/>
                    </a:lnTo>
                    <a:lnTo>
                      <a:pt x="327" y="197"/>
                    </a:lnTo>
                    <a:lnTo>
                      <a:pt x="323" y="197"/>
                    </a:lnTo>
                    <a:lnTo>
                      <a:pt x="318" y="200"/>
                    </a:lnTo>
                    <a:lnTo>
                      <a:pt x="314" y="200"/>
                    </a:lnTo>
                    <a:lnTo>
                      <a:pt x="309" y="203"/>
                    </a:lnTo>
                    <a:lnTo>
                      <a:pt x="307" y="205"/>
                    </a:lnTo>
                    <a:lnTo>
                      <a:pt x="302" y="208"/>
                    </a:lnTo>
                    <a:lnTo>
                      <a:pt x="301" y="212"/>
                    </a:lnTo>
                    <a:lnTo>
                      <a:pt x="296" y="213"/>
                    </a:lnTo>
                    <a:lnTo>
                      <a:pt x="294" y="218"/>
                    </a:lnTo>
                    <a:lnTo>
                      <a:pt x="290" y="221"/>
                    </a:lnTo>
                    <a:lnTo>
                      <a:pt x="288" y="224"/>
                    </a:lnTo>
                    <a:lnTo>
                      <a:pt x="289" y="231"/>
                    </a:lnTo>
                    <a:lnTo>
                      <a:pt x="288" y="237"/>
                    </a:lnTo>
                    <a:lnTo>
                      <a:pt x="288" y="241"/>
                    </a:lnTo>
                    <a:lnTo>
                      <a:pt x="289" y="246"/>
                    </a:lnTo>
                    <a:lnTo>
                      <a:pt x="290" y="251"/>
                    </a:lnTo>
                    <a:lnTo>
                      <a:pt x="292" y="256"/>
                    </a:lnTo>
                    <a:lnTo>
                      <a:pt x="293" y="259"/>
                    </a:lnTo>
                    <a:lnTo>
                      <a:pt x="293" y="264"/>
                    </a:lnTo>
                    <a:lnTo>
                      <a:pt x="294" y="268"/>
                    </a:lnTo>
                    <a:lnTo>
                      <a:pt x="295" y="272"/>
                    </a:lnTo>
                    <a:lnTo>
                      <a:pt x="299" y="271"/>
                    </a:lnTo>
                    <a:lnTo>
                      <a:pt x="304" y="272"/>
                    </a:lnTo>
                    <a:lnTo>
                      <a:pt x="307" y="276"/>
                    </a:lnTo>
                    <a:lnTo>
                      <a:pt x="314" y="281"/>
                    </a:lnTo>
                    <a:lnTo>
                      <a:pt x="318" y="283"/>
                    </a:lnTo>
                    <a:lnTo>
                      <a:pt x="323" y="285"/>
                    </a:lnTo>
                    <a:lnTo>
                      <a:pt x="328" y="286"/>
                    </a:lnTo>
                    <a:lnTo>
                      <a:pt x="333" y="288"/>
                    </a:lnTo>
                    <a:lnTo>
                      <a:pt x="337" y="287"/>
                    </a:lnTo>
                    <a:lnTo>
                      <a:pt x="342" y="286"/>
                    </a:lnTo>
                    <a:lnTo>
                      <a:pt x="346" y="286"/>
                    </a:lnTo>
                    <a:lnTo>
                      <a:pt x="351" y="285"/>
                    </a:lnTo>
                    <a:lnTo>
                      <a:pt x="358" y="285"/>
                    </a:lnTo>
                    <a:lnTo>
                      <a:pt x="361" y="290"/>
                    </a:lnTo>
                    <a:lnTo>
                      <a:pt x="363" y="297"/>
                    </a:lnTo>
                    <a:lnTo>
                      <a:pt x="360" y="298"/>
                    </a:lnTo>
                    <a:lnTo>
                      <a:pt x="355" y="299"/>
                    </a:lnTo>
                    <a:lnTo>
                      <a:pt x="351" y="299"/>
                    </a:lnTo>
                    <a:lnTo>
                      <a:pt x="346" y="300"/>
                    </a:lnTo>
                    <a:lnTo>
                      <a:pt x="341" y="303"/>
                    </a:lnTo>
                    <a:lnTo>
                      <a:pt x="338" y="307"/>
                    </a:lnTo>
                    <a:lnTo>
                      <a:pt x="333" y="308"/>
                    </a:lnTo>
                    <a:lnTo>
                      <a:pt x="329" y="311"/>
                    </a:lnTo>
                    <a:lnTo>
                      <a:pt x="327" y="315"/>
                    </a:lnTo>
                    <a:lnTo>
                      <a:pt x="325" y="320"/>
                    </a:lnTo>
                    <a:lnTo>
                      <a:pt x="326" y="325"/>
                    </a:lnTo>
                    <a:lnTo>
                      <a:pt x="327" y="330"/>
                    </a:lnTo>
                    <a:lnTo>
                      <a:pt x="327" y="334"/>
                    </a:lnTo>
                    <a:lnTo>
                      <a:pt x="330" y="338"/>
                    </a:lnTo>
                    <a:lnTo>
                      <a:pt x="335" y="341"/>
                    </a:lnTo>
                    <a:lnTo>
                      <a:pt x="341" y="345"/>
                    </a:lnTo>
                    <a:lnTo>
                      <a:pt x="345" y="347"/>
                    </a:lnTo>
                    <a:lnTo>
                      <a:pt x="347" y="349"/>
                    </a:lnTo>
                    <a:lnTo>
                      <a:pt x="346" y="354"/>
                    </a:lnTo>
                    <a:lnTo>
                      <a:pt x="345" y="358"/>
                    </a:lnTo>
                    <a:lnTo>
                      <a:pt x="345" y="366"/>
                    </a:lnTo>
                    <a:lnTo>
                      <a:pt x="346" y="370"/>
                    </a:lnTo>
                    <a:lnTo>
                      <a:pt x="345" y="369"/>
                    </a:lnTo>
                    <a:lnTo>
                      <a:pt x="350" y="371"/>
                    </a:lnTo>
                    <a:lnTo>
                      <a:pt x="351" y="374"/>
                    </a:lnTo>
                    <a:lnTo>
                      <a:pt x="349" y="379"/>
                    </a:lnTo>
                    <a:lnTo>
                      <a:pt x="346" y="382"/>
                    </a:lnTo>
                    <a:lnTo>
                      <a:pt x="343" y="385"/>
                    </a:lnTo>
                    <a:lnTo>
                      <a:pt x="340" y="389"/>
                    </a:lnTo>
                    <a:lnTo>
                      <a:pt x="335" y="393"/>
                    </a:lnTo>
                    <a:lnTo>
                      <a:pt x="334" y="397"/>
                    </a:lnTo>
                    <a:lnTo>
                      <a:pt x="330" y="400"/>
                    </a:lnTo>
                    <a:lnTo>
                      <a:pt x="326" y="401"/>
                    </a:lnTo>
                    <a:lnTo>
                      <a:pt x="321" y="398"/>
                    </a:lnTo>
                    <a:lnTo>
                      <a:pt x="317" y="398"/>
                    </a:lnTo>
                    <a:lnTo>
                      <a:pt x="311" y="396"/>
                    </a:lnTo>
                    <a:lnTo>
                      <a:pt x="304" y="395"/>
                    </a:lnTo>
                    <a:lnTo>
                      <a:pt x="300" y="394"/>
                    </a:lnTo>
                    <a:lnTo>
                      <a:pt x="296" y="389"/>
                    </a:lnTo>
                    <a:lnTo>
                      <a:pt x="292" y="389"/>
                    </a:lnTo>
                    <a:lnTo>
                      <a:pt x="287" y="385"/>
                    </a:lnTo>
                    <a:lnTo>
                      <a:pt x="282" y="383"/>
                    </a:lnTo>
                    <a:lnTo>
                      <a:pt x="279" y="381"/>
                    </a:lnTo>
                    <a:lnTo>
                      <a:pt x="274" y="376"/>
                    </a:lnTo>
                    <a:lnTo>
                      <a:pt x="269" y="373"/>
                    </a:lnTo>
                    <a:lnTo>
                      <a:pt x="266" y="369"/>
                    </a:lnTo>
                    <a:lnTo>
                      <a:pt x="261" y="368"/>
                    </a:lnTo>
                    <a:lnTo>
                      <a:pt x="259" y="364"/>
                    </a:lnTo>
                    <a:lnTo>
                      <a:pt x="253" y="360"/>
                    </a:lnTo>
                    <a:lnTo>
                      <a:pt x="249" y="360"/>
                    </a:lnTo>
                    <a:lnTo>
                      <a:pt x="244" y="361"/>
                    </a:lnTo>
                    <a:lnTo>
                      <a:pt x="240" y="364"/>
                    </a:lnTo>
                    <a:lnTo>
                      <a:pt x="235" y="364"/>
                    </a:lnTo>
                    <a:lnTo>
                      <a:pt x="234" y="370"/>
                    </a:lnTo>
                    <a:lnTo>
                      <a:pt x="233" y="375"/>
                    </a:lnTo>
                    <a:lnTo>
                      <a:pt x="234" y="382"/>
                    </a:lnTo>
                    <a:lnTo>
                      <a:pt x="236" y="386"/>
                    </a:lnTo>
                    <a:lnTo>
                      <a:pt x="237" y="389"/>
                    </a:lnTo>
                    <a:lnTo>
                      <a:pt x="241" y="394"/>
                    </a:lnTo>
                    <a:lnTo>
                      <a:pt x="245" y="396"/>
                    </a:lnTo>
                    <a:lnTo>
                      <a:pt x="240" y="399"/>
                    </a:lnTo>
                    <a:lnTo>
                      <a:pt x="239" y="404"/>
                    </a:lnTo>
                    <a:lnTo>
                      <a:pt x="239" y="408"/>
                    </a:lnTo>
                    <a:lnTo>
                      <a:pt x="240" y="412"/>
                    </a:lnTo>
                    <a:lnTo>
                      <a:pt x="240" y="416"/>
                    </a:lnTo>
                    <a:lnTo>
                      <a:pt x="241" y="421"/>
                    </a:lnTo>
                    <a:lnTo>
                      <a:pt x="241" y="424"/>
                    </a:lnTo>
                    <a:lnTo>
                      <a:pt x="240" y="429"/>
                    </a:lnTo>
                    <a:lnTo>
                      <a:pt x="235" y="432"/>
                    </a:lnTo>
                    <a:lnTo>
                      <a:pt x="231" y="435"/>
                    </a:lnTo>
                    <a:lnTo>
                      <a:pt x="228" y="435"/>
                    </a:lnTo>
                    <a:lnTo>
                      <a:pt x="223" y="437"/>
                    </a:lnTo>
                    <a:lnTo>
                      <a:pt x="219" y="440"/>
                    </a:lnTo>
                    <a:lnTo>
                      <a:pt x="215" y="443"/>
                    </a:lnTo>
                    <a:lnTo>
                      <a:pt x="211" y="445"/>
                    </a:lnTo>
                    <a:lnTo>
                      <a:pt x="209" y="451"/>
                    </a:lnTo>
                    <a:lnTo>
                      <a:pt x="205" y="454"/>
                    </a:lnTo>
                    <a:lnTo>
                      <a:pt x="206" y="461"/>
                    </a:lnTo>
                    <a:lnTo>
                      <a:pt x="201" y="465"/>
                    </a:lnTo>
                    <a:lnTo>
                      <a:pt x="200" y="470"/>
                    </a:lnTo>
                    <a:lnTo>
                      <a:pt x="196" y="475"/>
                    </a:lnTo>
                    <a:lnTo>
                      <a:pt x="189" y="479"/>
                    </a:lnTo>
                    <a:lnTo>
                      <a:pt x="188" y="484"/>
                    </a:lnTo>
                    <a:lnTo>
                      <a:pt x="187" y="489"/>
                    </a:lnTo>
                    <a:lnTo>
                      <a:pt x="187" y="492"/>
                    </a:lnTo>
                    <a:lnTo>
                      <a:pt x="188" y="499"/>
                    </a:lnTo>
                    <a:lnTo>
                      <a:pt x="188" y="502"/>
                    </a:lnTo>
                    <a:lnTo>
                      <a:pt x="191" y="507"/>
                    </a:lnTo>
                    <a:lnTo>
                      <a:pt x="187" y="509"/>
                    </a:lnTo>
                    <a:lnTo>
                      <a:pt x="182" y="508"/>
                    </a:lnTo>
                    <a:lnTo>
                      <a:pt x="176" y="503"/>
                    </a:lnTo>
                    <a:lnTo>
                      <a:pt x="172" y="503"/>
                    </a:lnTo>
                    <a:lnTo>
                      <a:pt x="170" y="498"/>
                    </a:lnTo>
                    <a:lnTo>
                      <a:pt x="164" y="495"/>
                    </a:lnTo>
                    <a:lnTo>
                      <a:pt x="162" y="492"/>
                    </a:lnTo>
                    <a:lnTo>
                      <a:pt x="156" y="490"/>
                    </a:lnTo>
                    <a:lnTo>
                      <a:pt x="151" y="487"/>
                    </a:lnTo>
                    <a:lnTo>
                      <a:pt x="147" y="485"/>
                    </a:lnTo>
                    <a:lnTo>
                      <a:pt x="142" y="486"/>
                    </a:lnTo>
                    <a:lnTo>
                      <a:pt x="138" y="486"/>
                    </a:lnTo>
                    <a:lnTo>
                      <a:pt x="133" y="487"/>
                    </a:lnTo>
                    <a:lnTo>
                      <a:pt x="129" y="490"/>
                    </a:lnTo>
                    <a:lnTo>
                      <a:pt x="125" y="492"/>
                    </a:lnTo>
                    <a:lnTo>
                      <a:pt x="121" y="493"/>
                    </a:lnTo>
                    <a:lnTo>
                      <a:pt x="117" y="495"/>
                    </a:lnTo>
                    <a:lnTo>
                      <a:pt x="112" y="499"/>
                    </a:lnTo>
                    <a:lnTo>
                      <a:pt x="108" y="499"/>
                    </a:lnTo>
                    <a:lnTo>
                      <a:pt x="103" y="500"/>
                    </a:lnTo>
                    <a:lnTo>
                      <a:pt x="99" y="501"/>
                    </a:lnTo>
                    <a:lnTo>
                      <a:pt x="94" y="501"/>
                    </a:lnTo>
                    <a:lnTo>
                      <a:pt x="87" y="502"/>
                    </a:lnTo>
                    <a:lnTo>
                      <a:pt x="83" y="503"/>
                    </a:lnTo>
                    <a:lnTo>
                      <a:pt x="77" y="505"/>
                    </a:lnTo>
                    <a:lnTo>
                      <a:pt x="72" y="505"/>
                    </a:lnTo>
                    <a:lnTo>
                      <a:pt x="68" y="508"/>
                    </a:lnTo>
                    <a:lnTo>
                      <a:pt x="61" y="511"/>
                    </a:lnTo>
                    <a:lnTo>
                      <a:pt x="57" y="513"/>
                    </a:lnTo>
                    <a:lnTo>
                      <a:pt x="55" y="519"/>
                    </a:lnTo>
                    <a:lnTo>
                      <a:pt x="51" y="522"/>
                    </a:lnTo>
                    <a:lnTo>
                      <a:pt x="47" y="528"/>
                    </a:lnTo>
                    <a:lnTo>
                      <a:pt x="48" y="532"/>
                    </a:lnTo>
                    <a:lnTo>
                      <a:pt x="46" y="536"/>
                    </a:lnTo>
                    <a:lnTo>
                      <a:pt x="45" y="543"/>
                    </a:lnTo>
                    <a:lnTo>
                      <a:pt x="45" y="546"/>
                    </a:lnTo>
                    <a:lnTo>
                      <a:pt x="43" y="551"/>
                    </a:lnTo>
                    <a:lnTo>
                      <a:pt x="44" y="557"/>
                    </a:lnTo>
                    <a:lnTo>
                      <a:pt x="45" y="561"/>
                    </a:lnTo>
                    <a:lnTo>
                      <a:pt x="45" y="565"/>
                    </a:lnTo>
                    <a:lnTo>
                      <a:pt x="48" y="569"/>
                    </a:lnTo>
                    <a:lnTo>
                      <a:pt x="51" y="573"/>
                    </a:lnTo>
                    <a:lnTo>
                      <a:pt x="54" y="577"/>
                    </a:lnTo>
                    <a:lnTo>
                      <a:pt x="57" y="580"/>
                    </a:lnTo>
                    <a:lnTo>
                      <a:pt x="59" y="587"/>
                    </a:lnTo>
                    <a:lnTo>
                      <a:pt x="63" y="590"/>
                    </a:lnTo>
                    <a:lnTo>
                      <a:pt x="65" y="594"/>
                    </a:lnTo>
                    <a:lnTo>
                      <a:pt x="66" y="598"/>
                    </a:lnTo>
                    <a:lnTo>
                      <a:pt x="67" y="604"/>
                    </a:lnTo>
                    <a:lnTo>
                      <a:pt x="67" y="608"/>
                    </a:lnTo>
                    <a:lnTo>
                      <a:pt x="68" y="613"/>
                    </a:lnTo>
                    <a:lnTo>
                      <a:pt x="66" y="616"/>
                    </a:lnTo>
                    <a:lnTo>
                      <a:pt x="64" y="621"/>
                    </a:lnTo>
                    <a:lnTo>
                      <a:pt x="60" y="624"/>
                    </a:lnTo>
                    <a:lnTo>
                      <a:pt x="56" y="627"/>
                    </a:lnTo>
                    <a:lnTo>
                      <a:pt x="52" y="627"/>
                    </a:lnTo>
                    <a:lnTo>
                      <a:pt x="47" y="628"/>
                    </a:lnTo>
                    <a:lnTo>
                      <a:pt x="42" y="632"/>
                    </a:lnTo>
                    <a:lnTo>
                      <a:pt x="39" y="637"/>
                    </a:lnTo>
                    <a:lnTo>
                      <a:pt x="39" y="642"/>
                    </a:lnTo>
                    <a:lnTo>
                      <a:pt x="34" y="646"/>
                    </a:lnTo>
                    <a:lnTo>
                      <a:pt x="31" y="651"/>
                    </a:lnTo>
                    <a:lnTo>
                      <a:pt x="28" y="656"/>
                    </a:lnTo>
                    <a:lnTo>
                      <a:pt x="25" y="659"/>
                    </a:lnTo>
                    <a:lnTo>
                      <a:pt x="25" y="664"/>
                    </a:lnTo>
                    <a:lnTo>
                      <a:pt x="28" y="668"/>
                    </a:lnTo>
                    <a:lnTo>
                      <a:pt x="29" y="672"/>
                    </a:lnTo>
                    <a:lnTo>
                      <a:pt x="29" y="676"/>
                    </a:lnTo>
                    <a:lnTo>
                      <a:pt x="30" y="680"/>
                    </a:lnTo>
                    <a:lnTo>
                      <a:pt x="28" y="684"/>
                    </a:lnTo>
                    <a:lnTo>
                      <a:pt x="26" y="691"/>
                    </a:lnTo>
                    <a:lnTo>
                      <a:pt x="25" y="694"/>
                    </a:lnTo>
                    <a:lnTo>
                      <a:pt x="20" y="698"/>
                    </a:lnTo>
                    <a:lnTo>
                      <a:pt x="19" y="702"/>
                    </a:lnTo>
                    <a:lnTo>
                      <a:pt x="19" y="706"/>
                    </a:lnTo>
                    <a:lnTo>
                      <a:pt x="18" y="710"/>
                    </a:lnTo>
                    <a:lnTo>
                      <a:pt x="19" y="717"/>
                    </a:lnTo>
                    <a:lnTo>
                      <a:pt x="19" y="720"/>
                    </a:lnTo>
                    <a:lnTo>
                      <a:pt x="24" y="725"/>
                    </a:lnTo>
                    <a:lnTo>
                      <a:pt x="24" y="729"/>
                    </a:lnTo>
                    <a:lnTo>
                      <a:pt x="30" y="732"/>
                    </a:lnTo>
                    <a:lnTo>
                      <a:pt x="30" y="736"/>
                    </a:lnTo>
                    <a:lnTo>
                      <a:pt x="25" y="739"/>
                    </a:lnTo>
                    <a:lnTo>
                      <a:pt x="21" y="739"/>
                    </a:lnTo>
                    <a:lnTo>
                      <a:pt x="17" y="743"/>
                    </a:lnTo>
                    <a:lnTo>
                      <a:pt x="13" y="743"/>
                    </a:lnTo>
                    <a:lnTo>
                      <a:pt x="8" y="744"/>
                    </a:lnTo>
                    <a:lnTo>
                      <a:pt x="4" y="748"/>
                    </a:lnTo>
                    <a:lnTo>
                      <a:pt x="0" y="750"/>
                    </a:lnTo>
                    <a:lnTo>
                      <a:pt x="0" y="755"/>
                    </a:lnTo>
                    <a:lnTo>
                      <a:pt x="3" y="758"/>
                    </a:lnTo>
                    <a:lnTo>
                      <a:pt x="6" y="762"/>
                    </a:lnTo>
                    <a:lnTo>
                      <a:pt x="9" y="767"/>
                    </a:lnTo>
                    <a:lnTo>
                      <a:pt x="12" y="772"/>
                    </a:lnTo>
                    <a:lnTo>
                      <a:pt x="15" y="778"/>
                    </a:lnTo>
                    <a:lnTo>
                      <a:pt x="15" y="783"/>
                    </a:lnTo>
                    <a:lnTo>
                      <a:pt x="19" y="788"/>
                    </a:lnTo>
                    <a:lnTo>
                      <a:pt x="21" y="791"/>
                    </a:lnTo>
                    <a:lnTo>
                      <a:pt x="27" y="795"/>
                    </a:lnTo>
                    <a:lnTo>
                      <a:pt x="29" y="799"/>
                    </a:lnTo>
                    <a:lnTo>
                      <a:pt x="34" y="801"/>
                    </a:lnTo>
                    <a:lnTo>
                      <a:pt x="39" y="800"/>
                    </a:lnTo>
                    <a:lnTo>
                      <a:pt x="44" y="800"/>
                    </a:lnTo>
                    <a:lnTo>
                      <a:pt x="48" y="800"/>
                    </a:lnTo>
                    <a:lnTo>
                      <a:pt x="53" y="802"/>
                    </a:lnTo>
                    <a:lnTo>
                      <a:pt x="57" y="803"/>
                    </a:lnTo>
                    <a:lnTo>
                      <a:pt x="64" y="807"/>
                    </a:lnTo>
                    <a:lnTo>
                      <a:pt x="71" y="809"/>
                    </a:lnTo>
                    <a:lnTo>
                      <a:pt x="78" y="810"/>
                    </a:lnTo>
                    <a:lnTo>
                      <a:pt x="81" y="815"/>
                    </a:lnTo>
                    <a:lnTo>
                      <a:pt x="86" y="816"/>
                    </a:lnTo>
                    <a:lnTo>
                      <a:pt x="91" y="820"/>
                    </a:lnTo>
                    <a:lnTo>
                      <a:pt x="96" y="821"/>
                    </a:lnTo>
                    <a:lnTo>
                      <a:pt x="104" y="824"/>
                    </a:lnTo>
                    <a:lnTo>
                      <a:pt x="108" y="827"/>
                    </a:lnTo>
                    <a:lnTo>
                      <a:pt x="113" y="829"/>
                    </a:lnTo>
                    <a:lnTo>
                      <a:pt x="117" y="828"/>
                    </a:lnTo>
                    <a:lnTo>
                      <a:pt x="122" y="826"/>
                    </a:lnTo>
                    <a:lnTo>
                      <a:pt x="127" y="825"/>
                    </a:lnTo>
                    <a:lnTo>
                      <a:pt x="135" y="830"/>
                    </a:lnTo>
                    <a:lnTo>
                      <a:pt x="139" y="832"/>
                    </a:lnTo>
                    <a:lnTo>
                      <a:pt x="144" y="834"/>
                    </a:lnTo>
                    <a:lnTo>
                      <a:pt x="148" y="833"/>
                    </a:lnTo>
                    <a:lnTo>
                      <a:pt x="153" y="832"/>
                    </a:lnTo>
                    <a:lnTo>
                      <a:pt x="157" y="832"/>
                    </a:lnTo>
                    <a:lnTo>
                      <a:pt x="162" y="834"/>
                    </a:lnTo>
                    <a:lnTo>
                      <a:pt x="167" y="834"/>
                    </a:lnTo>
                    <a:lnTo>
                      <a:pt x="169" y="830"/>
                    </a:lnTo>
                    <a:lnTo>
                      <a:pt x="173" y="828"/>
                    </a:lnTo>
                    <a:lnTo>
                      <a:pt x="176" y="824"/>
                    </a:lnTo>
                    <a:lnTo>
                      <a:pt x="178" y="820"/>
                    </a:lnTo>
                    <a:lnTo>
                      <a:pt x="182" y="817"/>
                    </a:lnTo>
                    <a:lnTo>
                      <a:pt x="184" y="813"/>
                    </a:lnTo>
                    <a:lnTo>
                      <a:pt x="188" y="811"/>
                    </a:lnTo>
                    <a:lnTo>
                      <a:pt x="192" y="808"/>
                    </a:lnTo>
                    <a:lnTo>
                      <a:pt x="197" y="805"/>
                    </a:lnTo>
                    <a:lnTo>
                      <a:pt x="201" y="807"/>
                    </a:lnTo>
                    <a:lnTo>
                      <a:pt x="206" y="808"/>
                    </a:lnTo>
                    <a:lnTo>
                      <a:pt x="212" y="809"/>
                    </a:lnTo>
                    <a:lnTo>
                      <a:pt x="216" y="812"/>
                    </a:lnTo>
                    <a:lnTo>
                      <a:pt x="221" y="811"/>
                    </a:lnTo>
                    <a:lnTo>
                      <a:pt x="223" y="814"/>
                    </a:lnTo>
                    <a:lnTo>
                      <a:pt x="226" y="818"/>
                    </a:lnTo>
                    <a:lnTo>
                      <a:pt x="231" y="820"/>
                    </a:lnTo>
                    <a:lnTo>
                      <a:pt x="235" y="819"/>
                    </a:lnTo>
                    <a:lnTo>
                      <a:pt x="240" y="822"/>
                    </a:lnTo>
                    <a:lnTo>
                      <a:pt x="243" y="826"/>
                    </a:lnTo>
                    <a:lnTo>
                      <a:pt x="248" y="828"/>
                    </a:lnTo>
                    <a:lnTo>
                      <a:pt x="251" y="831"/>
                    </a:lnTo>
                    <a:lnTo>
                      <a:pt x="256" y="831"/>
                    </a:lnTo>
                    <a:lnTo>
                      <a:pt x="260" y="834"/>
                    </a:lnTo>
                    <a:lnTo>
                      <a:pt x="264" y="838"/>
                    </a:lnTo>
                    <a:lnTo>
                      <a:pt x="268" y="840"/>
                    </a:lnTo>
                    <a:lnTo>
                      <a:pt x="273" y="841"/>
                    </a:lnTo>
                    <a:lnTo>
                      <a:pt x="277" y="840"/>
                    </a:lnTo>
                    <a:lnTo>
                      <a:pt x="282" y="841"/>
                    </a:lnTo>
                    <a:lnTo>
                      <a:pt x="283" y="853"/>
                    </a:lnTo>
                    <a:lnTo>
                      <a:pt x="295" y="859"/>
                    </a:lnTo>
                    <a:lnTo>
                      <a:pt x="285" y="850"/>
                    </a:lnTo>
                    <a:lnTo>
                      <a:pt x="301" y="859"/>
                    </a:lnTo>
                    <a:lnTo>
                      <a:pt x="302" y="856"/>
                    </a:lnTo>
                    <a:lnTo>
                      <a:pt x="302" y="860"/>
                    </a:lnTo>
                    <a:lnTo>
                      <a:pt x="310" y="863"/>
                    </a:lnTo>
                    <a:lnTo>
                      <a:pt x="314" y="862"/>
                    </a:lnTo>
                    <a:lnTo>
                      <a:pt x="318" y="860"/>
                    </a:lnTo>
                    <a:lnTo>
                      <a:pt x="323" y="859"/>
                    </a:lnTo>
                    <a:lnTo>
                      <a:pt x="330" y="854"/>
                    </a:lnTo>
                    <a:lnTo>
                      <a:pt x="333" y="852"/>
                    </a:lnTo>
                    <a:lnTo>
                      <a:pt x="340" y="851"/>
                    </a:lnTo>
                    <a:lnTo>
                      <a:pt x="343" y="854"/>
                    </a:lnTo>
                    <a:lnTo>
                      <a:pt x="348" y="856"/>
                    </a:lnTo>
                    <a:lnTo>
                      <a:pt x="352" y="859"/>
                    </a:lnTo>
                    <a:lnTo>
                      <a:pt x="356" y="864"/>
                    </a:lnTo>
                    <a:lnTo>
                      <a:pt x="360" y="866"/>
                    </a:lnTo>
                    <a:lnTo>
                      <a:pt x="366" y="867"/>
                    </a:lnTo>
                    <a:lnTo>
                      <a:pt x="368" y="872"/>
                    </a:lnTo>
                    <a:lnTo>
                      <a:pt x="374" y="873"/>
                    </a:lnTo>
                    <a:lnTo>
                      <a:pt x="376" y="876"/>
                    </a:lnTo>
                    <a:lnTo>
                      <a:pt x="381" y="878"/>
                    </a:lnTo>
                    <a:lnTo>
                      <a:pt x="382" y="882"/>
                    </a:lnTo>
                    <a:lnTo>
                      <a:pt x="386" y="882"/>
                    </a:lnTo>
                    <a:lnTo>
                      <a:pt x="389" y="885"/>
                    </a:lnTo>
                    <a:lnTo>
                      <a:pt x="390" y="889"/>
                    </a:lnTo>
                    <a:lnTo>
                      <a:pt x="392" y="894"/>
                    </a:lnTo>
                    <a:lnTo>
                      <a:pt x="397" y="896"/>
                    </a:lnTo>
                    <a:lnTo>
                      <a:pt x="401" y="896"/>
                    </a:lnTo>
                    <a:lnTo>
                      <a:pt x="405" y="895"/>
                    </a:lnTo>
                    <a:lnTo>
                      <a:pt x="412" y="895"/>
                    </a:lnTo>
                    <a:lnTo>
                      <a:pt x="416" y="891"/>
                    </a:lnTo>
                    <a:lnTo>
                      <a:pt x="420" y="887"/>
                    </a:lnTo>
                    <a:lnTo>
                      <a:pt x="423" y="892"/>
                    </a:lnTo>
                    <a:lnTo>
                      <a:pt x="424" y="895"/>
                    </a:lnTo>
                    <a:lnTo>
                      <a:pt x="424" y="900"/>
                    </a:lnTo>
                    <a:lnTo>
                      <a:pt x="425" y="904"/>
                    </a:lnTo>
                    <a:lnTo>
                      <a:pt x="423" y="908"/>
                    </a:lnTo>
                    <a:lnTo>
                      <a:pt x="428" y="910"/>
                    </a:lnTo>
                    <a:lnTo>
                      <a:pt x="433" y="909"/>
                    </a:lnTo>
                    <a:lnTo>
                      <a:pt x="436" y="906"/>
                    </a:lnTo>
                    <a:lnTo>
                      <a:pt x="441" y="903"/>
                    </a:lnTo>
                    <a:lnTo>
                      <a:pt x="443" y="899"/>
                    </a:lnTo>
                    <a:lnTo>
                      <a:pt x="447" y="897"/>
                    </a:lnTo>
                    <a:lnTo>
                      <a:pt x="451" y="896"/>
                    </a:lnTo>
                    <a:lnTo>
                      <a:pt x="454" y="891"/>
                    </a:lnTo>
                    <a:lnTo>
                      <a:pt x="450" y="888"/>
                    </a:lnTo>
                    <a:lnTo>
                      <a:pt x="450" y="883"/>
                    </a:lnTo>
                    <a:lnTo>
                      <a:pt x="445" y="882"/>
                    </a:lnTo>
                    <a:lnTo>
                      <a:pt x="440" y="881"/>
                    </a:lnTo>
                    <a:lnTo>
                      <a:pt x="436" y="881"/>
                    </a:lnTo>
                    <a:lnTo>
                      <a:pt x="431" y="882"/>
                    </a:lnTo>
                    <a:lnTo>
                      <a:pt x="426" y="881"/>
                    </a:lnTo>
                    <a:lnTo>
                      <a:pt x="422" y="881"/>
                    </a:lnTo>
                    <a:lnTo>
                      <a:pt x="417" y="880"/>
                    </a:lnTo>
                    <a:lnTo>
                      <a:pt x="413" y="878"/>
                    </a:lnTo>
                    <a:lnTo>
                      <a:pt x="412" y="874"/>
                    </a:lnTo>
                    <a:lnTo>
                      <a:pt x="413" y="870"/>
                    </a:lnTo>
                    <a:lnTo>
                      <a:pt x="417" y="870"/>
                    </a:lnTo>
                    <a:lnTo>
                      <a:pt x="422" y="869"/>
                    </a:lnTo>
                    <a:lnTo>
                      <a:pt x="427" y="866"/>
                    </a:lnTo>
                    <a:lnTo>
                      <a:pt x="431" y="866"/>
                    </a:lnTo>
                    <a:lnTo>
                      <a:pt x="438" y="863"/>
                    </a:lnTo>
                    <a:lnTo>
                      <a:pt x="442" y="859"/>
                    </a:lnTo>
                    <a:lnTo>
                      <a:pt x="446" y="859"/>
                    </a:lnTo>
                    <a:lnTo>
                      <a:pt x="451" y="856"/>
                    </a:lnTo>
                    <a:lnTo>
                      <a:pt x="455" y="853"/>
                    </a:lnTo>
                    <a:lnTo>
                      <a:pt x="459" y="850"/>
                    </a:lnTo>
                    <a:lnTo>
                      <a:pt x="464" y="849"/>
                    </a:lnTo>
                    <a:lnTo>
                      <a:pt x="468" y="846"/>
                    </a:lnTo>
                    <a:lnTo>
                      <a:pt x="472" y="843"/>
                    </a:lnTo>
                    <a:lnTo>
                      <a:pt x="476" y="840"/>
                    </a:lnTo>
                    <a:lnTo>
                      <a:pt x="478" y="836"/>
                    </a:lnTo>
                    <a:lnTo>
                      <a:pt x="482" y="832"/>
                    </a:lnTo>
                    <a:lnTo>
                      <a:pt x="486" y="826"/>
                    </a:lnTo>
                    <a:lnTo>
                      <a:pt x="486" y="823"/>
                    </a:lnTo>
                    <a:lnTo>
                      <a:pt x="487" y="818"/>
                    </a:lnTo>
                    <a:lnTo>
                      <a:pt x="487" y="814"/>
                    </a:lnTo>
                    <a:lnTo>
                      <a:pt x="486" y="811"/>
                    </a:lnTo>
                    <a:lnTo>
                      <a:pt x="487" y="806"/>
                    </a:lnTo>
                    <a:lnTo>
                      <a:pt x="490" y="801"/>
                    </a:lnTo>
                    <a:lnTo>
                      <a:pt x="494" y="799"/>
                    </a:lnTo>
                    <a:lnTo>
                      <a:pt x="497" y="796"/>
                    </a:lnTo>
                    <a:lnTo>
                      <a:pt x="501" y="794"/>
                    </a:lnTo>
                    <a:lnTo>
                      <a:pt x="506" y="791"/>
                    </a:lnTo>
                    <a:lnTo>
                      <a:pt x="507" y="786"/>
                    </a:lnTo>
                    <a:lnTo>
                      <a:pt x="512" y="785"/>
                    </a:lnTo>
                    <a:lnTo>
                      <a:pt x="516" y="782"/>
                    </a:lnTo>
                    <a:lnTo>
                      <a:pt x="520" y="778"/>
                    </a:lnTo>
                    <a:lnTo>
                      <a:pt x="522" y="774"/>
                    </a:lnTo>
                    <a:lnTo>
                      <a:pt x="521" y="771"/>
                    </a:lnTo>
                    <a:lnTo>
                      <a:pt x="522" y="764"/>
                    </a:lnTo>
                    <a:lnTo>
                      <a:pt x="522" y="759"/>
                    </a:lnTo>
                    <a:lnTo>
                      <a:pt x="524" y="755"/>
                    </a:lnTo>
                    <a:lnTo>
                      <a:pt x="523" y="750"/>
                    </a:lnTo>
                    <a:lnTo>
                      <a:pt x="525" y="746"/>
                    </a:lnTo>
                    <a:lnTo>
                      <a:pt x="529" y="741"/>
                    </a:lnTo>
                    <a:lnTo>
                      <a:pt x="531" y="737"/>
                    </a:lnTo>
                    <a:lnTo>
                      <a:pt x="532" y="734"/>
                    </a:lnTo>
                    <a:lnTo>
                      <a:pt x="537" y="728"/>
                    </a:lnTo>
                    <a:lnTo>
                      <a:pt x="538" y="724"/>
                    </a:lnTo>
                    <a:lnTo>
                      <a:pt x="543" y="721"/>
                    </a:lnTo>
                    <a:lnTo>
                      <a:pt x="544" y="717"/>
                    </a:lnTo>
                    <a:lnTo>
                      <a:pt x="546" y="712"/>
                    </a:lnTo>
                    <a:lnTo>
                      <a:pt x="550" y="709"/>
                    </a:lnTo>
                    <a:lnTo>
                      <a:pt x="552" y="706"/>
                    </a:lnTo>
                    <a:lnTo>
                      <a:pt x="556" y="701"/>
                    </a:lnTo>
                    <a:lnTo>
                      <a:pt x="560" y="696"/>
                    </a:lnTo>
                    <a:lnTo>
                      <a:pt x="562" y="692"/>
                    </a:lnTo>
                    <a:lnTo>
                      <a:pt x="565" y="685"/>
                    </a:lnTo>
                    <a:lnTo>
                      <a:pt x="566" y="680"/>
                    </a:lnTo>
                    <a:lnTo>
                      <a:pt x="569" y="677"/>
                    </a:lnTo>
                    <a:lnTo>
                      <a:pt x="570" y="671"/>
                    </a:lnTo>
                    <a:lnTo>
                      <a:pt x="570" y="668"/>
                    </a:lnTo>
                    <a:lnTo>
                      <a:pt x="567" y="664"/>
                    </a:lnTo>
                    <a:lnTo>
                      <a:pt x="567" y="660"/>
                    </a:lnTo>
                    <a:lnTo>
                      <a:pt x="568" y="656"/>
                    </a:lnTo>
                    <a:lnTo>
                      <a:pt x="570" y="651"/>
                    </a:lnTo>
                    <a:lnTo>
                      <a:pt x="572" y="646"/>
                    </a:lnTo>
                    <a:lnTo>
                      <a:pt x="572" y="643"/>
                    </a:lnTo>
                    <a:lnTo>
                      <a:pt x="571" y="638"/>
                    </a:lnTo>
                    <a:lnTo>
                      <a:pt x="570" y="634"/>
                    </a:lnTo>
                    <a:lnTo>
                      <a:pt x="570" y="630"/>
                    </a:lnTo>
                    <a:lnTo>
                      <a:pt x="569" y="626"/>
                    </a:lnTo>
                    <a:lnTo>
                      <a:pt x="569" y="621"/>
                    </a:lnTo>
                    <a:lnTo>
                      <a:pt x="568" y="618"/>
                    </a:lnTo>
                    <a:lnTo>
                      <a:pt x="568" y="614"/>
                    </a:lnTo>
                    <a:lnTo>
                      <a:pt x="567" y="609"/>
                    </a:lnTo>
                    <a:lnTo>
                      <a:pt x="567" y="606"/>
                    </a:lnTo>
                    <a:lnTo>
                      <a:pt x="566" y="601"/>
                    </a:lnTo>
                    <a:lnTo>
                      <a:pt x="565" y="597"/>
                    </a:lnTo>
                    <a:lnTo>
                      <a:pt x="567" y="593"/>
                    </a:lnTo>
                    <a:lnTo>
                      <a:pt x="566" y="589"/>
                    </a:lnTo>
                    <a:lnTo>
                      <a:pt x="566" y="584"/>
                    </a:lnTo>
                    <a:lnTo>
                      <a:pt x="561" y="585"/>
                    </a:lnTo>
                    <a:lnTo>
                      <a:pt x="556" y="582"/>
                    </a:lnTo>
                    <a:lnTo>
                      <a:pt x="556" y="577"/>
                    </a:lnTo>
                    <a:lnTo>
                      <a:pt x="552" y="574"/>
                    </a:lnTo>
                    <a:lnTo>
                      <a:pt x="552" y="570"/>
                    </a:lnTo>
                    <a:lnTo>
                      <a:pt x="551" y="566"/>
                    </a:lnTo>
                    <a:lnTo>
                      <a:pt x="550" y="561"/>
                    </a:lnTo>
                    <a:lnTo>
                      <a:pt x="553" y="558"/>
                    </a:lnTo>
                    <a:lnTo>
                      <a:pt x="552" y="553"/>
                    </a:lnTo>
                    <a:lnTo>
                      <a:pt x="554" y="548"/>
                    </a:lnTo>
                    <a:lnTo>
                      <a:pt x="555" y="545"/>
                    </a:lnTo>
                    <a:lnTo>
                      <a:pt x="560" y="545"/>
                    </a:lnTo>
                    <a:lnTo>
                      <a:pt x="564" y="539"/>
                    </a:lnTo>
                    <a:lnTo>
                      <a:pt x="568" y="536"/>
                    </a:lnTo>
                    <a:lnTo>
                      <a:pt x="569" y="532"/>
                    </a:lnTo>
                    <a:lnTo>
                      <a:pt x="570" y="528"/>
                    </a:lnTo>
                    <a:lnTo>
                      <a:pt x="568" y="523"/>
                    </a:lnTo>
                    <a:lnTo>
                      <a:pt x="566" y="521"/>
                    </a:lnTo>
                    <a:lnTo>
                      <a:pt x="561" y="519"/>
                    </a:lnTo>
                    <a:lnTo>
                      <a:pt x="557" y="520"/>
                    </a:lnTo>
                    <a:lnTo>
                      <a:pt x="552" y="520"/>
                    </a:lnTo>
                    <a:lnTo>
                      <a:pt x="548" y="518"/>
                    </a:lnTo>
                    <a:lnTo>
                      <a:pt x="542" y="515"/>
                    </a:lnTo>
                    <a:lnTo>
                      <a:pt x="539" y="509"/>
                    </a:lnTo>
                    <a:lnTo>
                      <a:pt x="537" y="505"/>
                    </a:lnTo>
                    <a:lnTo>
                      <a:pt x="532" y="504"/>
                    </a:lnTo>
                    <a:lnTo>
                      <a:pt x="531" y="500"/>
                    </a:lnTo>
                    <a:lnTo>
                      <a:pt x="536" y="495"/>
                    </a:lnTo>
                    <a:lnTo>
                      <a:pt x="539" y="492"/>
                    </a:lnTo>
                    <a:lnTo>
                      <a:pt x="541" y="489"/>
                    </a:lnTo>
                    <a:lnTo>
                      <a:pt x="546" y="488"/>
                    </a:lnTo>
                    <a:lnTo>
                      <a:pt x="550" y="482"/>
                    </a:lnTo>
                    <a:lnTo>
                      <a:pt x="554" y="480"/>
                    </a:lnTo>
                    <a:lnTo>
                      <a:pt x="555" y="477"/>
                    </a:lnTo>
                    <a:lnTo>
                      <a:pt x="560" y="474"/>
                    </a:lnTo>
                    <a:lnTo>
                      <a:pt x="563" y="474"/>
                    </a:lnTo>
                    <a:lnTo>
                      <a:pt x="568" y="473"/>
                    </a:lnTo>
                    <a:lnTo>
                      <a:pt x="572" y="469"/>
                    </a:lnTo>
                    <a:lnTo>
                      <a:pt x="574" y="465"/>
                    </a:lnTo>
                    <a:lnTo>
                      <a:pt x="575" y="461"/>
                    </a:lnTo>
                    <a:lnTo>
                      <a:pt x="577" y="457"/>
                    </a:lnTo>
                    <a:lnTo>
                      <a:pt x="581" y="454"/>
                    </a:lnTo>
                    <a:lnTo>
                      <a:pt x="586" y="453"/>
                    </a:lnTo>
                    <a:lnTo>
                      <a:pt x="591" y="455"/>
                    </a:lnTo>
                    <a:lnTo>
                      <a:pt x="596" y="456"/>
                    </a:lnTo>
                    <a:lnTo>
                      <a:pt x="600" y="457"/>
                    </a:lnTo>
                    <a:lnTo>
                      <a:pt x="605" y="455"/>
                    </a:lnTo>
                    <a:lnTo>
                      <a:pt x="610" y="454"/>
                    </a:lnTo>
                    <a:lnTo>
                      <a:pt x="615" y="451"/>
                    </a:lnTo>
                    <a:lnTo>
                      <a:pt x="620" y="449"/>
                    </a:lnTo>
                    <a:lnTo>
                      <a:pt x="625" y="445"/>
                    </a:lnTo>
                    <a:lnTo>
                      <a:pt x="629" y="445"/>
                    </a:lnTo>
                    <a:lnTo>
                      <a:pt x="633" y="442"/>
                    </a:lnTo>
                    <a:lnTo>
                      <a:pt x="637" y="441"/>
                    </a:lnTo>
                    <a:lnTo>
                      <a:pt x="642" y="441"/>
                    </a:lnTo>
                    <a:lnTo>
                      <a:pt x="646" y="439"/>
                    </a:lnTo>
                    <a:lnTo>
                      <a:pt x="645" y="434"/>
                    </a:lnTo>
                    <a:lnTo>
                      <a:pt x="643" y="431"/>
                    </a:lnTo>
                    <a:lnTo>
                      <a:pt x="639" y="429"/>
                    </a:lnTo>
                    <a:lnTo>
                      <a:pt x="635" y="426"/>
                    </a:lnTo>
                    <a:lnTo>
                      <a:pt x="640" y="423"/>
                    </a:lnTo>
                    <a:lnTo>
                      <a:pt x="644" y="427"/>
                    </a:lnTo>
                    <a:lnTo>
                      <a:pt x="650" y="430"/>
                    </a:lnTo>
                    <a:lnTo>
                      <a:pt x="655" y="433"/>
                    </a:lnTo>
                    <a:lnTo>
                      <a:pt x="660" y="435"/>
                    </a:lnTo>
                    <a:lnTo>
                      <a:pt x="665" y="437"/>
                    </a:lnTo>
                    <a:lnTo>
                      <a:pt x="668" y="436"/>
                    </a:lnTo>
                    <a:lnTo>
                      <a:pt x="673" y="436"/>
                    </a:lnTo>
                    <a:lnTo>
                      <a:pt x="677" y="435"/>
                    </a:lnTo>
                    <a:lnTo>
                      <a:pt x="682" y="434"/>
                    </a:lnTo>
                    <a:lnTo>
                      <a:pt x="683" y="429"/>
                    </a:lnTo>
                    <a:lnTo>
                      <a:pt x="687" y="425"/>
                    </a:lnTo>
                    <a:lnTo>
                      <a:pt x="691" y="424"/>
                    </a:lnTo>
                    <a:lnTo>
                      <a:pt x="695" y="428"/>
                    </a:lnTo>
                    <a:lnTo>
                      <a:pt x="696" y="433"/>
                    </a:lnTo>
                    <a:lnTo>
                      <a:pt x="700" y="433"/>
                    </a:lnTo>
                    <a:lnTo>
                      <a:pt x="705" y="432"/>
                    </a:lnTo>
                    <a:lnTo>
                      <a:pt x="708" y="431"/>
                    </a:lnTo>
                    <a:lnTo>
                      <a:pt x="713" y="428"/>
                    </a:lnTo>
                    <a:lnTo>
                      <a:pt x="718" y="430"/>
                    </a:lnTo>
                    <a:lnTo>
                      <a:pt x="719" y="437"/>
                    </a:lnTo>
                    <a:lnTo>
                      <a:pt x="724" y="439"/>
                    </a:lnTo>
                    <a:lnTo>
                      <a:pt x="729" y="438"/>
                    </a:lnTo>
                    <a:lnTo>
                      <a:pt x="732" y="436"/>
                    </a:lnTo>
                    <a:lnTo>
                      <a:pt x="739" y="433"/>
                    </a:lnTo>
                    <a:lnTo>
                      <a:pt x="744" y="429"/>
                    </a:lnTo>
                    <a:lnTo>
                      <a:pt x="750" y="426"/>
                    </a:lnTo>
                    <a:lnTo>
                      <a:pt x="754" y="425"/>
                    </a:lnTo>
                    <a:lnTo>
                      <a:pt x="759" y="422"/>
                    </a:lnTo>
                    <a:lnTo>
                      <a:pt x="762" y="419"/>
                    </a:lnTo>
                    <a:lnTo>
                      <a:pt x="767" y="418"/>
                    </a:lnTo>
                    <a:lnTo>
                      <a:pt x="772" y="417"/>
                    </a:lnTo>
                    <a:lnTo>
                      <a:pt x="775" y="417"/>
                    </a:lnTo>
                    <a:lnTo>
                      <a:pt x="780" y="416"/>
                    </a:lnTo>
                    <a:lnTo>
                      <a:pt x="782" y="412"/>
                    </a:lnTo>
                    <a:lnTo>
                      <a:pt x="783" y="409"/>
                    </a:lnTo>
                    <a:lnTo>
                      <a:pt x="784" y="403"/>
                    </a:lnTo>
                    <a:lnTo>
                      <a:pt x="784" y="399"/>
                    </a:lnTo>
                    <a:lnTo>
                      <a:pt x="783" y="395"/>
                    </a:lnTo>
                    <a:lnTo>
                      <a:pt x="783" y="392"/>
                    </a:lnTo>
                    <a:lnTo>
                      <a:pt x="785" y="386"/>
                    </a:lnTo>
                    <a:lnTo>
                      <a:pt x="786" y="380"/>
                    </a:lnTo>
                    <a:lnTo>
                      <a:pt x="788" y="376"/>
                    </a:lnTo>
                    <a:lnTo>
                      <a:pt x="790" y="372"/>
                    </a:lnTo>
                    <a:lnTo>
                      <a:pt x="792" y="367"/>
                    </a:lnTo>
                    <a:lnTo>
                      <a:pt x="793" y="363"/>
                    </a:lnTo>
                    <a:lnTo>
                      <a:pt x="798" y="359"/>
                    </a:lnTo>
                    <a:lnTo>
                      <a:pt x="802" y="359"/>
                    </a:lnTo>
                    <a:lnTo>
                      <a:pt x="806" y="357"/>
                    </a:lnTo>
                    <a:lnTo>
                      <a:pt x="810" y="357"/>
                    </a:lnTo>
                    <a:lnTo>
                      <a:pt x="815" y="354"/>
                    </a:lnTo>
                    <a:lnTo>
                      <a:pt x="820" y="353"/>
                    </a:lnTo>
                    <a:lnTo>
                      <a:pt x="824" y="353"/>
                    </a:lnTo>
                    <a:lnTo>
                      <a:pt x="827" y="355"/>
                    </a:lnTo>
                    <a:lnTo>
                      <a:pt x="828" y="360"/>
                    </a:lnTo>
                    <a:lnTo>
                      <a:pt x="824" y="365"/>
                    </a:lnTo>
                    <a:lnTo>
                      <a:pt x="823" y="371"/>
                    </a:lnTo>
                    <a:lnTo>
                      <a:pt x="820" y="375"/>
                    </a:lnTo>
                    <a:lnTo>
                      <a:pt x="824" y="380"/>
                    </a:lnTo>
                    <a:lnTo>
                      <a:pt x="830" y="374"/>
                    </a:lnTo>
                    <a:lnTo>
                      <a:pt x="836" y="371"/>
                    </a:lnTo>
                    <a:lnTo>
                      <a:pt x="841" y="371"/>
                    </a:lnTo>
                    <a:lnTo>
                      <a:pt x="846" y="370"/>
                    </a:lnTo>
                    <a:lnTo>
                      <a:pt x="850" y="369"/>
                    </a:lnTo>
                    <a:lnTo>
                      <a:pt x="854" y="369"/>
                    </a:lnTo>
                    <a:lnTo>
                      <a:pt x="858" y="368"/>
                    </a:lnTo>
                    <a:lnTo>
                      <a:pt x="863" y="368"/>
                    </a:lnTo>
                    <a:lnTo>
                      <a:pt x="865" y="363"/>
                    </a:lnTo>
                    <a:lnTo>
                      <a:pt x="870" y="363"/>
                    </a:lnTo>
                    <a:lnTo>
                      <a:pt x="873" y="361"/>
                    </a:lnTo>
                    <a:lnTo>
                      <a:pt x="878" y="362"/>
                    </a:lnTo>
                    <a:lnTo>
                      <a:pt x="882" y="360"/>
                    </a:lnTo>
                    <a:lnTo>
                      <a:pt x="886" y="356"/>
                    </a:lnTo>
                    <a:lnTo>
                      <a:pt x="888" y="352"/>
                    </a:lnTo>
                    <a:lnTo>
                      <a:pt x="892" y="347"/>
                    </a:lnTo>
                    <a:lnTo>
                      <a:pt x="891" y="344"/>
                    </a:lnTo>
                    <a:lnTo>
                      <a:pt x="891" y="339"/>
                    </a:lnTo>
                    <a:lnTo>
                      <a:pt x="890" y="335"/>
                    </a:lnTo>
                    <a:lnTo>
                      <a:pt x="888" y="331"/>
                    </a:lnTo>
                    <a:lnTo>
                      <a:pt x="884" y="327"/>
                    </a:lnTo>
                    <a:lnTo>
                      <a:pt x="884" y="322"/>
                    </a:lnTo>
                    <a:lnTo>
                      <a:pt x="879" y="322"/>
                    </a:lnTo>
                    <a:lnTo>
                      <a:pt x="875" y="323"/>
                    </a:lnTo>
                    <a:lnTo>
                      <a:pt x="879" y="320"/>
                    </a:lnTo>
                    <a:lnTo>
                      <a:pt x="874" y="321"/>
                    </a:lnTo>
                    <a:lnTo>
                      <a:pt x="872" y="317"/>
                    </a:lnTo>
                    <a:lnTo>
                      <a:pt x="873" y="309"/>
                    </a:lnTo>
                    <a:lnTo>
                      <a:pt x="863" y="313"/>
                    </a:lnTo>
                    <a:lnTo>
                      <a:pt x="865" y="304"/>
                    </a:lnTo>
                    <a:lnTo>
                      <a:pt x="861" y="301"/>
                    </a:lnTo>
                    <a:lnTo>
                      <a:pt x="849" y="289"/>
                    </a:lnTo>
                    <a:lnTo>
                      <a:pt x="849" y="301"/>
                    </a:lnTo>
                    <a:lnTo>
                      <a:pt x="849" y="297"/>
                    </a:lnTo>
                    <a:lnTo>
                      <a:pt x="848" y="292"/>
                    </a:lnTo>
                    <a:lnTo>
                      <a:pt x="851" y="289"/>
                    </a:lnTo>
                    <a:lnTo>
                      <a:pt x="852" y="284"/>
                    </a:lnTo>
                    <a:lnTo>
                      <a:pt x="855" y="278"/>
                    </a:lnTo>
                    <a:lnTo>
                      <a:pt x="858" y="272"/>
                    </a:lnTo>
                    <a:lnTo>
                      <a:pt x="852" y="271"/>
                    </a:lnTo>
                    <a:lnTo>
                      <a:pt x="848" y="268"/>
                    </a:lnTo>
                    <a:lnTo>
                      <a:pt x="847" y="264"/>
                    </a:lnTo>
                    <a:lnTo>
                      <a:pt x="847" y="260"/>
                    </a:lnTo>
                    <a:lnTo>
                      <a:pt x="850" y="256"/>
                    </a:lnTo>
                    <a:lnTo>
                      <a:pt x="852" y="251"/>
                    </a:lnTo>
                    <a:lnTo>
                      <a:pt x="857" y="250"/>
                    </a:lnTo>
                    <a:lnTo>
                      <a:pt x="860" y="250"/>
                    </a:lnTo>
                    <a:lnTo>
                      <a:pt x="865" y="249"/>
                    </a:lnTo>
                    <a:lnTo>
                      <a:pt x="870" y="249"/>
                    </a:lnTo>
                    <a:lnTo>
                      <a:pt x="874" y="248"/>
                    </a:lnTo>
                    <a:lnTo>
                      <a:pt x="879" y="249"/>
                    </a:lnTo>
                    <a:lnTo>
                      <a:pt x="883" y="249"/>
                    </a:lnTo>
                    <a:lnTo>
                      <a:pt x="888" y="249"/>
                    </a:lnTo>
                    <a:lnTo>
                      <a:pt x="893" y="249"/>
                    </a:lnTo>
                    <a:lnTo>
                      <a:pt x="897" y="248"/>
                    </a:lnTo>
                    <a:lnTo>
                      <a:pt x="902" y="247"/>
                    </a:lnTo>
                    <a:lnTo>
                      <a:pt x="906" y="246"/>
                    </a:lnTo>
                    <a:lnTo>
                      <a:pt x="910" y="243"/>
                    </a:lnTo>
                    <a:lnTo>
                      <a:pt x="910" y="238"/>
                    </a:lnTo>
                    <a:lnTo>
                      <a:pt x="909" y="235"/>
                    </a:lnTo>
                    <a:lnTo>
                      <a:pt x="904" y="234"/>
                    </a:lnTo>
                    <a:lnTo>
                      <a:pt x="899" y="230"/>
                    </a:lnTo>
                    <a:lnTo>
                      <a:pt x="894" y="228"/>
                    </a:lnTo>
                    <a:lnTo>
                      <a:pt x="890" y="229"/>
                    </a:lnTo>
                    <a:lnTo>
                      <a:pt x="887" y="226"/>
                    </a:lnTo>
                    <a:lnTo>
                      <a:pt x="882" y="222"/>
                    </a:lnTo>
                    <a:lnTo>
                      <a:pt x="878" y="217"/>
                    </a:lnTo>
                    <a:lnTo>
                      <a:pt x="878" y="214"/>
                    </a:lnTo>
                    <a:lnTo>
                      <a:pt x="878" y="210"/>
                    </a:lnTo>
                    <a:lnTo>
                      <a:pt x="877" y="205"/>
                    </a:lnTo>
                    <a:lnTo>
                      <a:pt x="874" y="203"/>
                    </a:lnTo>
                    <a:lnTo>
                      <a:pt x="870" y="198"/>
                    </a:lnTo>
                    <a:lnTo>
                      <a:pt x="865" y="197"/>
                    </a:lnTo>
                    <a:lnTo>
                      <a:pt x="862" y="192"/>
                    </a:lnTo>
                    <a:lnTo>
                      <a:pt x="859" y="190"/>
                    </a:lnTo>
                    <a:lnTo>
                      <a:pt x="854" y="188"/>
                    </a:lnTo>
                    <a:lnTo>
                      <a:pt x="849" y="184"/>
                    </a:lnTo>
                    <a:lnTo>
                      <a:pt x="847" y="181"/>
                    </a:lnTo>
                    <a:lnTo>
                      <a:pt x="842" y="180"/>
                    </a:lnTo>
                    <a:lnTo>
                      <a:pt x="838" y="177"/>
                    </a:lnTo>
                    <a:lnTo>
                      <a:pt x="833" y="178"/>
                    </a:lnTo>
                    <a:lnTo>
                      <a:pt x="829" y="178"/>
                    </a:lnTo>
                    <a:lnTo>
                      <a:pt x="827" y="184"/>
                    </a:lnTo>
                    <a:lnTo>
                      <a:pt x="823" y="184"/>
                    </a:lnTo>
                    <a:lnTo>
                      <a:pt x="821" y="188"/>
                    </a:lnTo>
                    <a:lnTo>
                      <a:pt x="816" y="188"/>
                    </a:lnTo>
                    <a:lnTo>
                      <a:pt x="811" y="191"/>
                    </a:lnTo>
                    <a:lnTo>
                      <a:pt x="808" y="194"/>
                    </a:lnTo>
                    <a:lnTo>
                      <a:pt x="803" y="195"/>
                    </a:lnTo>
                    <a:lnTo>
                      <a:pt x="798" y="191"/>
                    </a:lnTo>
                    <a:lnTo>
                      <a:pt x="793" y="190"/>
                    </a:lnTo>
                    <a:lnTo>
                      <a:pt x="791" y="187"/>
                    </a:lnTo>
                    <a:lnTo>
                      <a:pt x="785" y="182"/>
                    </a:lnTo>
                    <a:lnTo>
                      <a:pt x="785" y="179"/>
                    </a:lnTo>
                    <a:lnTo>
                      <a:pt x="784" y="174"/>
                    </a:lnTo>
                    <a:lnTo>
                      <a:pt x="781" y="171"/>
                    </a:lnTo>
                    <a:lnTo>
                      <a:pt x="779" y="167"/>
                    </a:lnTo>
                    <a:lnTo>
                      <a:pt x="774" y="166"/>
                    </a:lnTo>
                    <a:lnTo>
                      <a:pt x="771" y="161"/>
                    </a:lnTo>
                    <a:lnTo>
                      <a:pt x="764" y="160"/>
                    </a:lnTo>
                    <a:lnTo>
                      <a:pt x="758" y="158"/>
                    </a:lnTo>
                    <a:lnTo>
                      <a:pt x="755" y="158"/>
                    </a:lnTo>
                    <a:lnTo>
                      <a:pt x="749" y="157"/>
                    </a:lnTo>
                    <a:lnTo>
                      <a:pt x="745" y="154"/>
                    </a:lnTo>
                    <a:lnTo>
                      <a:pt x="740" y="155"/>
                    </a:lnTo>
                    <a:lnTo>
                      <a:pt x="737" y="154"/>
                    </a:lnTo>
                    <a:lnTo>
                      <a:pt x="732" y="154"/>
                    </a:lnTo>
                    <a:lnTo>
                      <a:pt x="725" y="153"/>
                    </a:lnTo>
                    <a:lnTo>
                      <a:pt x="721" y="154"/>
                    </a:lnTo>
                    <a:lnTo>
                      <a:pt x="716" y="154"/>
                    </a:lnTo>
                    <a:lnTo>
                      <a:pt x="711" y="157"/>
                    </a:lnTo>
                    <a:lnTo>
                      <a:pt x="707" y="160"/>
                    </a:lnTo>
                    <a:lnTo>
                      <a:pt x="703" y="165"/>
                    </a:lnTo>
                    <a:lnTo>
                      <a:pt x="699" y="167"/>
                    </a:lnTo>
                    <a:lnTo>
                      <a:pt x="697" y="171"/>
                    </a:lnTo>
                    <a:lnTo>
                      <a:pt x="693" y="177"/>
                    </a:lnTo>
                    <a:lnTo>
                      <a:pt x="689" y="179"/>
                    </a:lnTo>
                    <a:lnTo>
                      <a:pt x="687" y="183"/>
                    </a:lnTo>
                    <a:lnTo>
                      <a:pt x="686" y="188"/>
                    </a:lnTo>
                    <a:lnTo>
                      <a:pt x="682" y="193"/>
                    </a:lnTo>
                    <a:lnTo>
                      <a:pt x="682" y="196"/>
                    </a:lnTo>
                    <a:lnTo>
                      <a:pt x="678" y="202"/>
                    </a:lnTo>
                    <a:lnTo>
                      <a:pt x="674" y="206"/>
                    </a:lnTo>
                    <a:lnTo>
                      <a:pt x="673" y="210"/>
                    </a:lnTo>
                    <a:lnTo>
                      <a:pt x="670" y="215"/>
                    </a:lnTo>
                    <a:lnTo>
                      <a:pt x="671" y="218"/>
                    </a:lnTo>
                    <a:lnTo>
                      <a:pt x="669" y="223"/>
                    </a:lnTo>
                    <a:lnTo>
                      <a:pt x="670" y="227"/>
                    </a:lnTo>
                    <a:lnTo>
                      <a:pt x="665" y="231"/>
                    </a:lnTo>
                    <a:lnTo>
                      <a:pt x="664" y="234"/>
                    </a:lnTo>
                    <a:lnTo>
                      <a:pt x="661" y="239"/>
                    </a:lnTo>
                    <a:lnTo>
                      <a:pt x="658" y="244"/>
                    </a:lnTo>
                    <a:lnTo>
                      <a:pt x="658" y="247"/>
                    </a:lnTo>
                    <a:lnTo>
                      <a:pt x="657" y="252"/>
                    </a:lnTo>
                    <a:lnTo>
                      <a:pt x="658" y="257"/>
                    </a:lnTo>
                    <a:lnTo>
                      <a:pt x="658" y="260"/>
                    </a:lnTo>
                    <a:lnTo>
                      <a:pt x="659" y="264"/>
                    </a:lnTo>
                    <a:lnTo>
                      <a:pt x="657" y="269"/>
                    </a:lnTo>
                    <a:lnTo>
                      <a:pt x="653" y="271"/>
                    </a:lnTo>
                    <a:lnTo>
                      <a:pt x="651" y="276"/>
                    </a:lnTo>
                    <a:lnTo>
                      <a:pt x="647" y="279"/>
                    </a:lnTo>
                    <a:lnTo>
                      <a:pt x="644" y="281"/>
                    </a:lnTo>
                    <a:lnTo>
                      <a:pt x="639" y="283"/>
                    </a:lnTo>
                    <a:lnTo>
                      <a:pt x="635" y="285"/>
                    </a:lnTo>
                    <a:lnTo>
                      <a:pt x="630" y="286"/>
                    </a:lnTo>
                    <a:lnTo>
                      <a:pt x="625" y="285"/>
                    </a:lnTo>
                    <a:lnTo>
                      <a:pt x="623" y="282"/>
                    </a:lnTo>
                    <a:lnTo>
                      <a:pt x="624" y="277"/>
                    </a:lnTo>
                    <a:lnTo>
                      <a:pt x="624" y="274"/>
                    </a:lnTo>
                    <a:lnTo>
                      <a:pt x="620" y="272"/>
                    </a:lnTo>
                    <a:lnTo>
                      <a:pt x="614" y="270"/>
                    </a:lnTo>
                    <a:lnTo>
                      <a:pt x="611" y="273"/>
                    </a:lnTo>
                    <a:lnTo>
                      <a:pt x="606" y="274"/>
                    </a:lnTo>
                    <a:lnTo>
                      <a:pt x="599" y="277"/>
                    </a:lnTo>
                    <a:lnTo>
                      <a:pt x="595" y="279"/>
                    </a:lnTo>
                    <a:lnTo>
                      <a:pt x="590" y="281"/>
                    </a:lnTo>
                    <a:lnTo>
                      <a:pt x="589" y="286"/>
                    </a:lnTo>
                    <a:lnTo>
                      <a:pt x="588" y="290"/>
                    </a:lnTo>
                    <a:lnTo>
                      <a:pt x="583" y="292"/>
                    </a:lnTo>
                    <a:lnTo>
                      <a:pt x="578" y="293"/>
                    </a:lnTo>
                    <a:lnTo>
                      <a:pt x="574" y="294"/>
                    </a:lnTo>
                    <a:lnTo>
                      <a:pt x="569" y="294"/>
                    </a:lnTo>
                    <a:lnTo>
                      <a:pt x="565" y="295"/>
                    </a:lnTo>
                    <a:lnTo>
                      <a:pt x="560" y="293"/>
                    </a:lnTo>
                    <a:lnTo>
                      <a:pt x="555" y="293"/>
                    </a:lnTo>
                    <a:lnTo>
                      <a:pt x="551" y="295"/>
                    </a:lnTo>
                    <a:lnTo>
                      <a:pt x="550" y="300"/>
                    </a:lnTo>
                    <a:lnTo>
                      <a:pt x="550" y="304"/>
                    </a:lnTo>
                    <a:lnTo>
                      <a:pt x="548" y="308"/>
                    </a:lnTo>
                    <a:lnTo>
                      <a:pt x="546" y="312"/>
                    </a:lnTo>
                    <a:lnTo>
                      <a:pt x="542" y="315"/>
                    </a:lnTo>
                    <a:lnTo>
                      <a:pt x="540" y="320"/>
                    </a:lnTo>
                    <a:lnTo>
                      <a:pt x="537" y="321"/>
                    </a:lnTo>
                    <a:lnTo>
                      <a:pt x="532" y="321"/>
                    </a:lnTo>
                    <a:lnTo>
                      <a:pt x="528" y="322"/>
                    </a:lnTo>
                    <a:lnTo>
                      <a:pt x="523" y="321"/>
                    </a:lnTo>
                    <a:lnTo>
                      <a:pt x="518" y="318"/>
                    </a:lnTo>
                    <a:lnTo>
                      <a:pt x="515" y="315"/>
                    </a:lnTo>
                    <a:lnTo>
                      <a:pt x="511" y="313"/>
                    </a:lnTo>
                    <a:lnTo>
                      <a:pt x="507" y="310"/>
                    </a:lnTo>
                    <a:lnTo>
                      <a:pt x="503" y="308"/>
                    </a:lnTo>
                    <a:lnTo>
                      <a:pt x="500" y="304"/>
                    </a:lnTo>
                    <a:lnTo>
                      <a:pt x="497" y="301"/>
                    </a:lnTo>
                    <a:lnTo>
                      <a:pt x="496" y="294"/>
                    </a:lnTo>
                    <a:lnTo>
                      <a:pt x="496" y="291"/>
                    </a:lnTo>
                    <a:lnTo>
                      <a:pt x="495" y="286"/>
                    </a:lnTo>
                    <a:lnTo>
                      <a:pt x="495" y="282"/>
                    </a:lnTo>
                    <a:lnTo>
                      <a:pt x="494" y="279"/>
                    </a:lnTo>
                    <a:lnTo>
                      <a:pt x="494" y="274"/>
                    </a:lnTo>
                    <a:lnTo>
                      <a:pt x="493" y="269"/>
                    </a:lnTo>
                    <a:lnTo>
                      <a:pt x="493" y="266"/>
                    </a:lnTo>
                    <a:lnTo>
                      <a:pt x="492" y="262"/>
                    </a:lnTo>
                    <a:lnTo>
                      <a:pt x="491" y="257"/>
                    </a:lnTo>
                    <a:lnTo>
                      <a:pt x="493" y="254"/>
                    </a:lnTo>
                    <a:lnTo>
                      <a:pt x="495" y="249"/>
                    </a:lnTo>
                    <a:lnTo>
                      <a:pt x="495" y="245"/>
                    </a:lnTo>
                    <a:lnTo>
                      <a:pt x="494" y="241"/>
                    </a:lnTo>
                    <a:lnTo>
                      <a:pt x="494" y="237"/>
                    </a:lnTo>
                    <a:lnTo>
                      <a:pt x="493" y="232"/>
                    </a:lnTo>
                    <a:lnTo>
                      <a:pt x="493" y="229"/>
                    </a:lnTo>
                    <a:lnTo>
                      <a:pt x="494" y="224"/>
                    </a:lnTo>
                    <a:lnTo>
                      <a:pt x="495" y="219"/>
                    </a:lnTo>
                    <a:lnTo>
                      <a:pt x="498" y="215"/>
                    </a:lnTo>
                    <a:lnTo>
                      <a:pt x="499" y="211"/>
                    </a:lnTo>
                    <a:lnTo>
                      <a:pt x="503" y="205"/>
                    </a:lnTo>
                    <a:lnTo>
                      <a:pt x="505" y="202"/>
                    </a:lnTo>
                    <a:lnTo>
                      <a:pt x="506" y="197"/>
                    </a:lnTo>
                    <a:lnTo>
                      <a:pt x="508" y="192"/>
                    </a:lnTo>
                    <a:lnTo>
                      <a:pt x="507" y="186"/>
                    </a:lnTo>
                    <a:lnTo>
                      <a:pt x="507" y="183"/>
                    </a:lnTo>
                    <a:lnTo>
                      <a:pt x="506" y="179"/>
                    </a:lnTo>
                    <a:lnTo>
                      <a:pt x="505" y="175"/>
                    </a:lnTo>
                    <a:lnTo>
                      <a:pt x="501" y="175"/>
                    </a:lnTo>
                    <a:lnTo>
                      <a:pt x="495" y="176"/>
                    </a:lnTo>
                    <a:lnTo>
                      <a:pt x="490" y="177"/>
                    </a:lnTo>
                    <a:lnTo>
                      <a:pt x="486" y="177"/>
                    </a:lnTo>
                    <a:lnTo>
                      <a:pt x="483" y="182"/>
                    </a:lnTo>
                    <a:lnTo>
                      <a:pt x="486" y="177"/>
                    </a:lnTo>
                    <a:lnTo>
                      <a:pt x="485" y="172"/>
                    </a:lnTo>
                    <a:lnTo>
                      <a:pt x="485" y="169"/>
                    </a:lnTo>
                    <a:lnTo>
                      <a:pt x="479" y="168"/>
                    </a:lnTo>
                    <a:lnTo>
                      <a:pt x="474" y="166"/>
                    </a:lnTo>
                    <a:lnTo>
                      <a:pt x="471" y="162"/>
                    </a:lnTo>
                    <a:lnTo>
                      <a:pt x="469" y="156"/>
                    </a:lnTo>
                    <a:lnTo>
                      <a:pt x="468" y="152"/>
                    </a:lnTo>
                    <a:lnTo>
                      <a:pt x="467" y="146"/>
                    </a:lnTo>
                    <a:lnTo>
                      <a:pt x="467" y="142"/>
                    </a:lnTo>
                    <a:lnTo>
                      <a:pt x="466" y="137"/>
                    </a:lnTo>
                    <a:lnTo>
                      <a:pt x="461" y="137"/>
                    </a:lnTo>
                    <a:lnTo>
                      <a:pt x="460" y="132"/>
                    </a:lnTo>
                    <a:lnTo>
                      <a:pt x="460" y="126"/>
                    </a:lnTo>
                    <a:lnTo>
                      <a:pt x="462" y="122"/>
                    </a:lnTo>
                    <a:lnTo>
                      <a:pt x="463" y="118"/>
                    </a:lnTo>
                    <a:lnTo>
                      <a:pt x="465" y="112"/>
                    </a:lnTo>
                    <a:lnTo>
                      <a:pt x="464" y="109"/>
                    </a:lnTo>
                    <a:lnTo>
                      <a:pt x="464" y="105"/>
                    </a:lnTo>
                    <a:lnTo>
                      <a:pt x="463" y="102"/>
                    </a:lnTo>
                    <a:lnTo>
                      <a:pt x="459" y="102"/>
                    </a:lnTo>
                    <a:lnTo>
                      <a:pt x="454" y="103"/>
                    </a:lnTo>
                    <a:lnTo>
                      <a:pt x="449" y="103"/>
                    </a:lnTo>
                    <a:lnTo>
                      <a:pt x="446" y="104"/>
                    </a:lnTo>
                    <a:lnTo>
                      <a:pt x="441" y="105"/>
                    </a:lnTo>
                    <a:lnTo>
                      <a:pt x="436" y="103"/>
                    </a:lnTo>
                    <a:lnTo>
                      <a:pt x="433" y="99"/>
                    </a:lnTo>
                    <a:lnTo>
                      <a:pt x="432" y="95"/>
                    </a:lnTo>
                    <a:lnTo>
                      <a:pt x="432" y="91"/>
                    </a:lnTo>
                    <a:lnTo>
                      <a:pt x="431" y="87"/>
                    </a:lnTo>
                    <a:lnTo>
                      <a:pt x="436" y="84"/>
                    </a:lnTo>
                    <a:lnTo>
                      <a:pt x="441" y="83"/>
                    </a:lnTo>
                    <a:lnTo>
                      <a:pt x="444" y="79"/>
                    </a:lnTo>
                    <a:lnTo>
                      <a:pt x="444" y="75"/>
                    </a:lnTo>
                    <a:lnTo>
                      <a:pt x="443" y="70"/>
                    </a:lnTo>
                    <a:lnTo>
                      <a:pt x="439" y="69"/>
                    </a:lnTo>
                    <a:lnTo>
                      <a:pt x="434" y="69"/>
                    </a:lnTo>
                    <a:lnTo>
                      <a:pt x="429" y="69"/>
                    </a:lnTo>
                    <a:lnTo>
                      <a:pt x="424" y="62"/>
                    </a:lnTo>
                    <a:lnTo>
                      <a:pt x="423" y="58"/>
                    </a:lnTo>
                    <a:lnTo>
                      <a:pt x="423" y="55"/>
                    </a:lnTo>
                    <a:lnTo>
                      <a:pt x="420" y="51"/>
                    </a:lnTo>
                    <a:lnTo>
                      <a:pt x="420" y="47"/>
                    </a:lnTo>
                    <a:lnTo>
                      <a:pt x="416" y="43"/>
                    </a:lnTo>
                    <a:lnTo>
                      <a:pt x="412" y="41"/>
                    </a:lnTo>
                    <a:lnTo>
                      <a:pt x="407" y="40"/>
                    </a:lnTo>
                    <a:lnTo>
                      <a:pt x="404" y="37"/>
                    </a:lnTo>
                    <a:lnTo>
                      <a:pt x="399" y="36"/>
                    </a:lnTo>
                    <a:lnTo>
                      <a:pt x="395" y="36"/>
                    </a:lnTo>
                    <a:lnTo>
                      <a:pt x="390" y="32"/>
                    </a:lnTo>
                    <a:lnTo>
                      <a:pt x="386" y="30"/>
                    </a:lnTo>
                    <a:lnTo>
                      <a:pt x="381" y="33"/>
                    </a:lnTo>
                    <a:lnTo>
                      <a:pt x="375" y="34"/>
                    </a:lnTo>
                    <a:lnTo>
                      <a:pt x="374" y="29"/>
                    </a:lnTo>
                    <a:lnTo>
                      <a:pt x="375" y="26"/>
                    </a:lnTo>
                    <a:lnTo>
                      <a:pt x="378" y="21"/>
                    </a:lnTo>
                    <a:lnTo>
                      <a:pt x="381" y="16"/>
                    </a:lnTo>
                    <a:lnTo>
                      <a:pt x="386" y="14"/>
                    </a:lnTo>
                    <a:lnTo>
                      <a:pt x="387" y="9"/>
                    </a:lnTo>
                    <a:lnTo>
                      <a:pt x="383" y="5"/>
                    </a:lnTo>
                    <a:lnTo>
                      <a:pt x="382" y="2"/>
                    </a:lnTo>
                    <a:lnTo>
                      <a:pt x="377" y="3"/>
                    </a:lnTo>
                    <a:lnTo>
                      <a:pt x="372" y="4"/>
                    </a:lnTo>
                    <a:lnTo>
                      <a:pt x="368" y="1"/>
                    </a:lnTo>
                    <a:lnTo>
                      <a:pt x="364" y="5"/>
                    </a:lnTo>
                    <a:lnTo>
                      <a:pt x="366" y="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49" name="Freeform 121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5497577" y="3519695"/>
                <a:ext cx="749776" cy="908027"/>
              </a:xfrm>
              <a:custGeom>
                <a:avLst/>
                <a:gdLst>
                  <a:gd name="T0" fmla="*/ 2147483647 w 605"/>
                  <a:gd name="T1" fmla="*/ 2147483647 h 768"/>
                  <a:gd name="T2" fmla="*/ 2147483647 w 605"/>
                  <a:gd name="T3" fmla="*/ 2147483647 h 768"/>
                  <a:gd name="T4" fmla="*/ 2147483647 w 605"/>
                  <a:gd name="T5" fmla="*/ 2147483647 h 768"/>
                  <a:gd name="T6" fmla="*/ 2147483647 w 605"/>
                  <a:gd name="T7" fmla="*/ 2147483647 h 768"/>
                  <a:gd name="T8" fmla="*/ 2147483647 w 605"/>
                  <a:gd name="T9" fmla="*/ 2147483647 h 768"/>
                  <a:gd name="T10" fmla="*/ 2147483647 w 605"/>
                  <a:gd name="T11" fmla="*/ 2147483647 h 768"/>
                  <a:gd name="T12" fmla="*/ 2147483647 w 605"/>
                  <a:gd name="T13" fmla="*/ 2147483647 h 768"/>
                  <a:gd name="T14" fmla="*/ 2147483647 w 605"/>
                  <a:gd name="T15" fmla="*/ 2147483647 h 768"/>
                  <a:gd name="T16" fmla="*/ 2147483647 w 605"/>
                  <a:gd name="T17" fmla="*/ 2147483647 h 768"/>
                  <a:gd name="T18" fmla="*/ 2147483647 w 605"/>
                  <a:gd name="T19" fmla="*/ 2147483647 h 768"/>
                  <a:gd name="T20" fmla="*/ 2147483647 w 605"/>
                  <a:gd name="T21" fmla="*/ 2147483647 h 768"/>
                  <a:gd name="T22" fmla="*/ 2147483647 w 605"/>
                  <a:gd name="T23" fmla="*/ 2147483647 h 768"/>
                  <a:gd name="T24" fmla="*/ 2147483647 w 605"/>
                  <a:gd name="T25" fmla="*/ 2147483647 h 768"/>
                  <a:gd name="T26" fmla="*/ 2147483647 w 605"/>
                  <a:gd name="T27" fmla="*/ 2147483647 h 768"/>
                  <a:gd name="T28" fmla="*/ 2147483647 w 605"/>
                  <a:gd name="T29" fmla="*/ 2147483647 h 768"/>
                  <a:gd name="T30" fmla="*/ 2147483647 w 605"/>
                  <a:gd name="T31" fmla="*/ 2147483647 h 768"/>
                  <a:gd name="T32" fmla="*/ 2147483647 w 605"/>
                  <a:gd name="T33" fmla="*/ 2147483647 h 768"/>
                  <a:gd name="T34" fmla="*/ 2147483647 w 605"/>
                  <a:gd name="T35" fmla="*/ 2147483647 h 768"/>
                  <a:gd name="T36" fmla="*/ 2147483647 w 605"/>
                  <a:gd name="T37" fmla="*/ 2147483647 h 768"/>
                  <a:gd name="T38" fmla="*/ 2147483647 w 605"/>
                  <a:gd name="T39" fmla="*/ 2147483647 h 768"/>
                  <a:gd name="T40" fmla="*/ 2147483647 w 605"/>
                  <a:gd name="T41" fmla="*/ 2147483647 h 768"/>
                  <a:gd name="T42" fmla="*/ 2147483647 w 605"/>
                  <a:gd name="T43" fmla="*/ 2147483647 h 768"/>
                  <a:gd name="T44" fmla="*/ 2147483647 w 605"/>
                  <a:gd name="T45" fmla="*/ 2147483647 h 768"/>
                  <a:gd name="T46" fmla="*/ 2147483647 w 605"/>
                  <a:gd name="T47" fmla="*/ 2147483647 h 768"/>
                  <a:gd name="T48" fmla="*/ 2147483647 w 605"/>
                  <a:gd name="T49" fmla="*/ 2147483647 h 768"/>
                  <a:gd name="T50" fmla="*/ 2147483647 w 605"/>
                  <a:gd name="T51" fmla="*/ 2147483647 h 768"/>
                  <a:gd name="T52" fmla="*/ 2147483647 w 605"/>
                  <a:gd name="T53" fmla="*/ 2147483647 h 768"/>
                  <a:gd name="T54" fmla="*/ 2147483647 w 605"/>
                  <a:gd name="T55" fmla="*/ 2147483647 h 768"/>
                  <a:gd name="T56" fmla="*/ 2147483647 w 605"/>
                  <a:gd name="T57" fmla="*/ 2147483647 h 768"/>
                  <a:gd name="T58" fmla="*/ 2147483647 w 605"/>
                  <a:gd name="T59" fmla="*/ 2147483647 h 768"/>
                  <a:gd name="T60" fmla="*/ 2147483647 w 605"/>
                  <a:gd name="T61" fmla="*/ 2147483647 h 768"/>
                  <a:gd name="T62" fmla="*/ 2147483647 w 605"/>
                  <a:gd name="T63" fmla="*/ 2147483647 h 768"/>
                  <a:gd name="T64" fmla="*/ 2147483647 w 605"/>
                  <a:gd name="T65" fmla="*/ 2147483647 h 768"/>
                  <a:gd name="T66" fmla="*/ 2147483647 w 605"/>
                  <a:gd name="T67" fmla="*/ 2147483647 h 768"/>
                  <a:gd name="T68" fmla="*/ 2147483647 w 605"/>
                  <a:gd name="T69" fmla="*/ 2147483647 h 768"/>
                  <a:gd name="T70" fmla="*/ 2147483647 w 605"/>
                  <a:gd name="T71" fmla="*/ 2147483647 h 768"/>
                  <a:gd name="T72" fmla="*/ 2147483647 w 605"/>
                  <a:gd name="T73" fmla="*/ 2147483647 h 768"/>
                  <a:gd name="T74" fmla="*/ 2147483647 w 605"/>
                  <a:gd name="T75" fmla="*/ 2147483647 h 768"/>
                  <a:gd name="T76" fmla="*/ 2147483647 w 605"/>
                  <a:gd name="T77" fmla="*/ 2147483647 h 768"/>
                  <a:gd name="T78" fmla="*/ 2147483647 w 605"/>
                  <a:gd name="T79" fmla="*/ 2147483647 h 768"/>
                  <a:gd name="T80" fmla="*/ 2147483647 w 605"/>
                  <a:gd name="T81" fmla="*/ 2147483647 h 768"/>
                  <a:gd name="T82" fmla="*/ 2147483647 w 605"/>
                  <a:gd name="T83" fmla="*/ 2147483647 h 768"/>
                  <a:gd name="T84" fmla="*/ 2147483647 w 605"/>
                  <a:gd name="T85" fmla="*/ 2147483647 h 768"/>
                  <a:gd name="T86" fmla="*/ 2147483647 w 605"/>
                  <a:gd name="T87" fmla="*/ 2147483647 h 768"/>
                  <a:gd name="T88" fmla="*/ 2147483647 w 605"/>
                  <a:gd name="T89" fmla="*/ 2147483647 h 768"/>
                  <a:gd name="T90" fmla="*/ 2147483647 w 605"/>
                  <a:gd name="T91" fmla="*/ 2147483647 h 768"/>
                  <a:gd name="T92" fmla="*/ 2147483647 w 605"/>
                  <a:gd name="T93" fmla="*/ 2147483647 h 768"/>
                  <a:gd name="T94" fmla="*/ 2147483647 w 605"/>
                  <a:gd name="T95" fmla="*/ 2147483647 h 768"/>
                  <a:gd name="T96" fmla="*/ 2147483647 w 605"/>
                  <a:gd name="T97" fmla="*/ 2147483647 h 768"/>
                  <a:gd name="T98" fmla="*/ 2147483647 w 605"/>
                  <a:gd name="T99" fmla="*/ 2147483647 h 768"/>
                  <a:gd name="T100" fmla="*/ 2147483647 w 605"/>
                  <a:gd name="T101" fmla="*/ 2147483647 h 768"/>
                  <a:gd name="T102" fmla="*/ 2147483647 w 605"/>
                  <a:gd name="T103" fmla="*/ 2147483647 h 768"/>
                  <a:gd name="T104" fmla="*/ 2147483647 w 605"/>
                  <a:gd name="T105" fmla="*/ 2147483647 h 768"/>
                  <a:gd name="T106" fmla="*/ 2147483647 w 605"/>
                  <a:gd name="T107" fmla="*/ 2147483647 h 768"/>
                  <a:gd name="T108" fmla="*/ 2147483647 w 605"/>
                  <a:gd name="T109" fmla="*/ 2147483647 h 768"/>
                  <a:gd name="T110" fmla="*/ 2147483647 w 605"/>
                  <a:gd name="T111" fmla="*/ 2147483647 h 768"/>
                  <a:gd name="T112" fmla="*/ 2147483647 w 605"/>
                  <a:gd name="T113" fmla="*/ 2147483647 h 768"/>
                  <a:gd name="T114" fmla="*/ 2147483647 w 605"/>
                  <a:gd name="T115" fmla="*/ 2147483647 h 768"/>
                  <a:gd name="T116" fmla="*/ 2147483647 w 605"/>
                  <a:gd name="T117" fmla="*/ 2147483647 h 768"/>
                  <a:gd name="T118" fmla="*/ 2147483647 w 605"/>
                  <a:gd name="T119" fmla="*/ 2147483647 h 768"/>
                  <a:gd name="T120" fmla="*/ 2147483647 w 605"/>
                  <a:gd name="T121" fmla="*/ 2147483647 h 76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05"/>
                  <a:gd name="T184" fmla="*/ 0 h 768"/>
                  <a:gd name="T185" fmla="*/ 605 w 605"/>
                  <a:gd name="T186" fmla="*/ 768 h 76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05" h="768">
                    <a:moveTo>
                      <a:pt x="306" y="0"/>
                    </a:moveTo>
                    <a:lnTo>
                      <a:pt x="302" y="3"/>
                    </a:lnTo>
                    <a:lnTo>
                      <a:pt x="297" y="7"/>
                    </a:lnTo>
                    <a:lnTo>
                      <a:pt x="292" y="7"/>
                    </a:lnTo>
                    <a:lnTo>
                      <a:pt x="285" y="8"/>
                    </a:lnTo>
                    <a:lnTo>
                      <a:pt x="280" y="10"/>
                    </a:lnTo>
                    <a:lnTo>
                      <a:pt x="276" y="10"/>
                    </a:lnTo>
                    <a:lnTo>
                      <a:pt x="270" y="11"/>
                    </a:lnTo>
                    <a:lnTo>
                      <a:pt x="266" y="12"/>
                    </a:lnTo>
                    <a:lnTo>
                      <a:pt x="261" y="12"/>
                    </a:lnTo>
                    <a:lnTo>
                      <a:pt x="258" y="15"/>
                    </a:lnTo>
                    <a:lnTo>
                      <a:pt x="252" y="16"/>
                    </a:lnTo>
                    <a:lnTo>
                      <a:pt x="247" y="18"/>
                    </a:lnTo>
                    <a:lnTo>
                      <a:pt x="243" y="21"/>
                    </a:lnTo>
                    <a:lnTo>
                      <a:pt x="242" y="27"/>
                    </a:lnTo>
                    <a:lnTo>
                      <a:pt x="243" y="30"/>
                    </a:lnTo>
                    <a:lnTo>
                      <a:pt x="243" y="35"/>
                    </a:lnTo>
                    <a:lnTo>
                      <a:pt x="244" y="40"/>
                    </a:lnTo>
                    <a:lnTo>
                      <a:pt x="244" y="43"/>
                    </a:lnTo>
                    <a:lnTo>
                      <a:pt x="245" y="47"/>
                    </a:lnTo>
                    <a:lnTo>
                      <a:pt x="247" y="52"/>
                    </a:lnTo>
                    <a:lnTo>
                      <a:pt x="250" y="57"/>
                    </a:lnTo>
                    <a:lnTo>
                      <a:pt x="251" y="62"/>
                    </a:lnTo>
                    <a:lnTo>
                      <a:pt x="253" y="66"/>
                    </a:lnTo>
                    <a:lnTo>
                      <a:pt x="257" y="69"/>
                    </a:lnTo>
                    <a:lnTo>
                      <a:pt x="262" y="74"/>
                    </a:lnTo>
                    <a:lnTo>
                      <a:pt x="268" y="75"/>
                    </a:lnTo>
                    <a:lnTo>
                      <a:pt x="270" y="78"/>
                    </a:lnTo>
                    <a:lnTo>
                      <a:pt x="276" y="82"/>
                    </a:lnTo>
                    <a:lnTo>
                      <a:pt x="278" y="85"/>
                    </a:lnTo>
                    <a:lnTo>
                      <a:pt x="281" y="89"/>
                    </a:lnTo>
                    <a:lnTo>
                      <a:pt x="283" y="94"/>
                    </a:lnTo>
                    <a:lnTo>
                      <a:pt x="284" y="100"/>
                    </a:lnTo>
                    <a:lnTo>
                      <a:pt x="285" y="105"/>
                    </a:lnTo>
                    <a:lnTo>
                      <a:pt x="284" y="110"/>
                    </a:lnTo>
                    <a:lnTo>
                      <a:pt x="280" y="113"/>
                    </a:lnTo>
                    <a:lnTo>
                      <a:pt x="275" y="116"/>
                    </a:lnTo>
                    <a:lnTo>
                      <a:pt x="271" y="117"/>
                    </a:lnTo>
                    <a:lnTo>
                      <a:pt x="266" y="120"/>
                    </a:lnTo>
                    <a:lnTo>
                      <a:pt x="261" y="120"/>
                    </a:lnTo>
                    <a:lnTo>
                      <a:pt x="255" y="121"/>
                    </a:lnTo>
                    <a:lnTo>
                      <a:pt x="247" y="122"/>
                    </a:lnTo>
                    <a:lnTo>
                      <a:pt x="242" y="125"/>
                    </a:lnTo>
                    <a:lnTo>
                      <a:pt x="238" y="125"/>
                    </a:lnTo>
                    <a:lnTo>
                      <a:pt x="234" y="128"/>
                    </a:lnTo>
                    <a:lnTo>
                      <a:pt x="230" y="129"/>
                    </a:lnTo>
                    <a:lnTo>
                      <a:pt x="222" y="132"/>
                    </a:lnTo>
                    <a:lnTo>
                      <a:pt x="217" y="134"/>
                    </a:lnTo>
                    <a:lnTo>
                      <a:pt x="214" y="138"/>
                    </a:lnTo>
                    <a:lnTo>
                      <a:pt x="211" y="143"/>
                    </a:lnTo>
                    <a:lnTo>
                      <a:pt x="212" y="146"/>
                    </a:lnTo>
                    <a:lnTo>
                      <a:pt x="217" y="150"/>
                    </a:lnTo>
                    <a:lnTo>
                      <a:pt x="220" y="154"/>
                    </a:lnTo>
                    <a:lnTo>
                      <a:pt x="220" y="158"/>
                    </a:lnTo>
                    <a:lnTo>
                      <a:pt x="224" y="162"/>
                    </a:lnTo>
                    <a:lnTo>
                      <a:pt x="222" y="174"/>
                    </a:lnTo>
                    <a:lnTo>
                      <a:pt x="223" y="181"/>
                    </a:lnTo>
                    <a:lnTo>
                      <a:pt x="226" y="187"/>
                    </a:lnTo>
                    <a:lnTo>
                      <a:pt x="229" y="192"/>
                    </a:lnTo>
                    <a:lnTo>
                      <a:pt x="234" y="195"/>
                    </a:lnTo>
                    <a:lnTo>
                      <a:pt x="234" y="199"/>
                    </a:lnTo>
                    <a:lnTo>
                      <a:pt x="240" y="192"/>
                    </a:lnTo>
                    <a:lnTo>
                      <a:pt x="243" y="198"/>
                    </a:lnTo>
                    <a:lnTo>
                      <a:pt x="246" y="203"/>
                    </a:lnTo>
                    <a:lnTo>
                      <a:pt x="249" y="207"/>
                    </a:lnTo>
                    <a:lnTo>
                      <a:pt x="252" y="210"/>
                    </a:lnTo>
                    <a:lnTo>
                      <a:pt x="254" y="215"/>
                    </a:lnTo>
                    <a:lnTo>
                      <a:pt x="262" y="215"/>
                    </a:lnTo>
                    <a:lnTo>
                      <a:pt x="265" y="219"/>
                    </a:lnTo>
                    <a:lnTo>
                      <a:pt x="271" y="242"/>
                    </a:lnTo>
                    <a:lnTo>
                      <a:pt x="255" y="225"/>
                    </a:lnTo>
                    <a:lnTo>
                      <a:pt x="264" y="231"/>
                    </a:lnTo>
                    <a:lnTo>
                      <a:pt x="270" y="237"/>
                    </a:lnTo>
                    <a:lnTo>
                      <a:pt x="279" y="246"/>
                    </a:lnTo>
                    <a:lnTo>
                      <a:pt x="284" y="244"/>
                    </a:lnTo>
                    <a:lnTo>
                      <a:pt x="297" y="244"/>
                    </a:lnTo>
                    <a:lnTo>
                      <a:pt x="298" y="255"/>
                    </a:lnTo>
                    <a:lnTo>
                      <a:pt x="306" y="256"/>
                    </a:lnTo>
                    <a:lnTo>
                      <a:pt x="304" y="252"/>
                    </a:lnTo>
                    <a:lnTo>
                      <a:pt x="313" y="255"/>
                    </a:lnTo>
                    <a:lnTo>
                      <a:pt x="314" y="263"/>
                    </a:lnTo>
                    <a:lnTo>
                      <a:pt x="335" y="262"/>
                    </a:lnTo>
                    <a:lnTo>
                      <a:pt x="333" y="267"/>
                    </a:lnTo>
                    <a:lnTo>
                      <a:pt x="329" y="269"/>
                    </a:lnTo>
                    <a:lnTo>
                      <a:pt x="328" y="273"/>
                    </a:lnTo>
                    <a:lnTo>
                      <a:pt x="323" y="278"/>
                    </a:lnTo>
                    <a:lnTo>
                      <a:pt x="322" y="282"/>
                    </a:lnTo>
                    <a:lnTo>
                      <a:pt x="319" y="287"/>
                    </a:lnTo>
                    <a:lnTo>
                      <a:pt x="316" y="290"/>
                    </a:lnTo>
                    <a:lnTo>
                      <a:pt x="310" y="292"/>
                    </a:lnTo>
                    <a:lnTo>
                      <a:pt x="304" y="293"/>
                    </a:lnTo>
                    <a:lnTo>
                      <a:pt x="299" y="294"/>
                    </a:lnTo>
                    <a:lnTo>
                      <a:pt x="291" y="296"/>
                    </a:lnTo>
                    <a:lnTo>
                      <a:pt x="288" y="301"/>
                    </a:lnTo>
                    <a:lnTo>
                      <a:pt x="284" y="310"/>
                    </a:lnTo>
                    <a:lnTo>
                      <a:pt x="280" y="311"/>
                    </a:lnTo>
                    <a:lnTo>
                      <a:pt x="278" y="317"/>
                    </a:lnTo>
                    <a:lnTo>
                      <a:pt x="277" y="321"/>
                    </a:lnTo>
                    <a:lnTo>
                      <a:pt x="274" y="324"/>
                    </a:lnTo>
                    <a:lnTo>
                      <a:pt x="272" y="332"/>
                    </a:lnTo>
                    <a:lnTo>
                      <a:pt x="266" y="335"/>
                    </a:lnTo>
                    <a:lnTo>
                      <a:pt x="264" y="339"/>
                    </a:lnTo>
                    <a:lnTo>
                      <a:pt x="261" y="345"/>
                    </a:lnTo>
                    <a:lnTo>
                      <a:pt x="259" y="350"/>
                    </a:lnTo>
                    <a:lnTo>
                      <a:pt x="254" y="352"/>
                    </a:lnTo>
                    <a:lnTo>
                      <a:pt x="252" y="357"/>
                    </a:lnTo>
                    <a:lnTo>
                      <a:pt x="248" y="363"/>
                    </a:lnTo>
                    <a:lnTo>
                      <a:pt x="245" y="368"/>
                    </a:lnTo>
                    <a:lnTo>
                      <a:pt x="243" y="375"/>
                    </a:lnTo>
                    <a:lnTo>
                      <a:pt x="240" y="379"/>
                    </a:lnTo>
                    <a:lnTo>
                      <a:pt x="237" y="380"/>
                    </a:lnTo>
                    <a:lnTo>
                      <a:pt x="235" y="385"/>
                    </a:lnTo>
                    <a:lnTo>
                      <a:pt x="231" y="388"/>
                    </a:lnTo>
                    <a:lnTo>
                      <a:pt x="226" y="390"/>
                    </a:lnTo>
                    <a:lnTo>
                      <a:pt x="225" y="395"/>
                    </a:lnTo>
                    <a:lnTo>
                      <a:pt x="226" y="399"/>
                    </a:lnTo>
                    <a:lnTo>
                      <a:pt x="228" y="403"/>
                    </a:lnTo>
                    <a:lnTo>
                      <a:pt x="233" y="405"/>
                    </a:lnTo>
                    <a:lnTo>
                      <a:pt x="238" y="410"/>
                    </a:lnTo>
                    <a:lnTo>
                      <a:pt x="242" y="415"/>
                    </a:lnTo>
                    <a:lnTo>
                      <a:pt x="243" y="418"/>
                    </a:lnTo>
                    <a:lnTo>
                      <a:pt x="249" y="420"/>
                    </a:lnTo>
                    <a:lnTo>
                      <a:pt x="249" y="424"/>
                    </a:lnTo>
                    <a:lnTo>
                      <a:pt x="250" y="429"/>
                    </a:lnTo>
                    <a:lnTo>
                      <a:pt x="253" y="433"/>
                    </a:lnTo>
                    <a:lnTo>
                      <a:pt x="254" y="438"/>
                    </a:lnTo>
                    <a:lnTo>
                      <a:pt x="255" y="444"/>
                    </a:lnTo>
                    <a:lnTo>
                      <a:pt x="256" y="449"/>
                    </a:lnTo>
                    <a:lnTo>
                      <a:pt x="253" y="453"/>
                    </a:lnTo>
                    <a:lnTo>
                      <a:pt x="249" y="460"/>
                    </a:lnTo>
                    <a:lnTo>
                      <a:pt x="250" y="465"/>
                    </a:lnTo>
                    <a:lnTo>
                      <a:pt x="246" y="465"/>
                    </a:lnTo>
                    <a:lnTo>
                      <a:pt x="244" y="469"/>
                    </a:lnTo>
                    <a:lnTo>
                      <a:pt x="243" y="474"/>
                    </a:lnTo>
                    <a:lnTo>
                      <a:pt x="238" y="477"/>
                    </a:lnTo>
                    <a:lnTo>
                      <a:pt x="239" y="481"/>
                    </a:lnTo>
                    <a:lnTo>
                      <a:pt x="234" y="483"/>
                    </a:lnTo>
                    <a:lnTo>
                      <a:pt x="229" y="487"/>
                    </a:lnTo>
                    <a:lnTo>
                      <a:pt x="225" y="487"/>
                    </a:lnTo>
                    <a:lnTo>
                      <a:pt x="221" y="490"/>
                    </a:lnTo>
                    <a:lnTo>
                      <a:pt x="217" y="494"/>
                    </a:lnTo>
                    <a:lnTo>
                      <a:pt x="211" y="494"/>
                    </a:lnTo>
                    <a:lnTo>
                      <a:pt x="207" y="497"/>
                    </a:lnTo>
                    <a:lnTo>
                      <a:pt x="203" y="497"/>
                    </a:lnTo>
                    <a:lnTo>
                      <a:pt x="195" y="500"/>
                    </a:lnTo>
                    <a:lnTo>
                      <a:pt x="191" y="505"/>
                    </a:lnTo>
                    <a:lnTo>
                      <a:pt x="186" y="506"/>
                    </a:lnTo>
                    <a:lnTo>
                      <a:pt x="183" y="510"/>
                    </a:lnTo>
                    <a:lnTo>
                      <a:pt x="181" y="515"/>
                    </a:lnTo>
                    <a:lnTo>
                      <a:pt x="176" y="517"/>
                    </a:lnTo>
                    <a:lnTo>
                      <a:pt x="171" y="518"/>
                    </a:lnTo>
                    <a:lnTo>
                      <a:pt x="170" y="522"/>
                    </a:lnTo>
                    <a:lnTo>
                      <a:pt x="168" y="526"/>
                    </a:lnTo>
                    <a:lnTo>
                      <a:pt x="166" y="532"/>
                    </a:lnTo>
                    <a:lnTo>
                      <a:pt x="164" y="537"/>
                    </a:lnTo>
                    <a:lnTo>
                      <a:pt x="163" y="540"/>
                    </a:lnTo>
                    <a:lnTo>
                      <a:pt x="164" y="545"/>
                    </a:lnTo>
                    <a:lnTo>
                      <a:pt x="164" y="549"/>
                    </a:lnTo>
                    <a:lnTo>
                      <a:pt x="159" y="553"/>
                    </a:lnTo>
                    <a:lnTo>
                      <a:pt x="155" y="553"/>
                    </a:lnTo>
                    <a:lnTo>
                      <a:pt x="151" y="554"/>
                    </a:lnTo>
                    <a:lnTo>
                      <a:pt x="147" y="554"/>
                    </a:lnTo>
                    <a:lnTo>
                      <a:pt x="145" y="558"/>
                    </a:lnTo>
                    <a:lnTo>
                      <a:pt x="139" y="560"/>
                    </a:lnTo>
                    <a:lnTo>
                      <a:pt x="138" y="566"/>
                    </a:lnTo>
                    <a:lnTo>
                      <a:pt x="133" y="568"/>
                    </a:lnTo>
                    <a:lnTo>
                      <a:pt x="130" y="571"/>
                    </a:lnTo>
                    <a:lnTo>
                      <a:pt x="127" y="576"/>
                    </a:lnTo>
                    <a:lnTo>
                      <a:pt x="122" y="577"/>
                    </a:lnTo>
                    <a:lnTo>
                      <a:pt x="118" y="580"/>
                    </a:lnTo>
                    <a:lnTo>
                      <a:pt x="114" y="580"/>
                    </a:lnTo>
                    <a:lnTo>
                      <a:pt x="109" y="581"/>
                    </a:lnTo>
                    <a:lnTo>
                      <a:pt x="104" y="581"/>
                    </a:lnTo>
                    <a:lnTo>
                      <a:pt x="99" y="582"/>
                    </a:lnTo>
                    <a:lnTo>
                      <a:pt x="92" y="585"/>
                    </a:lnTo>
                    <a:lnTo>
                      <a:pt x="88" y="586"/>
                    </a:lnTo>
                    <a:lnTo>
                      <a:pt x="82" y="586"/>
                    </a:lnTo>
                    <a:lnTo>
                      <a:pt x="75" y="587"/>
                    </a:lnTo>
                    <a:lnTo>
                      <a:pt x="72" y="591"/>
                    </a:lnTo>
                    <a:lnTo>
                      <a:pt x="70" y="594"/>
                    </a:lnTo>
                    <a:lnTo>
                      <a:pt x="65" y="599"/>
                    </a:lnTo>
                    <a:lnTo>
                      <a:pt x="63" y="603"/>
                    </a:lnTo>
                    <a:lnTo>
                      <a:pt x="58" y="604"/>
                    </a:lnTo>
                    <a:lnTo>
                      <a:pt x="55" y="606"/>
                    </a:lnTo>
                    <a:lnTo>
                      <a:pt x="50" y="607"/>
                    </a:lnTo>
                    <a:lnTo>
                      <a:pt x="46" y="607"/>
                    </a:lnTo>
                    <a:lnTo>
                      <a:pt x="39" y="610"/>
                    </a:lnTo>
                    <a:lnTo>
                      <a:pt x="35" y="614"/>
                    </a:lnTo>
                    <a:lnTo>
                      <a:pt x="31" y="614"/>
                    </a:lnTo>
                    <a:lnTo>
                      <a:pt x="25" y="615"/>
                    </a:lnTo>
                    <a:lnTo>
                      <a:pt x="21" y="616"/>
                    </a:lnTo>
                    <a:lnTo>
                      <a:pt x="16" y="616"/>
                    </a:lnTo>
                    <a:lnTo>
                      <a:pt x="9" y="619"/>
                    </a:lnTo>
                    <a:lnTo>
                      <a:pt x="4" y="623"/>
                    </a:lnTo>
                    <a:lnTo>
                      <a:pt x="0" y="625"/>
                    </a:lnTo>
                    <a:lnTo>
                      <a:pt x="3" y="629"/>
                    </a:lnTo>
                    <a:lnTo>
                      <a:pt x="7" y="629"/>
                    </a:lnTo>
                    <a:lnTo>
                      <a:pt x="13" y="630"/>
                    </a:lnTo>
                    <a:lnTo>
                      <a:pt x="17" y="629"/>
                    </a:lnTo>
                    <a:lnTo>
                      <a:pt x="23" y="631"/>
                    </a:lnTo>
                    <a:lnTo>
                      <a:pt x="23" y="635"/>
                    </a:lnTo>
                    <a:lnTo>
                      <a:pt x="21" y="639"/>
                    </a:lnTo>
                    <a:lnTo>
                      <a:pt x="17" y="643"/>
                    </a:lnTo>
                    <a:lnTo>
                      <a:pt x="13" y="647"/>
                    </a:lnTo>
                    <a:lnTo>
                      <a:pt x="8" y="649"/>
                    </a:lnTo>
                    <a:lnTo>
                      <a:pt x="7" y="654"/>
                    </a:lnTo>
                    <a:lnTo>
                      <a:pt x="9" y="659"/>
                    </a:lnTo>
                    <a:lnTo>
                      <a:pt x="14" y="658"/>
                    </a:lnTo>
                    <a:lnTo>
                      <a:pt x="20" y="661"/>
                    </a:lnTo>
                    <a:lnTo>
                      <a:pt x="24" y="663"/>
                    </a:lnTo>
                    <a:lnTo>
                      <a:pt x="30" y="667"/>
                    </a:lnTo>
                    <a:lnTo>
                      <a:pt x="30" y="671"/>
                    </a:lnTo>
                    <a:lnTo>
                      <a:pt x="31" y="677"/>
                    </a:lnTo>
                    <a:lnTo>
                      <a:pt x="29" y="681"/>
                    </a:lnTo>
                    <a:lnTo>
                      <a:pt x="30" y="687"/>
                    </a:lnTo>
                    <a:lnTo>
                      <a:pt x="35" y="690"/>
                    </a:lnTo>
                    <a:lnTo>
                      <a:pt x="39" y="694"/>
                    </a:lnTo>
                    <a:lnTo>
                      <a:pt x="34" y="700"/>
                    </a:lnTo>
                    <a:lnTo>
                      <a:pt x="33" y="705"/>
                    </a:lnTo>
                    <a:lnTo>
                      <a:pt x="29" y="712"/>
                    </a:lnTo>
                    <a:lnTo>
                      <a:pt x="25" y="714"/>
                    </a:lnTo>
                    <a:lnTo>
                      <a:pt x="19" y="719"/>
                    </a:lnTo>
                    <a:lnTo>
                      <a:pt x="20" y="723"/>
                    </a:lnTo>
                    <a:lnTo>
                      <a:pt x="16" y="723"/>
                    </a:lnTo>
                    <a:lnTo>
                      <a:pt x="14" y="729"/>
                    </a:lnTo>
                    <a:lnTo>
                      <a:pt x="12" y="734"/>
                    </a:lnTo>
                    <a:lnTo>
                      <a:pt x="13" y="737"/>
                    </a:lnTo>
                    <a:lnTo>
                      <a:pt x="18" y="739"/>
                    </a:lnTo>
                    <a:lnTo>
                      <a:pt x="22" y="739"/>
                    </a:lnTo>
                    <a:lnTo>
                      <a:pt x="29" y="742"/>
                    </a:lnTo>
                    <a:lnTo>
                      <a:pt x="31" y="746"/>
                    </a:lnTo>
                    <a:lnTo>
                      <a:pt x="32" y="750"/>
                    </a:lnTo>
                    <a:lnTo>
                      <a:pt x="34" y="754"/>
                    </a:lnTo>
                    <a:lnTo>
                      <a:pt x="39" y="756"/>
                    </a:lnTo>
                    <a:lnTo>
                      <a:pt x="44" y="759"/>
                    </a:lnTo>
                    <a:lnTo>
                      <a:pt x="51" y="763"/>
                    </a:lnTo>
                    <a:lnTo>
                      <a:pt x="53" y="767"/>
                    </a:lnTo>
                    <a:lnTo>
                      <a:pt x="58" y="766"/>
                    </a:lnTo>
                    <a:lnTo>
                      <a:pt x="62" y="766"/>
                    </a:lnTo>
                    <a:lnTo>
                      <a:pt x="67" y="763"/>
                    </a:lnTo>
                    <a:lnTo>
                      <a:pt x="71" y="764"/>
                    </a:lnTo>
                    <a:lnTo>
                      <a:pt x="76" y="765"/>
                    </a:lnTo>
                    <a:lnTo>
                      <a:pt x="80" y="767"/>
                    </a:lnTo>
                    <a:lnTo>
                      <a:pt x="88" y="768"/>
                    </a:lnTo>
                    <a:lnTo>
                      <a:pt x="94" y="767"/>
                    </a:lnTo>
                    <a:lnTo>
                      <a:pt x="98" y="767"/>
                    </a:lnTo>
                    <a:lnTo>
                      <a:pt x="102" y="766"/>
                    </a:lnTo>
                    <a:lnTo>
                      <a:pt x="106" y="764"/>
                    </a:lnTo>
                    <a:lnTo>
                      <a:pt x="112" y="763"/>
                    </a:lnTo>
                    <a:lnTo>
                      <a:pt x="116" y="762"/>
                    </a:lnTo>
                    <a:lnTo>
                      <a:pt x="121" y="762"/>
                    </a:lnTo>
                    <a:lnTo>
                      <a:pt x="125" y="761"/>
                    </a:lnTo>
                    <a:lnTo>
                      <a:pt x="133" y="757"/>
                    </a:lnTo>
                    <a:lnTo>
                      <a:pt x="137" y="756"/>
                    </a:lnTo>
                    <a:lnTo>
                      <a:pt x="144" y="756"/>
                    </a:lnTo>
                    <a:lnTo>
                      <a:pt x="149" y="755"/>
                    </a:lnTo>
                    <a:lnTo>
                      <a:pt x="154" y="754"/>
                    </a:lnTo>
                    <a:lnTo>
                      <a:pt x="158" y="754"/>
                    </a:lnTo>
                    <a:lnTo>
                      <a:pt x="163" y="753"/>
                    </a:lnTo>
                    <a:lnTo>
                      <a:pt x="167" y="752"/>
                    </a:lnTo>
                    <a:lnTo>
                      <a:pt x="173" y="751"/>
                    </a:lnTo>
                    <a:lnTo>
                      <a:pt x="177" y="750"/>
                    </a:lnTo>
                    <a:lnTo>
                      <a:pt x="181" y="748"/>
                    </a:lnTo>
                    <a:lnTo>
                      <a:pt x="185" y="747"/>
                    </a:lnTo>
                    <a:lnTo>
                      <a:pt x="191" y="746"/>
                    </a:lnTo>
                    <a:lnTo>
                      <a:pt x="194" y="744"/>
                    </a:lnTo>
                    <a:lnTo>
                      <a:pt x="199" y="738"/>
                    </a:lnTo>
                    <a:lnTo>
                      <a:pt x="200" y="734"/>
                    </a:lnTo>
                    <a:lnTo>
                      <a:pt x="205" y="731"/>
                    </a:lnTo>
                    <a:lnTo>
                      <a:pt x="212" y="725"/>
                    </a:lnTo>
                    <a:lnTo>
                      <a:pt x="216" y="723"/>
                    </a:lnTo>
                    <a:lnTo>
                      <a:pt x="220" y="720"/>
                    </a:lnTo>
                    <a:lnTo>
                      <a:pt x="224" y="718"/>
                    </a:lnTo>
                    <a:lnTo>
                      <a:pt x="232" y="715"/>
                    </a:lnTo>
                    <a:lnTo>
                      <a:pt x="238" y="712"/>
                    </a:lnTo>
                    <a:lnTo>
                      <a:pt x="242" y="711"/>
                    </a:lnTo>
                    <a:lnTo>
                      <a:pt x="250" y="705"/>
                    </a:lnTo>
                    <a:lnTo>
                      <a:pt x="254" y="703"/>
                    </a:lnTo>
                    <a:lnTo>
                      <a:pt x="258" y="699"/>
                    </a:lnTo>
                    <a:lnTo>
                      <a:pt x="262" y="695"/>
                    </a:lnTo>
                    <a:lnTo>
                      <a:pt x="265" y="690"/>
                    </a:lnTo>
                    <a:lnTo>
                      <a:pt x="270" y="688"/>
                    </a:lnTo>
                    <a:lnTo>
                      <a:pt x="274" y="688"/>
                    </a:lnTo>
                    <a:lnTo>
                      <a:pt x="278" y="687"/>
                    </a:lnTo>
                    <a:lnTo>
                      <a:pt x="281" y="687"/>
                    </a:lnTo>
                    <a:lnTo>
                      <a:pt x="287" y="683"/>
                    </a:lnTo>
                    <a:lnTo>
                      <a:pt x="290" y="678"/>
                    </a:lnTo>
                    <a:lnTo>
                      <a:pt x="293" y="673"/>
                    </a:lnTo>
                    <a:lnTo>
                      <a:pt x="292" y="670"/>
                    </a:lnTo>
                    <a:lnTo>
                      <a:pt x="294" y="665"/>
                    </a:lnTo>
                    <a:lnTo>
                      <a:pt x="295" y="661"/>
                    </a:lnTo>
                    <a:lnTo>
                      <a:pt x="301" y="657"/>
                    </a:lnTo>
                    <a:lnTo>
                      <a:pt x="304" y="650"/>
                    </a:lnTo>
                    <a:lnTo>
                      <a:pt x="310" y="644"/>
                    </a:lnTo>
                    <a:lnTo>
                      <a:pt x="317" y="641"/>
                    </a:lnTo>
                    <a:lnTo>
                      <a:pt x="319" y="635"/>
                    </a:lnTo>
                    <a:lnTo>
                      <a:pt x="321" y="632"/>
                    </a:lnTo>
                    <a:lnTo>
                      <a:pt x="327" y="629"/>
                    </a:lnTo>
                    <a:lnTo>
                      <a:pt x="328" y="624"/>
                    </a:lnTo>
                    <a:lnTo>
                      <a:pt x="333" y="621"/>
                    </a:lnTo>
                    <a:lnTo>
                      <a:pt x="339" y="618"/>
                    </a:lnTo>
                    <a:lnTo>
                      <a:pt x="343" y="617"/>
                    </a:lnTo>
                    <a:lnTo>
                      <a:pt x="348" y="616"/>
                    </a:lnTo>
                    <a:lnTo>
                      <a:pt x="352" y="616"/>
                    </a:lnTo>
                    <a:lnTo>
                      <a:pt x="358" y="615"/>
                    </a:lnTo>
                    <a:lnTo>
                      <a:pt x="361" y="611"/>
                    </a:lnTo>
                    <a:lnTo>
                      <a:pt x="366" y="611"/>
                    </a:lnTo>
                    <a:lnTo>
                      <a:pt x="370" y="607"/>
                    </a:lnTo>
                    <a:lnTo>
                      <a:pt x="378" y="606"/>
                    </a:lnTo>
                    <a:lnTo>
                      <a:pt x="382" y="606"/>
                    </a:lnTo>
                    <a:lnTo>
                      <a:pt x="385" y="605"/>
                    </a:lnTo>
                    <a:lnTo>
                      <a:pt x="390" y="604"/>
                    </a:lnTo>
                    <a:lnTo>
                      <a:pt x="395" y="607"/>
                    </a:lnTo>
                    <a:lnTo>
                      <a:pt x="401" y="609"/>
                    </a:lnTo>
                    <a:lnTo>
                      <a:pt x="404" y="612"/>
                    </a:lnTo>
                    <a:lnTo>
                      <a:pt x="409" y="613"/>
                    </a:lnTo>
                    <a:lnTo>
                      <a:pt x="413" y="615"/>
                    </a:lnTo>
                    <a:lnTo>
                      <a:pt x="419" y="615"/>
                    </a:lnTo>
                    <a:lnTo>
                      <a:pt x="423" y="611"/>
                    </a:lnTo>
                    <a:lnTo>
                      <a:pt x="427" y="608"/>
                    </a:lnTo>
                    <a:lnTo>
                      <a:pt x="431" y="605"/>
                    </a:lnTo>
                    <a:lnTo>
                      <a:pt x="435" y="601"/>
                    </a:lnTo>
                    <a:lnTo>
                      <a:pt x="438" y="596"/>
                    </a:lnTo>
                    <a:lnTo>
                      <a:pt x="442" y="592"/>
                    </a:lnTo>
                    <a:lnTo>
                      <a:pt x="446" y="590"/>
                    </a:lnTo>
                    <a:lnTo>
                      <a:pt x="451" y="588"/>
                    </a:lnTo>
                    <a:lnTo>
                      <a:pt x="456" y="588"/>
                    </a:lnTo>
                    <a:lnTo>
                      <a:pt x="461" y="587"/>
                    </a:lnTo>
                    <a:lnTo>
                      <a:pt x="468" y="587"/>
                    </a:lnTo>
                    <a:lnTo>
                      <a:pt x="474" y="591"/>
                    </a:lnTo>
                    <a:lnTo>
                      <a:pt x="481" y="592"/>
                    </a:lnTo>
                    <a:lnTo>
                      <a:pt x="486" y="592"/>
                    </a:lnTo>
                    <a:lnTo>
                      <a:pt x="489" y="591"/>
                    </a:lnTo>
                    <a:lnTo>
                      <a:pt x="493" y="594"/>
                    </a:lnTo>
                    <a:lnTo>
                      <a:pt x="499" y="593"/>
                    </a:lnTo>
                    <a:lnTo>
                      <a:pt x="504" y="592"/>
                    </a:lnTo>
                    <a:lnTo>
                      <a:pt x="508" y="592"/>
                    </a:lnTo>
                    <a:lnTo>
                      <a:pt x="513" y="591"/>
                    </a:lnTo>
                    <a:lnTo>
                      <a:pt x="519" y="587"/>
                    </a:lnTo>
                    <a:lnTo>
                      <a:pt x="524" y="586"/>
                    </a:lnTo>
                    <a:lnTo>
                      <a:pt x="529" y="584"/>
                    </a:lnTo>
                    <a:lnTo>
                      <a:pt x="534" y="580"/>
                    </a:lnTo>
                    <a:lnTo>
                      <a:pt x="540" y="579"/>
                    </a:lnTo>
                    <a:lnTo>
                      <a:pt x="544" y="579"/>
                    </a:lnTo>
                    <a:lnTo>
                      <a:pt x="549" y="578"/>
                    </a:lnTo>
                    <a:lnTo>
                      <a:pt x="553" y="577"/>
                    </a:lnTo>
                    <a:lnTo>
                      <a:pt x="559" y="575"/>
                    </a:lnTo>
                    <a:lnTo>
                      <a:pt x="561" y="571"/>
                    </a:lnTo>
                    <a:lnTo>
                      <a:pt x="560" y="566"/>
                    </a:lnTo>
                    <a:lnTo>
                      <a:pt x="559" y="562"/>
                    </a:lnTo>
                    <a:lnTo>
                      <a:pt x="559" y="559"/>
                    </a:lnTo>
                    <a:lnTo>
                      <a:pt x="561" y="554"/>
                    </a:lnTo>
                    <a:lnTo>
                      <a:pt x="565" y="552"/>
                    </a:lnTo>
                    <a:lnTo>
                      <a:pt x="571" y="547"/>
                    </a:lnTo>
                    <a:lnTo>
                      <a:pt x="577" y="543"/>
                    </a:lnTo>
                    <a:lnTo>
                      <a:pt x="581" y="542"/>
                    </a:lnTo>
                    <a:lnTo>
                      <a:pt x="586" y="540"/>
                    </a:lnTo>
                    <a:lnTo>
                      <a:pt x="589" y="539"/>
                    </a:lnTo>
                    <a:lnTo>
                      <a:pt x="594" y="536"/>
                    </a:lnTo>
                    <a:lnTo>
                      <a:pt x="598" y="533"/>
                    </a:lnTo>
                    <a:lnTo>
                      <a:pt x="599" y="530"/>
                    </a:lnTo>
                    <a:lnTo>
                      <a:pt x="601" y="523"/>
                    </a:lnTo>
                    <a:lnTo>
                      <a:pt x="598" y="520"/>
                    </a:lnTo>
                    <a:lnTo>
                      <a:pt x="595" y="515"/>
                    </a:lnTo>
                    <a:lnTo>
                      <a:pt x="593" y="511"/>
                    </a:lnTo>
                    <a:lnTo>
                      <a:pt x="587" y="511"/>
                    </a:lnTo>
                    <a:lnTo>
                      <a:pt x="586" y="507"/>
                    </a:lnTo>
                    <a:lnTo>
                      <a:pt x="584" y="503"/>
                    </a:lnTo>
                    <a:lnTo>
                      <a:pt x="583" y="499"/>
                    </a:lnTo>
                    <a:lnTo>
                      <a:pt x="583" y="496"/>
                    </a:lnTo>
                    <a:lnTo>
                      <a:pt x="582" y="491"/>
                    </a:lnTo>
                    <a:lnTo>
                      <a:pt x="581" y="487"/>
                    </a:lnTo>
                    <a:lnTo>
                      <a:pt x="583" y="483"/>
                    </a:lnTo>
                    <a:lnTo>
                      <a:pt x="582" y="479"/>
                    </a:lnTo>
                    <a:lnTo>
                      <a:pt x="582" y="473"/>
                    </a:lnTo>
                    <a:lnTo>
                      <a:pt x="581" y="470"/>
                    </a:lnTo>
                    <a:lnTo>
                      <a:pt x="579" y="465"/>
                    </a:lnTo>
                    <a:lnTo>
                      <a:pt x="578" y="461"/>
                    </a:lnTo>
                    <a:lnTo>
                      <a:pt x="577" y="457"/>
                    </a:lnTo>
                    <a:lnTo>
                      <a:pt x="579" y="453"/>
                    </a:lnTo>
                    <a:lnTo>
                      <a:pt x="582" y="447"/>
                    </a:lnTo>
                    <a:lnTo>
                      <a:pt x="584" y="444"/>
                    </a:lnTo>
                    <a:lnTo>
                      <a:pt x="587" y="439"/>
                    </a:lnTo>
                    <a:lnTo>
                      <a:pt x="589" y="433"/>
                    </a:lnTo>
                    <a:lnTo>
                      <a:pt x="591" y="427"/>
                    </a:lnTo>
                    <a:lnTo>
                      <a:pt x="594" y="420"/>
                    </a:lnTo>
                    <a:lnTo>
                      <a:pt x="593" y="417"/>
                    </a:lnTo>
                    <a:lnTo>
                      <a:pt x="589" y="412"/>
                    </a:lnTo>
                    <a:lnTo>
                      <a:pt x="588" y="408"/>
                    </a:lnTo>
                    <a:lnTo>
                      <a:pt x="586" y="405"/>
                    </a:lnTo>
                    <a:lnTo>
                      <a:pt x="587" y="399"/>
                    </a:lnTo>
                    <a:lnTo>
                      <a:pt x="588" y="394"/>
                    </a:lnTo>
                    <a:lnTo>
                      <a:pt x="594" y="390"/>
                    </a:lnTo>
                    <a:lnTo>
                      <a:pt x="598" y="390"/>
                    </a:lnTo>
                    <a:lnTo>
                      <a:pt x="600" y="384"/>
                    </a:lnTo>
                    <a:lnTo>
                      <a:pt x="604" y="382"/>
                    </a:lnTo>
                    <a:lnTo>
                      <a:pt x="605" y="379"/>
                    </a:lnTo>
                    <a:lnTo>
                      <a:pt x="605" y="374"/>
                    </a:lnTo>
                    <a:lnTo>
                      <a:pt x="602" y="370"/>
                    </a:lnTo>
                    <a:lnTo>
                      <a:pt x="602" y="366"/>
                    </a:lnTo>
                    <a:lnTo>
                      <a:pt x="599" y="361"/>
                    </a:lnTo>
                    <a:lnTo>
                      <a:pt x="594" y="359"/>
                    </a:lnTo>
                    <a:lnTo>
                      <a:pt x="591" y="356"/>
                    </a:lnTo>
                    <a:lnTo>
                      <a:pt x="585" y="352"/>
                    </a:lnTo>
                    <a:lnTo>
                      <a:pt x="583" y="344"/>
                    </a:lnTo>
                    <a:lnTo>
                      <a:pt x="581" y="341"/>
                    </a:lnTo>
                    <a:lnTo>
                      <a:pt x="580" y="336"/>
                    </a:lnTo>
                    <a:lnTo>
                      <a:pt x="576" y="336"/>
                    </a:lnTo>
                    <a:lnTo>
                      <a:pt x="572" y="340"/>
                    </a:lnTo>
                    <a:lnTo>
                      <a:pt x="568" y="340"/>
                    </a:lnTo>
                    <a:lnTo>
                      <a:pt x="562" y="341"/>
                    </a:lnTo>
                    <a:lnTo>
                      <a:pt x="559" y="344"/>
                    </a:lnTo>
                    <a:lnTo>
                      <a:pt x="554" y="344"/>
                    </a:lnTo>
                    <a:lnTo>
                      <a:pt x="550" y="343"/>
                    </a:lnTo>
                    <a:lnTo>
                      <a:pt x="544" y="341"/>
                    </a:lnTo>
                    <a:lnTo>
                      <a:pt x="541" y="337"/>
                    </a:lnTo>
                    <a:lnTo>
                      <a:pt x="540" y="332"/>
                    </a:lnTo>
                    <a:lnTo>
                      <a:pt x="537" y="328"/>
                    </a:lnTo>
                    <a:lnTo>
                      <a:pt x="539" y="324"/>
                    </a:lnTo>
                    <a:lnTo>
                      <a:pt x="541" y="320"/>
                    </a:lnTo>
                    <a:lnTo>
                      <a:pt x="543" y="314"/>
                    </a:lnTo>
                    <a:lnTo>
                      <a:pt x="548" y="314"/>
                    </a:lnTo>
                    <a:lnTo>
                      <a:pt x="552" y="312"/>
                    </a:lnTo>
                    <a:lnTo>
                      <a:pt x="554" y="308"/>
                    </a:lnTo>
                    <a:lnTo>
                      <a:pt x="554" y="303"/>
                    </a:lnTo>
                    <a:lnTo>
                      <a:pt x="555" y="296"/>
                    </a:lnTo>
                    <a:lnTo>
                      <a:pt x="554" y="292"/>
                    </a:lnTo>
                    <a:lnTo>
                      <a:pt x="554" y="287"/>
                    </a:lnTo>
                    <a:lnTo>
                      <a:pt x="560" y="283"/>
                    </a:lnTo>
                    <a:lnTo>
                      <a:pt x="564" y="278"/>
                    </a:lnTo>
                    <a:lnTo>
                      <a:pt x="568" y="275"/>
                    </a:lnTo>
                    <a:lnTo>
                      <a:pt x="572" y="277"/>
                    </a:lnTo>
                    <a:lnTo>
                      <a:pt x="579" y="278"/>
                    </a:lnTo>
                    <a:lnTo>
                      <a:pt x="583" y="278"/>
                    </a:lnTo>
                    <a:lnTo>
                      <a:pt x="587" y="275"/>
                    </a:lnTo>
                    <a:lnTo>
                      <a:pt x="591" y="272"/>
                    </a:lnTo>
                    <a:lnTo>
                      <a:pt x="593" y="268"/>
                    </a:lnTo>
                    <a:lnTo>
                      <a:pt x="598" y="266"/>
                    </a:lnTo>
                    <a:lnTo>
                      <a:pt x="599" y="259"/>
                    </a:lnTo>
                    <a:lnTo>
                      <a:pt x="604" y="257"/>
                    </a:lnTo>
                    <a:lnTo>
                      <a:pt x="603" y="253"/>
                    </a:lnTo>
                    <a:lnTo>
                      <a:pt x="601" y="249"/>
                    </a:lnTo>
                    <a:lnTo>
                      <a:pt x="600" y="244"/>
                    </a:lnTo>
                    <a:lnTo>
                      <a:pt x="597" y="242"/>
                    </a:lnTo>
                    <a:lnTo>
                      <a:pt x="594" y="237"/>
                    </a:lnTo>
                    <a:lnTo>
                      <a:pt x="591" y="233"/>
                    </a:lnTo>
                    <a:lnTo>
                      <a:pt x="586" y="233"/>
                    </a:lnTo>
                    <a:lnTo>
                      <a:pt x="581" y="231"/>
                    </a:lnTo>
                    <a:lnTo>
                      <a:pt x="579" y="226"/>
                    </a:lnTo>
                    <a:lnTo>
                      <a:pt x="575" y="221"/>
                    </a:lnTo>
                    <a:lnTo>
                      <a:pt x="573" y="219"/>
                    </a:lnTo>
                    <a:lnTo>
                      <a:pt x="570" y="214"/>
                    </a:lnTo>
                    <a:lnTo>
                      <a:pt x="565" y="211"/>
                    </a:lnTo>
                    <a:lnTo>
                      <a:pt x="563" y="207"/>
                    </a:lnTo>
                    <a:lnTo>
                      <a:pt x="560" y="203"/>
                    </a:lnTo>
                    <a:lnTo>
                      <a:pt x="555" y="199"/>
                    </a:lnTo>
                    <a:lnTo>
                      <a:pt x="554" y="195"/>
                    </a:lnTo>
                    <a:lnTo>
                      <a:pt x="559" y="192"/>
                    </a:lnTo>
                    <a:lnTo>
                      <a:pt x="563" y="189"/>
                    </a:lnTo>
                    <a:lnTo>
                      <a:pt x="568" y="188"/>
                    </a:lnTo>
                    <a:lnTo>
                      <a:pt x="568" y="184"/>
                    </a:lnTo>
                    <a:lnTo>
                      <a:pt x="566" y="181"/>
                    </a:lnTo>
                    <a:lnTo>
                      <a:pt x="559" y="177"/>
                    </a:lnTo>
                    <a:lnTo>
                      <a:pt x="557" y="174"/>
                    </a:lnTo>
                    <a:lnTo>
                      <a:pt x="552" y="175"/>
                    </a:lnTo>
                    <a:lnTo>
                      <a:pt x="548" y="177"/>
                    </a:lnTo>
                    <a:lnTo>
                      <a:pt x="542" y="177"/>
                    </a:lnTo>
                    <a:lnTo>
                      <a:pt x="539" y="174"/>
                    </a:lnTo>
                    <a:lnTo>
                      <a:pt x="538" y="170"/>
                    </a:lnTo>
                    <a:lnTo>
                      <a:pt x="537" y="165"/>
                    </a:lnTo>
                    <a:lnTo>
                      <a:pt x="535" y="161"/>
                    </a:lnTo>
                    <a:lnTo>
                      <a:pt x="536" y="156"/>
                    </a:lnTo>
                    <a:lnTo>
                      <a:pt x="538" y="151"/>
                    </a:lnTo>
                    <a:lnTo>
                      <a:pt x="541" y="143"/>
                    </a:lnTo>
                    <a:lnTo>
                      <a:pt x="541" y="138"/>
                    </a:lnTo>
                    <a:lnTo>
                      <a:pt x="535" y="139"/>
                    </a:lnTo>
                    <a:lnTo>
                      <a:pt x="533" y="136"/>
                    </a:lnTo>
                    <a:lnTo>
                      <a:pt x="528" y="132"/>
                    </a:lnTo>
                    <a:lnTo>
                      <a:pt x="527" y="127"/>
                    </a:lnTo>
                    <a:lnTo>
                      <a:pt x="524" y="123"/>
                    </a:lnTo>
                    <a:lnTo>
                      <a:pt x="520" y="122"/>
                    </a:lnTo>
                    <a:lnTo>
                      <a:pt x="514" y="123"/>
                    </a:lnTo>
                    <a:lnTo>
                      <a:pt x="509" y="121"/>
                    </a:lnTo>
                    <a:lnTo>
                      <a:pt x="503" y="124"/>
                    </a:lnTo>
                    <a:lnTo>
                      <a:pt x="499" y="130"/>
                    </a:lnTo>
                    <a:lnTo>
                      <a:pt x="493" y="131"/>
                    </a:lnTo>
                    <a:lnTo>
                      <a:pt x="492" y="137"/>
                    </a:lnTo>
                    <a:lnTo>
                      <a:pt x="491" y="132"/>
                    </a:lnTo>
                    <a:lnTo>
                      <a:pt x="491" y="128"/>
                    </a:lnTo>
                    <a:lnTo>
                      <a:pt x="490" y="124"/>
                    </a:lnTo>
                    <a:lnTo>
                      <a:pt x="490" y="119"/>
                    </a:lnTo>
                    <a:lnTo>
                      <a:pt x="487" y="116"/>
                    </a:lnTo>
                    <a:lnTo>
                      <a:pt x="482" y="115"/>
                    </a:lnTo>
                    <a:lnTo>
                      <a:pt x="478" y="115"/>
                    </a:lnTo>
                    <a:lnTo>
                      <a:pt x="472" y="116"/>
                    </a:lnTo>
                    <a:lnTo>
                      <a:pt x="468" y="117"/>
                    </a:lnTo>
                    <a:lnTo>
                      <a:pt x="463" y="117"/>
                    </a:lnTo>
                    <a:lnTo>
                      <a:pt x="459" y="118"/>
                    </a:lnTo>
                    <a:lnTo>
                      <a:pt x="454" y="119"/>
                    </a:lnTo>
                    <a:lnTo>
                      <a:pt x="450" y="121"/>
                    </a:lnTo>
                    <a:lnTo>
                      <a:pt x="445" y="124"/>
                    </a:lnTo>
                    <a:lnTo>
                      <a:pt x="441" y="124"/>
                    </a:lnTo>
                    <a:lnTo>
                      <a:pt x="436" y="126"/>
                    </a:lnTo>
                    <a:lnTo>
                      <a:pt x="430" y="127"/>
                    </a:lnTo>
                    <a:lnTo>
                      <a:pt x="426" y="127"/>
                    </a:lnTo>
                    <a:lnTo>
                      <a:pt x="423" y="128"/>
                    </a:lnTo>
                    <a:lnTo>
                      <a:pt x="419" y="131"/>
                    </a:lnTo>
                    <a:lnTo>
                      <a:pt x="418" y="125"/>
                    </a:lnTo>
                    <a:lnTo>
                      <a:pt x="419" y="120"/>
                    </a:lnTo>
                    <a:lnTo>
                      <a:pt x="422" y="117"/>
                    </a:lnTo>
                    <a:lnTo>
                      <a:pt x="422" y="113"/>
                    </a:lnTo>
                    <a:lnTo>
                      <a:pt x="421" y="107"/>
                    </a:lnTo>
                    <a:lnTo>
                      <a:pt x="423" y="103"/>
                    </a:lnTo>
                    <a:lnTo>
                      <a:pt x="422" y="99"/>
                    </a:lnTo>
                    <a:lnTo>
                      <a:pt x="422" y="94"/>
                    </a:lnTo>
                    <a:lnTo>
                      <a:pt x="418" y="92"/>
                    </a:lnTo>
                    <a:lnTo>
                      <a:pt x="413" y="93"/>
                    </a:lnTo>
                    <a:lnTo>
                      <a:pt x="405" y="94"/>
                    </a:lnTo>
                    <a:lnTo>
                      <a:pt x="399" y="95"/>
                    </a:lnTo>
                    <a:lnTo>
                      <a:pt x="395" y="97"/>
                    </a:lnTo>
                    <a:lnTo>
                      <a:pt x="392" y="95"/>
                    </a:lnTo>
                    <a:lnTo>
                      <a:pt x="389" y="91"/>
                    </a:lnTo>
                    <a:lnTo>
                      <a:pt x="385" y="86"/>
                    </a:lnTo>
                    <a:lnTo>
                      <a:pt x="385" y="83"/>
                    </a:lnTo>
                    <a:lnTo>
                      <a:pt x="384" y="79"/>
                    </a:lnTo>
                    <a:lnTo>
                      <a:pt x="383" y="73"/>
                    </a:lnTo>
                    <a:lnTo>
                      <a:pt x="383" y="70"/>
                    </a:lnTo>
                    <a:lnTo>
                      <a:pt x="378" y="70"/>
                    </a:lnTo>
                    <a:lnTo>
                      <a:pt x="374" y="71"/>
                    </a:lnTo>
                    <a:lnTo>
                      <a:pt x="369" y="69"/>
                    </a:lnTo>
                    <a:lnTo>
                      <a:pt x="366" y="65"/>
                    </a:lnTo>
                    <a:lnTo>
                      <a:pt x="363" y="62"/>
                    </a:lnTo>
                    <a:lnTo>
                      <a:pt x="359" y="58"/>
                    </a:lnTo>
                    <a:lnTo>
                      <a:pt x="355" y="56"/>
                    </a:lnTo>
                    <a:lnTo>
                      <a:pt x="349" y="51"/>
                    </a:lnTo>
                    <a:lnTo>
                      <a:pt x="345" y="47"/>
                    </a:lnTo>
                    <a:lnTo>
                      <a:pt x="338" y="42"/>
                    </a:lnTo>
                    <a:lnTo>
                      <a:pt x="334" y="40"/>
                    </a:lnTo>
                    <a:lnTo>
                      <a:pt x="331" y="35"/>
                    </a:lnTo>
                    <a:lnTo>
                      <a:pt x="327" y="32"/>
                    </a:lnTo>
                    <a:lnTo>
                      <a:pt x="325" y="29"/>
                    </a:lnTo>
                    <a:lnTo>
                      <a:pt x="327" y="30"/>
                    </a:lnTo>
                    <a:lnTo>
                      <a:pt x="325" y="22"/>
                    </a:lnTo>
                    <a:lnTo>
                      <a:pt x="312" y="12"/>
                    </a:lnTo>
                    <a:lnTo>
                      <a:pt x="319" y="16"/>
                    </a:lnTo>
                    <a:lnTo>
                      <a:pt x="304" y="6"/>
                    </a:lnTo>
                    <a:lnTo>
                      <a:pt x="303" y="9"/>
                    </a:lnTo>
                    <a:lnTo>
                      <a:pt x="303" y="6"/>
                    </a:lnTo>
                    <a:lnTo>
                      <a:pt x="306" y="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0" name="Freeform 125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4422300" y="4199552"/>
                <a:ext cx="556720" cy="388821"/>
              </a:xfrm>
              <a:custGeom>
                <a:avLst/>
                <a:gdLst>
                  <a:gd name="T0" fmla="*/ 2147483647 w 448"/>
                  <a:gd name="T1" fmla="*/ 2147483647 h 327"/>
                  <a:gd name="T2" fmla="*/ 2147483647 w 448"/>
                  <a:gd name="T3" fmla="*/ 2147483647 h 327"/>
                  <a:gd name="T4" fmla="*/ 2147483647 w 448"/>
                  <a:gd name="T5" fmla="*/ 2147483647 h 327"/>
                  <a:gd name="T6" fmla="*/ 2147483647 w 448"/>
                  <a:gd name="T7" fmla="*/ 2147483647 h 327"/>
                  <a:gd name="T8" fmla="*/ 2147483647 w 448"/>
                  <a:gd name="T9" fmla="*/ 2147483647 h 327"/>
                  <a:gd name="T10" fmla="*/ 2147483647 w 448"/>
                  <a:gd name="T11" fmla="*/ 2147483647 h 327"/>
                  <a:gd name="T12" fmla="*/ 2147483647 w 448"/>
                  <a:gd name="T13" fmla="*/ 2147483647 h 327"/>
                  <a:gd name="T14" fmla="*/ 2147483647 w 448"/>
                  <a:gd name="T15" fmla="*/ 2147483647 h 327"/>
                  <a:gd name="T16" fmla="*/ 2147483647 w 448"/>
                  <a:gd name="T17" fmla="*/ 2147483647 h 327"/>
                  <a:gd name="T18" fmla="*/ 2147483647 w 448"/>
                  <a:gd name="T19" fmla="*/ 2147483647 h 327"/>
                  <a:gd name="T20" fmla="*/ 2147483647 w 448"/>
                  <a:gd name="T21" fmla="*/ 2147483647 h 327"/>
                  <a:gd name="T22" fmla="*/ 2147483647 w 448"/>
                  <a:gd name="T23" fmla="*/ 2147483647 h 327"/>
                  <a:gd name="T24" fmla="*/ 2147483647 w 448"/>
                  <a:gd name="T25" fmla="*/ 2147483647 h 327"/>
                  <a:gd name="T26" fmla="*/ 2147483647 w 448"/>
                  <a:gd name="T27" fmla="*/ 2147483647 h 327"/>
                  <a:gd name="T28" fmla="*/ 2147483647 w 448"/>
                  <a:gd name="T29" fmla="*/ 2147483647 h 327"/>
                  <a:gd name="T30" fmla="*/ 2147483647 w 448"/>
                  <a:gd name="T31" fmla="*/ 2147483647 h 327"/>
                  <a:gd name="T32" fmla="*/ 2147483647 w 448"/>
                  <a:gd name="T33" fmla="*/ 2147483647 h 327"/>
                  <a:gd name="T34" fmla="*/ 2147483647 w 448"/>
                  <a:gd name="T35" fmla="*/ 2147483647 h 327"/>
                  <a:gd name="T36" fmla="*/ 2147483647 w 448"/>
                  <a:gd name="T37" fmla="*/ 2147483647 h 327"/>
                  <a:gd name="T38" fmla="*/ 2147483647 w 448"/>
                  <a:gd name="T39" fmla="*/ 2147483647 h 327"/>
                  <a:gd name="T40" fmla="*/ 2147483647 w 448"/>
                  <a:gd name="T41" fmla="*/ 2147483647 h 327"/>
                  <a:gd name="T42" fmla="*/ 2147483647 w 448"/>
                  <a:gd name="T43" fmla="*/ 2147483647 h 327"/>
                  <a:gd name="T44" fmla="*/ 2147483647 w 448"/>
                  <a:gd name="T45" fmla="*/ 2147483647 h 327"/>
                  <a:gd name="T46" fmla="*/ 2147483647 w 448"/>
                  <a:gd name="T47" fmla="*/ 2147483647 h 327"/>
                  <a:gd name="T48" fmla="*/ 2147483647 w 448"/>
                  <a:gd name="T49" fmla="*/ 2147483647 h 327"/>
                  <a:gd name="T50" fmla="*/ 2147483647 w 448"/>
                  <a:gd name="T51" fmla="*/ 2147483647 h 327"/>
                  <a:gd name="T52" fmla="*/ 2147483647 w 448"/>
                  <a:gd name="T53" fmla="*/ 2147483647 h 327"/>
                  <a:gd name="T54" fmla="*/ 2147483647 w 448"/>
                  <a:gd name="T55" fmla="*/ 2147483647 h 327"/>
                  <a:gd name="T56" fmla="*/ 2147483647 w 448"/>
                  <a:gd name="T57" fmla="*/ 2147483647 h 327"/>
                  <a:gd name="T58" fmla="*/ 2147483647 w 448"/>
                  <a:gd name="T59" fmla="*/ 2147483647 h 327"/>
                  <a:gd name="T60" fmla="*/ 2147483647 w 448"/>
                  <a:gd name="T61" fmla="*/ 2147483647 h 327"/>
                  <a:gd name="T62" fmla="*/ 2147483647 w 448"/>
                  <a:gd name="T63" fmla="*/ 2147483647 h 327"/>
                  <a:gd name="T64" fmla="*/ 2147483647 w 448"/>
                  <a:gd name="T65" fmla="*/ 2147483647 h 327"/>
                  <a:gd name="T66" fmla="*/ 2147483647 w 448"/>
                  <a:gd name="T67" fmla="*/ 2147483647 h 327"/>
                  <a:gd name="T68" fmla="*/ 2147483647 w 448"/>
                  <a:gd name="T69" fmla="*/ 2147483647 h 327"/>
                  <a:gd name="T70" fmla="*/ 2147483647 w 448"/>
                  <a:gd name="T71" fmla="*/ 2147483647 h 327"/>
                  <a:gd name="T72" fmla="*/ 2147483647 w 448"/>
                  <a:gd name="T73" fmla="*/ 2147483647 h 327"/>
                  <a:gd name="T74" fmla="*/ 2147483647 w 448"/>
                  <a:gd name="T75" fmla="*/ 2147483647 h 327"/>
                  <a:gd name="T76" fmla="*/ 2147483647 w 448"/>
                  <a:gd name="T77" fmla="*/ 2147483647 h 327"/>
                  <a:gd name="T78" fmla="*/ 2147483647 w 448"/>
                  <a:gd name="T79" fmla="*/ 2147483647 h 327"/>
                  <a:gd name="T80" fmla="*/ 2147483647 w 448"/>
                  <a:gd name="T81" fmla="*/ 2147483647 h 327"/>
                  <a:gd name="T82" fmla="*/ 2147483647 w 448"/>
                  <a:gd name="T83" fmla="*/ 2147483647 h 327"/>
                  <a:gd name="T84" fmla="*/ 2147483647 w 448"/>
                  <a:gd name="T85" fmla="*/ 2147483647 h 327"/>
                  <a:gd name="T86" fmla="*/ 2147483647 w 448"/>
                  <a:gd name="T87" fmla="*/ 2147483647 h 327"/>
                  <a:gd name="T88" fmla="*/ 2147483647 w 448"/>
                  <a:gd name="T89" fmla="*/ 2147483647 h 327"/>
                  <a:gd name="T90" fmla="*/ 2147483647 w 448"/>
                  <a:gd name="T91" fmla="*/ 2147483647 h 327"/>
                  <a:gd name="T92" fmla="*/ 2147483647 w 448"/>
                  <a:gd name="T93" fmla="*/ 2147483647 h 327"/>
                  <a:gd name="T94" fmla="*/ 2147483647 w 448"/>
                  <a:gd name="T95" fmla="*/ 2147483647 h 327"/>
                  <a:gd name="T96" fmla="*/ 2147483647 w 448"/>
                  <a:gd name="T97" fmla="*/ 2147483647 h 327"/>
                  <a:gd name="T98" fmla="*/ 2147483647 w 448"/>
                  <a:gd name="T99" fmla="*/ 2147483647 h 327"/>
                  <a:gd name="T100" fmla="*/ 2147483647 w 448"/>
                  <a:gd name="T101" fmla="*/ 2147483647 h 327"/>
                  <a:gd name="T102" fmla="*/ 2147483647 w 448"/>
                  <a:gd name="T103" fmla="*/ 2147483647 h 327"/>
                  <a:gd name="T104" fmla="*/ 2147483647 w 448"/>
                  <a:gd name="T105" fmla="*/ 2147483647 h 327"/>
                  <a:gd name="T106" fmla="*/ 2147483647 w 448"/>
                  <a:gd name="T107" fmla="*/ 2147483647 h 327"/>
                  <a:gd name="T108" fmla="*/ 2147483647 w 448"/>
                  <a:gd name="T109" fmla="*/ 2147483647 h 327"/>
                  <a:gd name="T110" fmla="*/ 2147483647 w 448"/>
                  <a:gd name="T111" fmla="*/ 2147483647 h 32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48"/>
                  <a:gd name="T169" fmla="*/ 0 h 327"/>
                  <a:gd name="T170" fmla="*/ 448 w 448"/>
                  <a:gd name="T171" fmla="*/ 327 h 327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48" h="327">
                    <a:moveTo>
                      <a:pt x="325" y="0"/>
                    </a:moveTo>
                    <a:lnTo>
                      <a:pt x="321" y="0"/>
                    </a:lnTo>
                    <a:lnTo>
                      <a:pt x="316" y="1"/>
                    </a:lnTo>
                    <a:lnTo>
                      <a:pt x="315" y="6"/>
                    </a:lnTo>
                    <a:lnTo>
                      <a:pt x="310" y="8"/>
                    </a:lnTo>
                    <a:lnTo>
                      <a:pt x="306" y="11"/>
                    </a:lnTo>
                    <a:lnTo>
                      <a:pt x="302" y="11"/>
                    </a:lnTo>
                    <a:lnTo>
                      <a:pt x="299" y="12"/>
                    </a:lnTo>
                    <a:lnTo>
                      <a:pt x="294" y="12"/>
                    </a:lnTo>
                    <a:lnTo>
                      <a:pt x="292" y="16"/>
                    </a:lnTo>
                    <a:lnTo>
                      <a:pt x="291" y="22"/>
                    </a:lnTo>
                    <a:lnTo>
                      <a:pt x="286" y="20"/>
                    </a:lnTo>
                    <a:lnTo>
                      <a:pt x="282" y="21"/>
                    </a:lnTo>
                    <a:lnTo>
                      <a:pt x="276" y="19"/>
                    </a:lnTo>
                    <a:lnTo>
                      <a:pt x="272" y="19"/>
                    </a:lnTo>
                    <a:lnTo>
                      <a:pt x="268" y="25"/>
                    </a:lnTo>
                    <a:lnTo>
                      <a:pt x="266" y="28"/>
                    </a:lnTo>
                    <a:lnTo>
                      <a:pt x="265" y="33"/>
                    </a:lnTo>
                    <a:lnTo>
                      <a:pt x="264" y="37"/>
                    </a:lnTo>
                    <a:lnTo>
                      <a:pt x="264" y="41"/>
                    </a:lnTo>
                    <a:lnTo>
                      <a:pt x="265" y="45"/>
                    </a:lnTo>
                    <a:lnTo>
                      <a:pt x="265" y="50"/>
                    </a:lnTo>
                    <a:lnTo>
                      <a:pt x="266" y="53"/>
                    </a:lnTo>
                    <a:lnTo>
                      <a:pt x="266" y="58"/>
                    </a:lnTo>
                    <a:lnTo>
                      <a:pt x="267" y="62"/>
                    </a:lnTo>
                    <a:lnTo>
                      <a:pt x="262" y="64"/>
                    </a:lnTo>
                    <a:lnTo>
                      <a:pt x="258" y="63"/>
                    </a:lnTo>
                    <a:lnTo>
                      <a:pt x="253" y="65"/>
                    </a:lnTo>
                    <a:lnTo>
                      <a:pt x="254" y="70"/>
                    </a:lnTo>
                    <a:lnTo>
                      <a:pt x="252" y="74"/>
                    </a:lnTo>
                    <a:lnTo>
                      <a:pt x="253" y="78"/>
                    </a:lnTo>
                    <a:lnTo>
                      <a:pt x="251" y="86"/>
                    </a:lnTo>
                    <a:lnTo>
                      <a:pt x="249" y="89"/>
                    </a:lnTo>
                    <a:lnTo>
                      <a:pt x="248" y="93"/>
                    </a:lnTo>
                    <a:lnTo>
                      <a:pt x="249" y="98"/>
                    </a:lnTo>
                    <a:lnTo>
                      <a:pt x="247" y="101"/>
                    </a:lnTo>
                    <a:lnTo>
                      <a:pt x="242" y="102"/>
                    </a:lnTo>
                    <a:lnTo>
                      <a:pt x="240" y="99"/>
                    </a:lnTo>
                    <a:lnTo>
                      <a:pt x="239" y="94"/>
                    </a:lnTo>
                    <a:lnTo>
                      <a:pt x="234" y="98"/>
                    </a:lnTo>
                    <a:lnTo>
                      <a:pt x="231" y="100"/>
                    </a:lnTo>
                    <a:lnTo>
                      <a:pt x="229" y="104"/>
                    </a:lnTo>
                    <a:lnTo>
                      <a:pt x="230" y="109"/>
                    </a:lnTo>
                    <a:lnTo>
                      <a:pt x="227" y="113"/>
                    </a:lnTo>
                    <a:lnTo>
                      <a:pt x="226" y="117"/>
                    </a:lnTo>
                    <a:lnTo>
                      <a:pt x="222" y="120"/>
                    </a:lnTo>
                    <a:lnTo>
                      <a:pt x="222" y="125"/>
                    </a:lnTo>
                    <a:lnTo>
                      <a:pt x="220" y="129"/>
                    </a:lnTo>
                    <a:lnTo>
                      <a:pt x="216" y="131"/>
                    </a:lnTo>
                    <a:lnTo>
                      <a:pt x="211" y="133"/>
                    </a:lnTo>
                    <a:lnTo>
                      <a:pt x="210" y="139"/>
                    </a:lnTo>
                    <a:lnTo>
                      <a:pt x="205" y="141"/>
                    </a:lnTo>
                    <a:lnTo>
                      <a:pt x="204" y="145"/>
                    </a:lnTo>
                    <a:lnTo>
                      <a:pt x="200" y="150"/>
                    </a:lnTo>
                    <a:lnTo>
                      <a:pt x="196" y="156"/>
                    </a:lnTo>
                    <a:lnTo>
                      <a:pt x="192" y="159"/>
                    </a:lnTo>
                    <a:lnTo>
                      <a:pt x="188" y="162"/>
                    </a:lnTo>
                    <a:lnTo>
                      <a:pt x="184" y="165"/>
                    </a:lnTo>
                    <a:lnTo>
                      <a:pt x="179" y="166"/>
                    </a:lnTo>
                    <a:lnTo>
                      <a:pt x="172" y="167"/>
                    </a:lnTo>
                    <a:lnTo>
                      <a:pt x="168" y="167"/>
                    </a:lnTo>
                    <a:lnTo>
                      <a:pt x="163" y="168"/>
                    </a:lnTo>
                    <a:lnTo>
                      <a:pt x="159" y="169"/>
                    </a:lnTo>
                    <a:lnTo>
                      <a:pt x="154" y="169"/>
                    </a:lnTo>
                    <a:lnTo>
                      <a:pt x="151" y="172"/>
                    </a:lnTo>
                    <a:lnTo>
                      <a:pt x="146" y="174"/>
                    </a:lnTo>
                    <a:lnTo>
                      <a:pt x="142" y="176"/>
                    </a:lnTo>
                    <a:lnTo>
                      <a:pt x="137" y="177"/>
                    </a:lnTo>
                    <a:lnTo>
                      <a:pt x="134" y="177"/>
                    </a:lnTo>
                    <a:lnTo>
                      <a:pt x="129" y="177"/>
                    </a:lnTo>
                    <a:lnTo>
                      <a:pt x="125" y="177"/>
                    </a:lnTo>
                    <a:lnTo>
                      <a:pt x="120" y="178"/>
                    </a:lnTo>
                    <a:lnTo>
                      <a:pt x="116" y="176"/>
                    </a:lnTo>
                    <a:lnTo>
                      <a:pt x="111" y="177"/>
                    </a:lnTo>
                    <a:lnTo>
                      <a:pt x="103" y="173"/>
                    </a:lnTo>
                    <a:lnTo>
                      <a:pt x="99" y="174"/>
                    </a:lnTo>
                    <a:lnTo>
                      <a:pt x="94" y="172"/>
                    </a:lnTo>
                    <a:lnTo>
                      <a:pt x="90" y="171"/>
                    </a:lnTo>
                    <a:lnTo>
                      <a:pt x="87" y="167"/>
                    </a:lnTo>
                    <a:lnTo>
                      <a:pt x="82" y="166"/>
                    </a:lnTo>
                    <a:lnTo>
                      <a:pt x="78" y="162"/>
                    </a:lnTo>
                    <a:lnTo>
                      <a:pt x="77" y="158"/>
                    </a:lnTo>
                    <a:lnTo>
                      <a:pt x="72" y="159"/>
                    </a:lnTo>
                    <a:lnTo>
                      <a:pt x="68" y="158"/>
                    </a:lnTo>
                    <a:lnTo>
                      <a:pt x="63" y="156"/>
                    </a:lnTo>
                    <a:lnTo>
                      <a:pt x="58" y="152"/>
                    </a:lnTo>
                    <a:lnTo>
                      <a:pt x="51" y="152"/>
                    </a:lnTo>
                    <a:lnTo>
                      <a:pt x="46" y="154"/>
                    </a:lnTo>
                    <a:lnTo>
                      <a:pt x="45" y="159"/>
                    </a:lnTo>
                    <a:lnTo>
                      <a:pt x="45" y="163"/>
                    </a:lnTo>
                    <a:lnTo>
                      <a:pt x="48" y="166"/>
                    </a:lnTo>
                    <a:lnTo>
                      <a:pt x="51" y="170"/>
                    </a:lnTo>
                    <a:lnTo>
                      <a:pt x="49" y="175"/>
                    </a:lnTo>
                    <a:lnTo>
                      <a:pt x="39" y="177"/>
                    </a:lnTo>
                    <a:lnTo>
                      <a:pt x="37" y="184"/>
                    </a:lnTo>
                    <a:lnTo>
                      <a:pt x="45" y="188"/>
                    </a:lnTo>
                    <a:lnTo>
                      <a:pt x="34" y="189"/>
                    </a:lnTo>
                    <a:lnTo>
                      <a:pt x="35" y="195"/>
                    </a:lnTo>
                    <a:lnTo>
                      <a:pt x="28" y="193"/>
                    </a:lnTo>
                    <a:lnTo>
                      <a:pt x="23" y="194"/>
                    </a:lnTo>
                    <a:lnTo>
                      <a:pt x="19" y="194"/>
                    </a:lnTo>
                    <a:lnTo>
                      <a:pt x="14" y="195"/>
                    </a:lnTo>
                    <a:lnTo>
                      <a:pt x="11" y="199"/>
                    </a:lnTo>
                    <a:lnTo>
                      <a:pt x="6" y="199"/>
                    </a:lnTo>
                    <a:lnTo>
                      <a:pt x="2" y="202"/>
                    </a:lnTo>
                    <a:lnTo>
                      <a:pt x="0" y="207"/>
                    </a:lnTo>
                    <a:lnTo>
                      <a:pt x="3" y="210"/>
                    </a:lnTo>
                    <a:lnTo>
                      <a:pt x="4" y="214"/>
                    </a:lnTo>
                    <a:lnTo>
                      <a:pt x="2" y="220"/>
                    </a:lnTo>
                    <a:lnTo>
                      <a:pt x="2" y="225"/>
                    </a:lnTo>
                    <a:lnTo>
                      <a:pt x="1" y="229"/>
                    </a:lnTo>
                    <a:lnTo>
                      <a:pt x="1" y="232"/>
                    </a:lnTo>
                    <a:lnTo>
                      <a:pt x="2" y="237"/>
                    </a:lnTo>
                    <a:lnTo>
                      <a:pt x="5" y="242"/>
                    </a:lnTo>
                    <a:lnTo>
                      <a:pt x="5" y="245"/>
                    </a:lnTo>
                    <a:lnTo>
                      <a:pt x="11" y="248"/>
                    </a:lnTo>
                    <a:lnTo>
                      <a:pt x="15" y="253"/>
                    </a:lnTo>
                    <a:lnTo>
                      <a:pt x="21" y="258"/>
                    </a:lnTo>
                    <a:lnTo>
                      <a:pt x="25" y="261"/>
                    </a:lnTo>
                    <a:lnTo>
                      <a:pt x="29" y="264"/>
                    </a:lnTo>
                    <a:lnTo>
                      <a:pt x="33" y="268"/>
                    </a:lnTo>
                    <a:lnTo>
                      <a:pt x="36" y="273"/>
                    </a:lnTo>
                    <a:lnTo>
                      <a:pt x="39" y="276"/>
                    </a:lnTo>
                    <a:lnTo>
                      <a:pt x="40" y="279"/>
                    </a:lnTo>
                    <a:lnTo>
                      <a:pt x="35" y="283"/>
                    </a:lnTo>
                    <a:lnTo>
                      <a:pt x="32" y="286"/>
                    </a:lnTo>
                    <a:lnTo>
                      <a:pt x="26" y="284"/>
                    </a:lnTo>
                    <a:lnTo>
                      <a:pt x="19" y="282"/>
                    </a:lnTo>
                    <a:lnTo>
                      <a:pt x="15" y="281"/>
                    </a:lnTo>
                    <a:lnTo>
                      <a:pt x="14" y="286"/>
                    </a:lnTo>
                    <a:lnTo>
                      <a:pt x="11" y="290"/>
                    </a:lnTo>
                    <a:lnTo>
                      <a:pt x="12" y="294"/>
                    </a:lnTo>
                    <a:lnTo>
                      <a:pt x="12" y="298"/>
                    </a:lnTo>
                    <a:lnTo>
                      <a:pt x="13" y="302"/>
                    </a:lnTo>
                    <a:lnTo>
                      <a:pt x="13" y="306"/>
                    </a:lnTo>
                    <a:lnTo>
                      <a:pt x="21" y="310"/>
                    </a:lnTo>
                    <a:lnTo>
                      <a:pt x="23" y="313"/>
                    </a:lnTo>
                    <a:lnTo>
                      <a:pt x="27" y="317"/>
                    </a:lnTo>
                    <a:lnTo>
                      <a:pt x="29" y="321"/>
                    </a:lnTo>
                    <a:lnTo>
                      <a:pt x="30" y="324"/>
                    </a:lnTo>
                    <a:lnTo>
                      <a:pt x="34" y="327"/>
                    </a:lnTo>
                    <a:lnTo>
                      <a:pt x="40" y="320"/>
                    </a:lnTo>
                    <a:lnTo>
                      <a:pt x="42" y="315"/>
                    </a:lnTo>
                    <a:lnTo>
                      <a:pt x="41" y="311"/>
                    </a:lnTo>
                    <a:lnTo>
                      <a:pt x="46" y="309"/>
                    </a:lnTo>
                    <a:lnTo>
                      <a:pt x="53" y="308"/>
                    </a:lnTo>
                    <a:lnTo>
                      <a:pt x="57" y="307"/>
                    </a:lnTo>
                    <a:lnTo>
                      <a:pt x="61" y="305"/>
                    </a:lnTo>
                    <a:lnTo>
                      <a:pt x="64" y="301"/>
                    </a:lnTo>
                    <a:lnTo>
                      <a:pt x="66" y="297"/>
                    </a:lnTo>
                    <a:lnTo>
                      <a:pt x="71" y="297"/>
                    </a:lnTo>
                    <a:lnTo>
                      <a:pt x="74" y="294"/>
                    </a:lnTo>
                    <a:lnTo>
                      <a:pt x="79" y="291"/>
                    </a:lnTo>
                    <a:lnTo>
                      <a:pt x="83" y="289"/>
                    </a:lnTo>
                    <a:lnTo>
                      <a:pt x="87" y="284"/>
                    </a:lnTo>
                    <a:lnTo>
                      <a:pt x="91" y="281"/>
                    </a:lnTo>
                    <a:lnTo>
                      <a:pt x="95" y="277"/>
                    </a:lnTo>
                    <a:lnTo>
                      <a:pt x="99" y="277"/>
                    </a:lnTo>
                    <a:lnTo>
                      <a:pt x="104" y="274"/>
                    </a:lnTo>
                    <a:lnTo>
                      <a:pt x="107" y="270"/>
                    </a:lnTo>
                    <a:lnTo>
                      <a:pt x="112" y="266"/>
                    </a:lnTo>
                    <a:lnTo>
                      <a:pt x="116" y="265"/>
                    </a:lnTo>
                    <a:lnTo>
                      <a:pt x="120" y="262"/>
                    </a:lnTo>
                    <a:lnTo>
                      <a:pt x="125" y="258"/>
                    </a:lnTo>
                    <a:lnTo>
                      <a:pt x="131" y="257"/>
                    </a:lnTo>
                    <a:lnTo>
                      <a:pt x="135" y="254"/>
                    </a:lnTo>
                    <a:lnTo>
                      <a:pt x="139" y="254"/>
                    </a:lnTo>
                    <a:lnTo>
                      <a:pt x="145" y="255"/>
                    </a:lnTo>
                    <a:lnTo>
                      <a:pt x="148" y="255"/>
                    </a:lnTo>
                    <a:lnTo>
                      <a:pt x="153" y="254"/>
                    </a:lnTo>
                    <a:lnTo>
                      <a:pt x="156" y="250"/>
                    </a:lnTo>
                    <a:lnTo>
                      <a:pt x="156" y="246"/>
                    </a:lnTo>
                    <a:lnTo>
                      <a:pt x="157" y="242"/>
                    </a:lnTo>
                    <a:lnTo>
                      <a:pt x="162" y="241"/>
                    </a:lnTo>
                    <a:lnTo>
                      <a:pt x="167" y="242"/>
                    </a:lnTo>
                    <a:lnTo>
                      <a:pt x="170" y="245"/>
                    </a:lnTo>
                    <a:lnTo>
                      <a:pt x="172" y="250"/>
                    </a:lnTo>
                    <a:lnTo>
                      <a:pt x="177" y="249"/>
                    </a:lnTo>
                    <a:lnTo>
                      <a:pt x="181" y="250"/>
                    </a:lnTo>
                    <a:lnTo>
                      <a:pt x="186" y="250"/>
                    </a:lnTo>
                    <a:lnTo>
                      <a:pt x="190" y="247"/>
                    </a:lnTo>
                    <a:lnTo>
                      <a:pt x="195" y="248"/>
                    </a:lnTo>
                    <a:lnTo>
                      <a:pt x="196" y="253"/>
                    </a:lnTo>
                    <a:lnTo>
                      <a:pt x="198" y="256"/>
                    </a:lnTo>
                    <a:lnTo>
                      <a:pt x="202" y="256"/>
                    </a:lnTo>
                    <a:lnTo>
                      <a:pt x="207" y="257"/>
                    </a:lnTo>
                    <a:lnTo>
                      <a:pt x="211" y="254"/>
                    </a:lnTo>
                    <a:lnTo>
                      <a:pt x="216" y="254"/>
                    </a:lnTo>
                    <a:lnTo>
                      <a:pt x="220" y="253"/>
                    </a:lnTo>
                    <a:lnTo>
                      <a:pt x="226" y="257"/>
                    </a:lnTo>
                    <a:lnTo>
                      <a:pt x="230" y="259"/>
                    </a:lnTo>
                    <a:lnTo>
                      <a:pt x="235" y="260"/>
                    </a:lnTo>
                    <a:lnTo>
                      <a:pt x="240" y="261"/>
                    </a:lnTo>
                    <a:lnTo>
                      <a:pt x="244" y="263"/>
                    </a:lnTo>
                    <a:lnTo>
                      <a:pt x="246" y="267"/>
                    </a:lnTo>
                    <a:lnTo>
                      <a:pt x="251" y="266"/>
                    </a:lnTo>
                    <a:lnTo>
                      <a:pt x="252" y="270"/>
                    </a:lnTo>
                    <a:lnTo>
                      <a:pt x="252" y="274"/>
                    </a:lnTo>
                    <a:lnTo>
                      <a:pt x="255" y="279"/>
                    </a:lnTo>
                    <a:lnTo>
                      <a:pt x="255" y="282"/>
                    </a:lnTo>
                    <a:lnTo>
                      <a:pt x="256" y="286"/>
                    </a:lnTo>
                    <a:lnTo>
                      <a:pt x="258" y="290"/>
                    </a:lnTo>
                    <a:lnTo>
                      <a:pt x="261" y="293"/>
                    </a:lnTo>
                    <a:lnTo>
                      <a:pt x="266" y="295"/>
                    </a:lnTo>
                    <a:lnTo>
                      <a:pt x="273" y="296"/>
                    </a:lnTo>
                    <a:lnTo>
                      <a:pt x="277" y="296"/>
                    </a:lnTo>
                    <a:lnTo>
                      <a:pt x="284" y="295"/>
                    </a:lnTo>
                    <a:lnTo>
                      <a:pt x="291" y="294"/>
                    </a:lnTo>
                    <a:lnTo>
                      <a:pt x="295" y="294"/>
                    </a:lnTo>
                    <a:lnTo>
                      <a:pt x="300" y="293"/>
                    </a:lnTo>
                    <a:lnTo>
                      <a:pt x="307" y="292"/>
                    </a:lnTo>
                    <a:lnTo>
                      <a:pt x="311" y="291"/>
                    </a:lnTo>
                    <a:lnTo>
                      <a:pt x="316" y="289"/>
                    </a:lnTo>
                    <a:lnTo>
                      <a:pt x="319" y="284"/>
                    </a:lnTo>
                    <a:lnTo>
                      <a:pt x="321" y="280"/>
                    </a:lnTo>
                    <a:lnTo>
                      <a:pt x="323" y="275"/>
                    </a:lnTo>
                    <a:lnTo>
                      <a:pt x="322" y="272"/>
                    </a:lnTo>
                    <a:lnTo>
                      <a:pt x="322" y="267"/>
                    </a:lnTo>
                    <a:lnTo>
                      <a:pt x="325" y="264"/>
                    </a:lnTo>
                    <a:lnTo>
                      <a:pt x="330" y="264"/>
                    </a:lnTo>
                    <a:lnTo>
                      <a:pt x="333" y="261"/>
                    </a:lnTo>
                    <a:lnTo>
                      <a:pt x="338" y="261"/>
                    </a:lnTo>
                    <a:lnTo>
                      <a:pt x="342" y="262"/>
                    </a:lnTo>
                    <a:lnTo>
                      <a:pt x="345" y="267"/>
                    </a:lnTo>
                    <a:lnTo>
                      <a:pt x="350" y="266"/>
                    </a:lnTo>
                    <a:lnTo>
                      <a:pt x="354" y="267"/>
                    </a:lnTo>
                    <a:lnTo>
                      <a:pt x="359" y="267"/>
                    </a:lnTo>
                    <a:lnTo>
                      <a:pt x="363" y="267"/>
                    </a:lnTo>
                    <a:lnTo>
                      <a:pt x="368" y="267"/>
                    </a:lnTo>
                    <a:lnTo>
                      <a:pt x="373" y="270"/>
                    </a:lnTo>
                    <a:lnTo>
                      <a:pt x="378" y="272"/>
                    </a:lnTo>
                    <a:lnTo>
                      <a:pt x="382" y="274"/>
                    </a:lnTo>
                    <a:lnTo>
                      <a:pt x="387" y="273"/>
                    </a:lnTo>
                    <a:lnTo>
                      <a:pt x="391" y="273"/>
                    </a:lnTo>
                    <a:lnTo>
                      <a:pt x="396" y="272"/>
                    </a:lnTo>
                    <a:lnTo>
                      <a:pt x="401" y="269"/>
                    </a:lnTo>
                    <a:lnTo>
                      <a:pt x="400" y="264"/>
                    </a:lnTo>
                    <a:lnTo>
                      <a:pt x="402" y="261"/>
                    </a:lnTo>
                    <a:lnTo>
                      <a:pt x="405" y="259"/>
                    </a:lnTo>
                    <a:lnTo>
                      <a:pt x="410" y="255"/>
                    </a:lnTo>
                    <a:lnTo>
                      <a:pt x="414" y="252"/>
                    </a:lnTo>
                    <a:lnTo>
                      <a:pt x="419" y="252"/>
                    </a:lnTo>
                    <a:lnTo>
                      <a:pt x="422" y="249"/>
                    </a:lnTo>
                    <a:lnTo>
                      <a:pt x="426" y="247"/>
                    </a:lnTo>
                    <a:lnTo>
                      <a:pt x="426" y="243"/>
                    </a:lnTo>
                    <a:lnTo>
                      <a:pt x="425" y="239"/>
                    </a:lnTo>
                    <a:lnTo>
                      <a:pt x="423" y="235"/>
                    </a:lnTo>
                    <a:lnTo>
                      <a:pt x="423" y="231"/>
                    </a:lnTo>
                    <a:lnTo>
                      <a:pt x="423" y="226"/>
                    </a:lnTo>
                    <a:lnTo>
                      <a:pt x="425" y="223"/>
                    </a:lnTo>
                    <a:lnTo>
                      <a:pt x="429" y="220"/>
                    </a:lnTo>
                    <a:lnTo>
                      <a:pt x="433" y="216"/>
                    </a:lnTo>
                    <a:lnTo>
                      <a:pt x="431" y="213"/>
                    </a:lnTo>
                    <a:lnTo>
                      <a:pt x="425" y="210"/>
                    </a:lnTo>
                    <a:lnTo>
                      <a:pt x="423" y="208"/>
                    </a:lnTo>
                    <a:lnTo>
                      <a:pt x="420" y="206"/>
                    </a:lnTo>
                    <a:lnTo>
                      <a:pt x="416" y="202"/>
                    </a:lnTo>
                    <a:lnTo>
                      <a:pt x="411" y="197"/>
                    </a:lnTo>
                    <a:lnTo>
                      <a:pt x="409" y="193"/>
                    </a:lnTo>
                    <a:lnTo>
                      <a:pt x="405" y="189"/>
                    </a:lnTo>
                    <a:lnTo>
                      <a:pt x="402" y="183"/>
                    </a:lnTo>
                    <a:lnTo>
                      <a:pt x="402" y="178"/>
                    </a:lnTo>
                    <a:lnTo>
                      <a:pt x="403" y="175"/>
                    </a:lnTo>
                    <a:lnTo>
                      <a:pt x="403" y="171"/>
                    </a:lnTo>
                    <a:lnTo>
                      <a:pt x="402" y="166"/>
                    </a:lnTo>
                    <a:lnTo>
                      <a:pt x="402" y="163"/>
                    </a:lnTo>
                    <a:lnTo>
                      <a:pt x="406" y="160"/>
                    </a:lnTo>
                    <a:lnTo>
                      <a:pt x="410" y="157"/>
                    </a:lnTo>
                    <a:lnTo>
                      <a:pt x="414" y="154"/>
                    </a:lnTo>
                    <a:lnTo>
                      <a:pt x="413" y="152"/>
                    </a:lnTo>
                    <a:lnTo>
                      <a:pt x="415" y="146"/>
                    </a:lnTo>
                    <a:lnTo>
                      <a:pt x="414" y="141"/>
                    </a:lnTo>
                    <a:lnTo>
                      <a:pt x="418" y="139"/>
                    </a:lnTo>
                    <a:lnTo>
                      <a:pt x="423" y="138"/>
                    </a:lnTo>
                    <a:lnTo>
                      <a:pt x="427" y="137"/>
                    </a:lnTo>
                    <a:lnTo>
                      <a:pt x="427" y="133"/>
                    </a:lnTo>
                    <a:lnTo>
                      <a:pt x="423" y="128"/>
                    </a:lnTo>
                    <a:lnTo>
                      <a:pt x="426" y="125"/>
                    </a:lnTo>
                    <a:lnTo>
                      <a:pt x="429" y="119"/>
                    </a:lnTo>
                    <a:lnTo>
                      <a:pt x="436" y="116"/>
                    </a:lnTo>
                    <a:lnTo>
                      <a:pt x="439" y="114"/>
                    </a:lnTo>
                    <a:lnTo>
                      <a:pt x="444" y="113"/>
                    </a:lnTo>
                    <a:lnTo>
                      <a:pt x="448" y="112"/>
                    </a:lnTo>
                    <a:lnTo>
                      <a:pt x="448" y="109"/>
                    </a:lnTo>
                    <a:lnTo>
                      <a:pt x="445" y="105"/>
                    </a:lnTo>
                    <a:lnTo>
                      <a:pt x="445" y="100"/>
                    </a:lnTo>
                    <a:lnTo>
                      <a:pt x="442" y="97"/>
                    </a:lnTo>
                    <a:lnTo>
                      <a:pt x="444" y="92"/>
                    </a:lnTo>
                    <a:lnTo>
                      <a:pt x="440" y="97"/>
                    </a:lnTo>
                    <a:lnTo>
                      <a:pt x="440" y="92"/>
                    </a:lnTo>
                    <a:lnTo>
                      <a:pt x="439" y="89"/>
                    </a:lnTo>
                    <a:lnTo>
                      <a:pt x="439" y="85"/>
                    </a:lnTo>
                    <a:lnTo>
                      <a:pt x="433" y="83"/>
                    </a:lnTo>
                    <a:lnTo>
                      <a:pt x="431" y="80"/>
                    </a:lnTo>
                    <a:lnTo>
                      <a:pt x="428" y="76"/>
                    </a:lnTo>
                    <a:lnTo>
                      <a:pt x="428" y="72"/>
                    </a:lnTo>
                    <a:lnTo>
                      <a:pt x="429" y="67"/>
                    </a:lnTo>
                    <a:lnTo>
                      <a:pt x="433" y="63"/>
                    </a:lnTo>
                    <a:lnTo>
                      <a:pt x="437" y="61"/>
                    </a:lnTo>
                    <a:lnTo>
                      <a:pt x="441" y="60"/>
                    </a:lnTo>
                    <a:lnTo>
                      <a:pt x="441" y="55"/>
                    </a:lnTo>
                    <a:lnTo>
                      <a:pt x="438" y="51"/>
                    </a:lnTo>
                    <a:lnTo>
                      <a:pt x="434" y="52"/>
                    </a:lnTo>
                    <a:lnTo>
                      <a:pt x="431" y="48"/>
                    </a:lnTo>
                    <a:lnTo>
                      <a:pt x="428" y="45"/>
                    </a:lnTo>
                    <a:lnTo>
                      <a:pt x="433" y="44"/>
                    </a:lnTo>
                    <a:lnTo>
                      <a:pt x="437" y="43"/>
                    </a:lnTo>
                    <a:lnTo>
                      <a:pt x="442" y="45"/>
                    </a:lnTo>
                    <a:lnTo>
                      <a:pt x="444" y="39"/>
                    </a:lnTo>
                    <a:lnTo>
                      <a:pt x="441" y="37"/>
                    </a:lnTo>
                    <a:lnTo>
                      <a:pt x="436" y="35"/>
                    </a:lnTo>
                    <a:lnTo>
                      <a:pt x="432" y="33"/>
                    </a:lnTo>
                    <a:lnTo>
                      <a:pt x="428" y="29"/>
                    </a:lnTo>
                    <a:lnTo>
                      <a:pt x="424" y="29"/>
                    </a:lnTo>
                    <a:lnTo>
                      <a:pt x="419" y="28"/>
                    </a:lnTo>
                    <a:lnTo>
                      <a:pt x="415" y="28"/>
                    </a:lnTo>
                    <a:lnTo>
                      <a:pt x="410" y="29"/>
                    </a:lnTo>
                    <a:lnTo>
                      <a:pt x="406" y="29"/>
                    </a:lnTo>
                    <a:lnTo>
                      <a:pt x="401" y="30"/>
                    </a:lnTo>
                    <a:lnTo>
                      <a:pt x="397" y="31"/>
                    </a:lnTo>
                    <a:lnTo>
                      <a:pt x="393" y="28"/>
                    </a:lnTo>
                    <a:lnTo>
                      <a:pt x="390" y="24"/>
                    </a:lnTo>
                    <a:lnTo>
                      <a:pt x="388" y="21"/>
                    </a:lnTo>
                    <a:lnTo>
                      <a:pt x="383" y="21"/>
                    </a:lnTo>
                    <a:lnTo>
                      <a:pt x="378" y="20"/>
                    </a:lnTo>
                    <a:lnTo>
                      <a:pt x="373" y="21"/>
                    </a:lnTo>
                    <a:lnTo>
                      <a:pt x="369" y="19"/>
                    </a:lnTo>
                    <a:lnTo>
                      <a:pt x="367" y="15"/>
                    </a:lnTo>
                    <a:lnTo>
                      <a:pt x="361" y="12"/>
                    </a:lnTo>
                    <a:lnTo>
                      <a:pt x="356" y="11"/>
                    </a:lnTo>
                    <a:lnTo>
                      <a:pt x="352" y="13"/>
                    </a:lnTo>
                    <a:lnTo>
                      <a:pt x="347" y="12"/>
                    </a:lnTo>
                    <a:lnTo>
                      <a:pt x="346" y="7"/>
                    </a:lnTo>
                    <a:lnTo>
                      <a:pt x="342" y="6"/>
                    </a:lnTo>
                    <a:lnTo>
                      <a:pt x="337" y="4"/>
                    </a:lnTo>
                    <a:lnTo>
                      <a:pt x="333" y="5"/>
                    </a:lnTo>
                    <a:lnTo>
                      <a:pt x="328" y="6"/>
                    </a:lnTo>
                    <a:lnTo>
                      <a:pt x="324" y="6"/>
                    </a:lnTo>
                    <a:lnTo>
                      <a:pt x="319" y="7"/>
                    </a:lnTo>
                    <a:lnTo>
                      <a:pt x="325" y="0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1" name="Freeform 126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947592" y="3682675"/>
                <a:ext cx="965280" cy="742719"/>
              </a:xfrm>
              <a:custGeom>
                <a:avLst/>
                <a:gdLst>
                  <a:gd name="T0" fmla="*/ 2147483647 w 778"/>
                  <a:gd name="T1" fmla="*/ 2147483647 h 628"/>
                  <a:gd name="T2" fmla="*/ 2147483647 w 778"/>
                  <a:gd name="T3" fmla="*/ 2147483647 h 628"/>
                  <a:gd name="T4" fmla="*/ 2147483647 w 778"/>
                  <a:gd name="T5" fmla="*/ 2147483647 h 628"/>
                  <a:gd name="T6" fmla="*/ 2147483647 w 778"/>
                  <a:gd name="T7" fmla="*/ 2147483647 h 628"/>
                  <a:gd name="T8" fmla="*/ 2147483647 w 778"/>
                  <a:gd name="T9" fmla="*/ 2147483647 h 628"/>
                  <a:gd name="T10" fmla="*/ 2147483647 w 778"/>
                  <a:gd name="T11" fmla="*/ 2147483647 h 628"/>
                  <a:gd name="T12" fmla="*/ 2147483647 w 778"/>
                  <a:gd name="T13" fmla="*/ 2147483647 h 628"/>
                  <a:gd name="T14" fmla="*/ 2147483647 w 778"/>
                  <a:gd name="T15" fmla="*/ 2147483647 h 628"/>
                  <a:gd name="T16" fmla="*/ 2147483647 w 778"/>
                  <a:gd name="T17" fmla="*/ 2147483647 h 628"/>
                  <a:gd name="T18" fmla="*/ 2147483647 w 778"/>
                  <a:gd name="T19" fmla="*/ 2147483647 h 628"/>
                  <a:gd name="T20" fmla="*/ 2147483647 w 778"/>
                  <a:gd name="T21" fmla="*/ 2147483647 h 628"/>
                  <a:gd name="T22" fmla="*/ 2147483647 w 778"/>
                  <a:gd name="T23" fmla="*/ 2147483647 h 628"/>
                  <a:gd name="T24" fmla="*/ 2147483647 w 778"/>
                  <a:gd name="T25" fmla="*/ 2147483647 h 628"/>
                  <a:gd name="T26" fmla="*/ 2147483647 w 778"/>
                  <a:gd name="T27" fmla="*/ 2147483647 h 628"/>
                  <a:gd name="T28" fmla="*/ 2147483647 w 778"/>
                  <a:gd name="T29" fmla="*/ 2147483647 h 628"/>
                  <a:gd name="T30" fmla="*/ 2147483647 w 778"/>
                  <a:gd name="T31" fmla="*/ 2147483647 h 628"/>
                  <a:gd name="T32" fmla="*/ 2147483647 w 778"/>
                  <a:gd name="T33" fmla="*/ 2147483647 h 628"/>
                  <a:gd name="T34" fmla="*/ 2147483647 w 778"/>
                  <a:gd name="T35" fmla="*/ 2147483647 h 628"/>
                  <a:gd name="T36" fmla="*/ 2147483647 w 778"/>
                  <a:gd name="T37" fmla="*/ 2147483647 h 628"/>
                  <a:gd name="T38" fmla="*/ 2147483647 w 778"/>
                  <a:gd name="T39" fmla="*/ 2147483647 h 628"/>
                  <a:gd name="T40" fmla="*/ 2147483647 w 778"/>
                  <a:gd name="T41" fmla="*/ 2147483647 h 628"/>
                  <a:gd name="T42" fmla="*/ 2147483647 w 778"/>
                  <a:gd name="T43" fmla="*/ 2147483647 h 628"/>
                  <a:gd name="T44" fmla="*/ 2147483647 w 778"/>
                  <a:gd name="T45" fmla="*/ 2147483647 h 628"/>
                  <a:gd name="T46" fmla="*/ 2147483647 w 778"/>
                  <a:gd name="T47" fmla="*/ 2147483647 h 628"/>
                  <a:gd name="T48" fmla="*/ 2147483647 w 778"/>
                  <a:gd name="T49" fmla="*/ 2147483647 h 628"/>
                  <a:gd name="T50" fmla="*/ 2147483647 w 778"/>
                  <a:gd name="T51" fmla="*/ 2147483647 h 628"/>
                  <a:gd name="T52" fmla="*/ 2147483647 w 778"/>
                  <a:gd name="T53" fmla="*/ 2147483647 h 628"/>
                  <a:gd name="T54" fmla="*/ 2147483647 w 778"/>
                  <a:gd name="T55" fmla="*/ 2147483647 h 628"/>
                  <a:gd name="T56" fmla="*/ 2147483647 w 778"/>
                  <a:gd name="T57" fmla="*/ 2147483647 h 628"/>
                  <a:gd name="T58" fmla="*/ 2147483647 w 778"/>
                  <a:gd name="T59" fmla="*/ 2147483647 h 628"/>
                  <a:gd name="T60" fmla="*/ 2147483647 w 778"/>
                  <a:gd name="T61" fmla="*/ 2147483647 h 628"/>
                  <a:gd name="T62" fmla="*/ 2147483647 w 778"/>
                  <a:gd name="T63" fmla="*/ 2147483647 h 628"/>
                  <a:gd name="T64" fmla="*/ 2147483647 w 778"/>
                  <a:gd name="T65" fmla="*/ 2147483647 h 628"/>
                  <a:gd name="T66" fmla="*/ 2147483647 w 778"/>
                  <a:gd name="T67" fmla="*/ 2147483647 h 628"/>
                  <a:gd name="T68" fmla="*/ 2147483647 w 778"/>
                  <a:gd name="T69" fmla="*/ 2147483647 h 628"/>
                  <a:gd name="T70" fmla="*/ 2147483647 w 778"/>
                  <a:gd name="T71" fmla="*/ 2147483647 h 628"/>
                  <a:gd name="T72" fmla="*/ 2147483647 w 778"/>
                  <a:gd name="T73" fmla="*/ 2147483647 h 628"/>
                  <a:gd name="T74" fmla="*/ 2147483647 w 778"/>
                  <a:gd name="T75" fmla="*/ 2147483647 h 628"/>
                  <a:gd name="T76" fmla="*/ 2147483647 w 778"/>
                  <a:gd name="T77" fmla="*/ 2147483647 h 628"/>
                  <a:gd name="T78" fmla="*/ 2147483647 w 778"/>
                  <a:gd name="T79" fmla="*/ 2147483647 h 628"/>
                  <a:gd name="T80" fmla="*/ 2147483647 w 778"/>
                  <a:gd name="T81" fmla="*/ 2147483647 h 628"/>
                  <a:gd name="T82" fmla="*/ 2147483647 w 778"/>
                  <a:gd name="T83" fmla="*/ 2147483647 h 628"/>
                  <a:gd name="T84" fmla="*/ 2147483647 w 778"/>
                  <a:gd name="T85" fmla="*/ 2147483647 h 628"/>
                  <a:gd name="T86" fmla="*/ 2147483647 w 778"/>
                  <a:gd name="T87" fmla="*/ 2147483647 h 628"/>
                  <a:gd name="T88" fmla="*/ 2147483647 w 778"/>
                  <a:gd name="T89" fmla="*/ 2147483647 h 628"/>
                  <a:gd name="T90" fmla="*/ 2147483647 w 778"/>
                  <a:gd name="T91" fmla="*/ 2147483647 h 628"/>
                  <a:gd name="T92" fmla="*/ 2147483647 w 778"/>
                  <a:gd name="T93" fmla="*/ 2147483647 h 628"/>
                  <a:gd name="T94" fmla="*/ 2147483647 w 778"/>
                  <a:gd name="T95" fmla="*/ 2147483647 h 628"/>
                  <a:gd name="T96" fmla="*/ 2147483647 w 778"/>
                  <a:gd name="T97" fmla="*/ 2147483647 h 628"/>
                  <a:gd name="T98" fmla="*/ 2147483647 w 778"/>
                  <a:gd name="T99" fmla="*/ 2147483647 h 628"/>
                  <a:gd name="T100" fmla="*/ 2147483647 w 778"/>
                  <a:gd name="T101" fmla="*/ 2147483647 h 628"/>
                  <a:gd name="T102" fmla="*/ 2147483647 w 778"/>
                  <a:gd name="T103" fmla="*/ 2147483647 h 628"/>
                  <a:gd name="T104" fmla="*/ 2147483647 w 778"/>
                  <a:gd name="T105" fmla="*/ 2147483647 h 628"/>
                  <a:gd name="T106" fmla="*/ 2147483647 w 778"/>
                  <a:gd name="T107" fmla="*/ 2147483647 h 628"/>
                  <a:gd name="T108" fmla="*/ 2147483647 w 778"/>
                  <a:gd name="T109" fmla="*/ 2147483647 h 628"/>
                  <a:gd name="T110" fmla="*/ 2147483647 w 778"/>
                  <a:gd name="T111" fmla="*/ 2147483647 h 628"/>
                  <a:gd name="T112" fmla="*/ 2147483647 w 778"/>
                  <a:gd name="T113" fmla="*/ 2147483647 h 628"/>
                  <a:gd name="T114" fmla="*/ 2147483647 w 778"/>
                  <a:gd name="T115" fmla="*/ 2147483647 h 62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778"/>
                  <a:gd name="T175" fmla="*/ 0 h 628"/>
                  <a:gd name="T176" fmla="*/ 778 w 778"/>
                  <a:gd name="T177" fmla="*/ 628 h 62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778" h="628">
                    <a:moveTo>
                      <a:pt x="670" y="16"/>
                    </a:moveTo>
                    <a:lnTo>
                      <a:pt x="672" y="12"/>
                    </a:lnTo>
                    <a:lnTo>
                      <a:pt x="672" y="7"/>
                    </a:lnTo>
                    <a:lnTo>
                      <a:pt x="671" y="3"/>
                    </a:lnTo>
                    <a:lnTo>
                      <a:pt x="668" y="0"/>
                    </a:lnTo>
                    <a:lnTo>
                      <a:pt x="664" y="0"/>
                    </a:lnTo>
                    <a:lnTo>
                      <a:pt x="659" y="1"/>
                    </a:lnTo>
                    <a:lnTo>
                      <a:pt x="655" y="2"/>
                    </a:lnTo>
                    <a:lnTo>
                      <a:pt x="649" y="0"/>
                    </a:lnTo>
                    <a:lnTo>
                      <a:pt x="646" y="3"/>
                    </a:lnTo>
                    <a:lnTo>
                      <a:pt x="644" y="7"/>
                    </a:lnTo>
                    <a:lnTo>
                      <a:pt x="640" y="10"/>
                    </a:lnTo>
                    <a:lnTo>
                      <a:pt x="636" y="14"/>
                    </a:lnTo>
                    <a:lnTo>
                      <a:pt x="632" y="20"/>
                    </a:lnTo>
                    <a:lnTo>
                      <a:pt x="630" y="23"/>
                    </a:lnTo>
                    <a:lnTo>
                      <a:pt x="629" y="28"/>
                    </a:lnTo>
                    <a:lnTo>
                      <a:pt x="629" y="32"/>
                    </a:lnTo>
                    <a:lnTo>
                      <a:pt x="630" y="36"/>
                    </a:lnTo>
                    <a:lnTo>
                      <a:pt x="631" y="40"/>
                    </a:lnTo>
                    <a:lnTo>
                      <a:pt x="628" y="46"/>
                    </a:lnTo>
                    <a:lnTo>
                      <a:pt x="627" y="49"/>
                    </a:lnTo>
                    <a:lnTo>
                      <a:pt x="625" y="54"/>
                    </a:lnTo>
                    <a:lnTo>
                      <a:pt x="621" y="57"/>
                    </a:lnTo>
                    <a:lnTo>
                      <a:pt x="617" y="59"/>
                    </a:lnTo>
                    <a:lnTo>
                      <a:pt x="613" y="64"/>
                    </a:lnTo>
                    <a:lnTo>
                      <a:pt x="609" y="66"/>
                    </a:lnTo>
                    <a:lnTo>
                      <a:pt x="604" y="69"/>
                    </a:lnTo>
                    <a:lnTo>
                      <a:pt x="600" y="70"/>
                    </a:lnTo>
                    <a:lnTo>
                      <a:pt x="595" y="70"/>
                    </a:lnTo>
                    <a:lnTo>
                      <a:pt x="592" y="71"/>
                    </a:lnTo>
                    <a:lnTo>
                      <a:pt x="586" y="73"/>
                    </a:lnTo>
                    <a:lnTo>
                      <a:pt x="582" y="76"/>
                    </a:lnTo>
                    <a:lnTo>
                      <a:pt x="577" y="79"/>
                    </a:lnTo>
                    <a:lnTo>
                      <a:pt x="573" y="79"/>
                    </a:lnTo>
                    <a:lnTo>
                      <a:pt x="568" y="80"/>
                    </a:lnTo>
                    <a:lnTo>
                      <a:pt x="564" y="78"/>
                    </a:lnTo>
                    <a:lnTo>
                      <a:pt x="559" y="77"/>
                    </a:lnTo>
                    <a:lnTo>
                      <a:pt x="556" y="73"/>
                    </a:lnTo>
                    <a:lnTo>
                      <a:pt x="551" y="72"/>
                    </a:lnTo>
                    <a:lnTo>
                      <a:pt x="547" y="69"/>
                    </a:lnTo>
                    <a:lnTo>
                      <a:pt x="542" y="69"/>
                    </a:lnTo>
                    <a:lnTo>
                      <a:pt x="538" y="71"/>
                    </a:lnTo>
                    <a:lnTo>
                      <a:pt x="533" y="74"/>
                    </a:lnTo>
                    <a:lnTo>
                      <a:pt x="526" y="75"/>
                    </a:lnTo>
                    <a:lnTo>
                      <a:pt x="523" y="78"/>
                    </a:lnTo>
                    <a:lnTo>
                      <a:pt x="515" y="77"/>
                    </a:lnTo>
                    <a:lnTo>
                      <a:pt x="511" y="74"/>
                    </a:lnTo>
                    <a:lnTo>
                      <a:pt x="506" y="74"/>
                    </a:lnTo>
                    <a:lnTo>
                      <a:pt x="502" y="73"/>
                    </a:lnTo>
                    <a:lnTo>
                      <a:pt x="497" y="73"/>
                    </a:lnTo>
                    <a:lnTo>
                      <a:pt x="496" y="68"/>
                    </a:lnTo>
                    <a:lnTo>
                      <a:pt x="492" y="67"/>
                    </a:lnTo>
                    <a:lnTo>
                      <a:pt x="487" y="65"/>
                    </a:lnTo>
                    <a:lnTo>
                      <a:pt x="483" y="66"/>
                    </a:lnTo>
                    <a:lnTo>
                      <a:pt x="480" y="71"/>
                    </a:lnTo>
                    <a:lnTo>
                      <a:pt x="479" y="76"/>
                    </a:lnTo>
                    <a:lnTo>
                      <a:pt x="476" y="79"/>
                    </a:lnTo>
                    <a:lnTo>
                      <a:pt x="474" y="84"/>
                    </a:lnTo>
                    <a:lnTo>
                      <a:pt x="470" y="87"/>
                    </a:lnTo>
                    <a:lnTo>
                      <a:pt x="466" y="90"/>
                    </a:lnTo>
                    <a:lnTo>
                      <a:pt x="462" y="90"/>
                    </a:lnTo>
                    <a:lnTo>
                      <a:pt x="457" y="91"/>
                    </a:lnTo>
                    <a:lnTo>
                      <a:pt x="453" y="93"/>
                    </a:lnTo>
                    <a:lnTo>
                      <a:pt x="448" y="96"/>
                    </a:lnTo>
                    <a:lnTo>
                      <a:pt x="444" y="97"/>
                    </a:lnTo>
                    <a:lnTo>
                      <a:pt x="439" y="97"/>
                    </a:lnTo>
                    <a:lnTo>
                      <a:pt x="435" y="98"/>
                    </a:lnTo>
                    <a:lnTo>
                      <a:pt x="431" y="100"/>
                    </a:lnTo>
                    <a:lnTo>
                      <a:pt x="427" y="103"/>
                    </a:lnTo>
                    <a:lnTo>
                      <a:pt x="423" y="107"/>
                    </a:lnTo>
                    <a:lnTo>
                      <a:pt x="419" y="109"/>
                    </a:lnTo>
                    <a:lnTo>
                      <a:pt x="414" y="113"/>
                    </a:lnTo>
                    <a:lnTo>
                      <a:pt x="411" y="118"/>
                    </a:lnTo>
                    <a:lnTo>
                      <a:pt x="406" y="121"/>
                    </a:lnTo>
                    <a:lnTo>
                      <a:pt x="403" y="123"/>
                    </a:lnTo>
                    <a:lnTo>
                      <a:pt x="398" y="124"/>
                    </a:lnTo>
                    <a:lnTo>
                      <a:pt x="394" y="126"/>
                    </a:lnTo>
                    <a:lnTo>
                      <a:pt x="389" y="126"/>
                    </a:lnTo>
                    <a:lnTo>
                      <a:pt x="388" y="131"/>
                    </a:lnTo>
                    <a:lnTo>
                      <a:pt x="388" y="135"/>
                    </a:lnTo>
                    <a:lnTo>
                      <a:pt x="389" y="139"/>
                    </a:lnTo>
                    <a:lnTo>
                      <a:pt x="391" y="143"/>
                    </a:lnTo>
                    <a:lnTo>
                      <a:pt x="394" y="148"/>
                    </a:lnTo>
                    <a:lnTo>
                      <a:pt x="399" y="149"/>
                    </a:lnTo>
                    <a:lnTo>
                      <a:pt x="401" y="152"/>
                    </a:lnTo>
                    <a:lnTo>
                      <a:pt x="407" y="156"/>
                    </a:lnTo>
                    <a:lnTo>
                      <a:pt x="409" y="159"/>
                    </a:lnTo>
                    <a:lnTo>
                      <a:pt x="412" y="163"/>
                    </a:lnTo>
                    <a:lnTo>
                      <a:pt x="415" y="167"/>
                    </a:lnTo>
                    <a:lnTo>
                      <a:pt x="411" y="171"/>
                    </a:lnTo>
                    <a:lnTo>
                      <a:pt x="406" y="172"/>
                    </a:lnTo>
                    <a:lnTo>
                      <a:pt x="407" y="176"/>
                    </a:lnTo>
                    <a:lnTo>
                      <a:pt x="407" y="181"/>
                    </a:lnTo>
                    <a:lnTo>
                      <a:pt x="411" y="184"/>
                    </a:lnTo>
                    <a:lnTo>
                      <a:pt x="411" y="189"/>
                    </a:lnTo>
                    <a:lnTo>
                      <a:pt x="412" y="193"/>
                    </a:lnTo>
                    <a:lnTo>
                      <a:pt x="410" y="197"/>
                    </a:lnTo>
                    <a:lnTo>
                      <a:pt x="408" y="201"/>
                    </a:lnTo>
                    <a:lnTo>
                      <a:pt x="407" y="207"/>
                    </a:lnTo>
                    <a:lnTo>
                      <a:pt x="407" y="210"/>
                    </a:lnTo>
                    <a:lnTo>
                      <a:pt x="412" y="216"/>
                    </a:lnTo>
                    <a:lnTo>
                      <a:pt x="418" y="221"/>
                    </a:lnTo>
                    <a:lnTo>
                      <a:pt x="418" y="225"/>
                    </a:lnTo>
                    <a:lnTo>
                      <a:pt x="421" y="230"/>
                    </a:lnTo>
                    <a:lnTo>
                      <a:pt x="421" y="233"/>
                    </a:lnTo>
                    <a:lnTo>
                      <a:pt x="422" y="237"/>
                    </a:lnTo>
                    <a:lnTo>
                      <a:pt x="423" y="242"/>
                    </a:lnTo>
                    <a:lnTo>
                      <a:pt x="423" y="245"/>
                    </a:lnTo>
                    <a:lnTo>
                      <a:pt x="426" y="251"/>
                    </a:lnTo>
                    <a:lnTo>
                      <a:pt x="429" y="255"/>
                    </a:lnTo>
                    <a:lnTo>
                      <a:pt x="433" y="254"/>
                    </a:lnTo>
                    <a:lnTo>
                      <a:pt x="433" y="250"/>
                    </a:lnTo>
                    <a:lnTo>
                      <a:pt x="432" y="246"/>
                    </a:lnTo>
                    <a:lnTo>
                      <a:pt x="432" y="242"/>
                    </a:lnTo>
                    <a:lnTo>
                      <a:pt x="431" y="239"/>
                    </a:lnTo>
                    <a:lnTo>
                      <a:pt x="431" y="234"/>
                    </a:lnTo>
                    <a:lnTo>
                      <a:pt x="433" y="229"/>
                    </a:lnTo>
                    <a:lnTo>
                      <a:pt x="434" y="225"/>
                    </a:lnTo>
                    <a:lnTo>
                      <a:pt x="434" y="221"/>
                    </a:lnTo>
                    <a:lnTo>
                      <a:pt x="433" y="216"/>
                    </a:lnTo>
                    <a:lnTo>
                      <a:pt x="435" y="213"/>
                    </a:lnTo>
                    <a:lnTo>
                      <a:pt x="440" y="210"/>
                    </a:lnTo>
                    <a:lnTo>
                      <a:pt x="441" y="205"/>
                    </a:lnTo>
                    <a:lnTo>
                      <a:pt x="440" y="202"/>
                    </a:lnTo>
                    <a:lnTo>
                      <a:pt x="438" y="197"/>
                    </a:lnTo>
                    <a:lnTo>
                      <a:pt x="437" y="193"/>
                    </a:lnTo>
                    <a:lnTo>
                      <a:pt x="441" y="189"/>
                    </a:lnTo>
                    <a:lnTo>
                      <a:pt x="442" y="185"/>
                    </a:lnTo>
                    <a:lnTo>
                      <a:pt x="447" y="184"/>
                    </a:lnTo>
                    <a:lnTo>
                      <a:pt x="451" y="183"/>
                    </a:lnTo>
                    <a:lnTo>
                      <a:pt x="456" y="183"/>
                    </a:lnTo>
                    <a:lnTo>
                      <a:pt x="457" y="187"/>
                    </a:lnTo>
                    <a:lnTo>
                      <a:pt x="459" y="190"/>
                    </a:lnTo>
                    <a:lnTo>
                      <a:pt x="460" y="194"/>
                    </a:lnTo>
                    <a:lnTo>
                      <a:pt x="460" y="199"/>
                    </a:lnTo>
                    <a:lnTo>
                      <a:pt x="461" y="202"/>
                    </a:lnTo>
                    <a:lnTo>
                      <a:pt x="461" y="207"/>
                    </a:lnTo>
                    <a:lnTo>
                      <a:pt x="462" y="211"/>
                    </a:lnTo>
                    <a:lnTo>
                      <a:pt x="462" y="215"/>
                    </a:lnTo>
                    <a:lnTo>
                      <a:pt x="463" y="219"/>
                    </a:lnTo>
                    <a:lnTo>
                      <a:pt x="464" y="224"/>
                    </a:lnTo>
                    <a:lnTo>
                      <a:pt x="464" y="227"/>
                    </a:lnTo>
                    <a:lnTo>
                      <a:pt x="465" y="234"/>
                    </a:lnTo>
                    <a:lnTo>
                      <a:pt x="465" y="237"/>
                    </a:lnTo>
                    <a:lnTo>
                      <a:pt x="466" y="242"/>
                    </a:lnTo>
                    <a:lnTo>
                      <a:pt x="467" y="246"/>
                    </a:lnTo>
                    <a:lnTo>
                      <a:pt x="467" y="250"/>
                    </a:lnTo>
                    <a:lnTo>
                      <a:pt x="470" y="256"/>
                    </a:lnTo>
                    <a:lnTo>
                      <a:pt x="471" y="261"/>
                    </a:lnTo>
                    <a:lnTo>
                      <a:pt x="471" y="263"/>
                    </a:lnTo>
                    <a:lnTo>
                      <a:pt x="477" y="270"/>
                    </a:lnTo>
                    <a:lnTo>
                      <a:pt x="477" y="273"/>
                    </a:lnTo>
                    <a:lnTo>
                      <a:pt x="478" y="280"/>
                    </a:lnTo>
                    <a:lnTo>
                      <a:pt x="479" y="284"/>
                    </a:lnTo>
                    <a:lnTo>
                      <a:pt x="479" y="288"/>
                    </a:lnTo>
                    <a:lnTo>
                      <a:pt x="480" y="293"/>
                    </a:lnTo>
                    <a:lnTo>
                      <a:pt x="478" y="296"/>
                    </a:lnTo>
                    <a:lnTo>
                      <a:pt x="476" y="303"/>
                    </a:lnTo>
                    <a:lnTo>
                      <a:pt x="475" y="307"/>
                    </a:lnTo>
                    <a:lnTo>
                      <a:pt x="473" y="312"/>
                    </a:lnTo>
                    <a:lnTo>
                      <a:pt x="469" y="314"/>
                    </a:lnTo>
                    <a:lnTo>
                      <a:pt x="467" y="318"/>
                    </a:lnTo>
                    <a:lnTo>
                      <a:pt x="466" y="323"/>
                    </a:lnTo>
                    <a:lnTo>
                      <a:pt x="461" y="323"/>
                    </a:lnTo>
                    <a:lnTo>
                      <a:pt x="457" y="323"/>
                    </a:lnTo>
                    <a:lnTo>
                      <a:pt x="452" y="325"/>
                    </a:lnTo>
                    <a:lnTo>
                      <a:pt x="450" y="329"/>
                    </a:lnTo>
                    <a:lnTo>
                      <a:pt x="451" y="334"/>
                    </a:lnTo>
                    <a:lnTo>
                      <a:pt x="450" y="337"/>
                    </a:lnTo>
                    <a:lnTo>
                      <a:pt x="450" y="342"/>
                    </a:lnTo>
                    <a:lnTo>
                      <a:pt x="454" y="343"/>
                    </a:lnTo>
                    <a:lnTo>
                      <a:pt x="460" y="345"/>
                    </a:lnTo>
                    <a:lnTo>
                      <a:pt x="464" y="345"/>
                    </a:lnTo>
                    <a:lnTo>
                      <a:pt x="469" y="347"/>
                    </a:lnTo>
                    <a:lnTo>
                      <a:pt x="464" y="348"/>
                    </a:lnTo>
                    <a:lnTo>
                      <a:pt x="460" y="351"/>
                    </a:lnTo>
                    <a:lnTo>
                      <a:pt x="463" y="354"/>
                    </a:lnTo>
                    <a:lnTo>
                      <a:pt x="464" y="358"/>
                    </a:lnTo>
                    <a:lnTo>
                      <a:pt x="462" y="363"/>
                    </a:lnTo>
                    <a:lnTo>
                      <a:pt x="458" y="366"/>
                    </a:lnTo>
                    <a:lnTo>
                      <a:pt x="454" y="367"/>
                    </a:lnTo>
                    <a:lnTo>
                      <a:pt x="452" y="371"/>
                    </a:lnTo>
                    <a:lnTo>
                      <a:pt x="447" y="372"/>
                    </a:lnTo>
                    <a:lnTo>
                      <a:pt x="443" y="376"/>
                    </a:lnTo>
                    <a:lnTo>
                      <a:pt x="443" y="380"/>
                    </a:lnTo>
                    <a:lnTo>
                      <a:pt x="442" y="385"/>
                    </a:lnTo>
                    <a:lnTo>
                      <a:pt x="442" y="388"/>
                    </a:lnTo>
                    <a:lnTo>
                      <a:pt x="441" y="393"/>
                    </a:lnTo>
                    <a:lnTo>
                      <a:pt x="436" y="397"/>
                    </a:lnTo>
                    <a:lnTo>
                      <a:pt x="433" y="400"/>
                    </a:lnTo>
                    <a:lnTo>
                      <a:pt x="428" y="402"/>
                    </a:lnTo>
                    <a:lnTo>
                      <a:pt x="427" y="408"/>
                    </a:lnTo>
                    <a:lnTo>
                      <a:pt x="423" y="408"/>
                    </a:lnTo>
                    <a:lnTo>
                      <a:pt x="420" y="412"/>
                    </a:lnTo>
                    <a:lnTo>
                      <a:pt x="419" y="417"/>
                    </a:lnTo>
                    <a:lnTo>
                      <a:pt x="417" y="421"/>
                    </a:lnTo>
                    <a:lnTo>
                      <a:pt x="413" y="425"/>
                    </a:lnTo>
                    <a:lnTo>
                      <a:pt x="409" y="426"/>
                    </a:lnTo>
                    <a:lnTo>
                      <a:pt x="406" y="429"/>
                    </a:lnTo>
                    <a:lnTo>
                      <a:pt x="402" y="431"/>
                    </a:lnTo>
                    <a:lnTo>
                      <a:pt x="397" y="432"/>
                    </a:lnTo>
                    <a:lnTo>
                      <a:pt x="393" y="435"/>
                    </a:lnTo>
                    <a:lnTo>
                      <a:pt x="388" y="436"/>
                    </a:lnTo>
                    <a:lnTo>
                      <a:pt x="382" y="437"/>
                    </a:lnTo>
                    <a:lnTo>
                      <a:pt x="376" y="440"/>
                    </a:lnTo>
                    <a:lnTo>
                      <a:pt x="371" y="442"/>
                    </a:lnTo>
                    <a:lnTo>
                      <a:pt x="367" y="444"/>
                    </a:lnTo>
                    <a:lnTo>
                      <a:pt x="368" y="449"/>
                    </a:lnTo>
                    <a:lnTo>
                      <a:pt x="368" y="453"/>
                    </a:lnTo>
                    <a:lnTo>
                      <a:pt x="369" y="457"/>
                    </a:lnTo>
                    <a:lnTo>
                      <a:pt x="371" y="461"/>
                    </a:lnTo>
                    <a:lnTo>
                      <a:pt x="374" y="465"/>
                    </a:lnTo>
                    <a:lnTo>
                      <a:pt x="374" y="468"/>
                    </a:lnTo>
                    <a:lnTo>
                      <a:pt x="378" y="473"/>
                    </a:lnTo>
                    <a:lnTo>
                      <a:pt x="381" y="476"/>
                    </a:lnTo>
                    <a:lnTo>
                      <a:pt x="376" y="478"/>
                    </a:lnTo>
                    <a:lnTo>
                      <a:pt x="372" y="481"/>
                    </a:lnTo>
                    <a:lnTo>
                      <a:pt x="368" y="486"/>
                    </a:lnTo>
                    <a:lnTo>
                      <a:pt x="364" y="491"/>
                    </a:lnTo>
                    <a:lnTo>
                      <a:pt x="360" y="493"/>
                    </a:lnTo>
                    <a:lnTo>
                      <a:pt x="358" y="498"/>
                    </a:lnTo>
                    <a:lnTo>
                      <a:pt x="354" y="500"/>
                    </a:lnTo>
                    <a:lnTo>
                      <a:pt x="352" y="505"/>
                    </a:lnTo>
                    <a:lnTo>
                      <a:pt x="351" y="509"/>
                    </a:lnTo>
                    <a:lnTo>
                      <a:pt x="347" y="512"/>
                    </a:lnTo>
                    <a:lnTo>
                      <a:pt x="342" y="515"/>
                    </a:lnTo>
                    <a:lnTo>
                      <a:pt x="338" y="515"/>
                    </a:lnTo>
                    <a:lnTo>
                      <a:pt x="334" y="520"/>
                    </a:lnTo>
                    <a:lnTo>
                      <a:pt x="330" y="522"/>
                    </a:lnTo>
                    <a:lnTo>
                      <a:pt x="326" y="525"/>
                    </a:lnTo>
                    <a:lnTo>
                      <a:pt x="321" y="528"/>
                    </a:lnTo>
                    <a:lnTo>
                      <a:pt x="317" y="528"/>
                    </a:lnTo>
                    <a:lnTo>
                      <a:pt x="312" y="529"/>
                    </a:lnTo>
                    <a:lnTo>
                      <a:pt x="308" y="528"/>
                    </a:lnTo>
                    <a:lnTo>
                      <a:pt x="303" y="528"/>
                    </a:lnTo>
                    <a:lnTo>
                      <a:pt x="299" y="526"/>
                    </a:lnTo>
                    <a:lnTo>
                      <a:pt x="295" y="526"/>
                    </a:lnTo>
                    <a:lnTo>
                      <a:pt x="293" y="532"/>
                    </a:lnTo>
                    <a:lnTo>
                      <a:pt x="297" y="535"/>
                    </a:lnTo>
                    <a:lnTo>
                      <a:pt x="297" y="539"/>
                    </a:lnTo>
                    <a:lnTo>
                      <a:pt x="295" y="543"/>
                    </a:lnTo>
                    <a:lnTo>
                      <a:pt x="291" y="544"/>
                    </a:lnTo>
                    <a:lnTo>
                      <a:pt x="284" y="545"/>
                    </a:lnTo>
                    <a:lnTo>
                      <a:pt x="279" y="532"/>
                    </a:lnTo>
                    <a:lnTo>
                      <a:pt x="286" y="537"/>
                    </a:lnTo>
                    <a:lnTo>
                      <a:pt x="274" y="529"/>
                    </a:lnTo>
                    <a:lnTo>
                      <a:pt x="267" y="537"/>
                    </a:lnTo>
                    <a:lnTo>
                      <a:pt x="264" y="533"/>
                    </a:lnTo>
                    <a:lnTo>
                      <a:pt x="259" y="534"/>
                    </a:lnTo>
                    <a:lnTo>
                      <a:pt x="255" y="532"/>
                    </a:lnTo>
                    <a:lnTo>
                      <a:pt x="250" y="532"/>
                    </a:lnTo>
                    <a:lnTo>
                      <a:pt x="246" y="533"/>
                    </a:lnTo>
                    <a:lnTo>
                      <a:pt x="243" y="530"/>
                    </a:lnTo>
                    <a:lnTo>
                      <a:pt x="240" y="527"/>
                    </a:lnTo>
                    <a:lnTo>
                      <a:pt x="237" y="522"/>
                    </a:lnTo>
                    <a:lnTo>
                      <a:pt x="233" y="520"/>
                    </a:lnTo>
                    <a:lnTo>
                      <a:pt x="228" y="517"/>
                    </a:lnTo>
                    <a:lnTo>
                      <a:pt x="223" y="516"/>
                    </a:lnTo>
                    <a:lnTo>
                      <a:pt x="218" y="512"/>
                    </a:lnTo>
                    <a:lnTo>
                      <a:pt x="215" y="509"/>
                    </a:lnTo>
                    <a:lnTo>
                      <a:pt x="210" y="505"/>
                    </a:lnTo>
                    <a:lnTo>
                      <a:pt x="207" y="501"/>
                    </a:lnTo>
                    <a:lnTo>
                      <a:pt x="203" y="498"/>
                    </a:lnTo>
                    <a:lnTo>
                      <a:pt x="199" y="494"/>
                    </a:lnTo>
                    <a:lnTo>
                      <a:pt x="195" y="492"/>
                    </a:lnTo>
                    <a:lnTo>
                      <a:pt x="188" y="493"/>
                    </a:lnTo>
                    <a:lnTo>
                      <a:pt x="183" y="492"/>
                    </a:lnTo>
                    <a:lnTo>
                      <a:pt x="178" y="493"/>
                    </a:lnTo>
                    <a:lnTo>
                      <a:pt x="173" y="493"/>
                    </a:lnTo>
                    <a:lnTo>
                      <a:pt x="167" y="494"/>
                    </a:lnTo>
                    <a:lnTo>
                      <a:pt x="162" y="495"/>
                    </a:lnTo>
                    <a:lnTo>
                      <a:pt x="155" y="496"/>
                    </a:lnTo>
                    <a:lnTo>
                      <a:pt x="151" y="498"/>
                    </a:lnTo>
                    <a:lnTo>
                      <a:pt x="146" y="499"/>
                    </a:lnTo>
                    <a:lnTo>
                      <a:pt x="144" y="496"/>
                    </a:lnTo>
                    <a:lnTo>
                      <a:pt x="139" y="490"/>
                    </a:lnTo>
                    <a:lnTo>
                      <a:pt x="135" y="484"/>
                    </a:lnTo>
                    <a:lnTo>
                      <a:pt x="133" y="481"/>
                    </a:lnTo>
                    <a:lnTo>
                      <a:pt x="130" y="476"/>
                    </a:lnTo>
                    <a:lnTo>
                      <a:pt x="125" y="476"/>
                    </a:lnTo>
                    <a:lnTo>
                      <a:pt x="121" y="474"/>
                    </a:lnTo>
                    <a:lnTo>
                      <a:pt x="116" y="473"/>
                    </a:lnTo>
                    <a:lnTo>
                      <a:pt x="111" y="470"/>
                    </a:lnTo>
                    <a:lnTo>
                      <a:pt x="106" y="469"/>
                    </a:lnTo>
                    <a:lnTo>
                      <a:pt x="102" y="468"/>
                    </a:lnTo>
                    <a:lnTo>
                      <a:pt x="97" y="467"/>
                    </a:lnTo>
                    <a:lnTo>
                      <a:pt x="93" y="468"/>
                    </a:lnTo>
                    <a:lnTo>
                      <a:pt x="87" y="463"/>
                    </a:lnTo>
                    <a:lnTo>
                      <a:pt x="80" y="462"/>
                    </a:lnTo>
                    <a:lnTo>
                      <a:pt x="75" y="458"/>
                    </a:lnTo>
                    <a:lnTo>
                      <a:pt x="70" y="458"/>
                    </a:lnTo>
                    <a:lnTo>
                      <a:pt x="66" y="456"/>
                    </a:lnTo>
                    <a:lnTo>
                      <a:pt x="61" y="457"/>
                    </a:lnTo>
                    <a:lnTo>
                      <a:pt x="57" y="455"/>
                    </a:lnTo>
                    <a:lnTo>
                      <a:pt x="53" y="456"/>
                    </a:lnTo>
                    <a:lnTo>
                      <a:pt x="49" y="457"/>
                    </a:lnTo>
                    <a:lnTo>
                      <a:pt x="44" y="457"/>
                    </a:lnTo>
                    <a:lnTo>
                      <a:pt x="40" y="458"/>
                    </a:lnTo>
                    <a:lnTo>
                      <a:pt x="35" y="460"/>
                    </a:lnTo>
                    <a:lnTo>
                      <a:pt x="31" y="461"/>
                    </a:lnTo>
                    <a:lnTo>
                      <a:pt x="25" y="464"/>
                    </a:lnTo>
                    <a:lnTo>
                      <a:pt x="21" y="465"/>
                    </a:lnTo>
                    <a:lnTo>
                      <a:pt x="14" y="469"/>
                    </a:lnTo>
                    <a:lnTo>
                      <a:pt x="10" y="472"/>
                    </a:lnTo>
                    <a:lnTo>
                      <a:pt x="8" y="476"/>
                    </a:lnTo>
                    <a:lnTo>
                      <a:pt x="5" y="480"/>
                    </a:lnTo>
                    <a:lnTo>
                      <a:pt x="0" y="483"/>
                    </a:lnTo>
                    <a:lnTo>
                      <a:pt x="1" y="488"/>
                    </a:lnTo>
                    <a:lnTo>
                      <a:pt x="1" y="492"/>
                    </a:lnTo>
                    <a:lnTo>
                      <a:pt x="4" y="495"/>
                    </a:lnTo>
                    <a:lnTo>
                      <a:pt x="10" y="501"/>
                    </a:lnTo>
                    <a:lnTo>
                      <a:pt x="10" y="505"/>
                    </a:lnTo>
                    <a:lnTo>
                      <a:pt x="11" y="509"/>
                    </a:lnTo>
                    <a:lnTo>
                      <a:pt x="11" y="514"/>
                    </a:lnTo>
                    <a:lnTo>
                      <a:pt x="10" y="517"/>
                    </a:lnTo>
                    <a:lnTo>
                      <a:pt x="7" y="523"/>
                    </a:lnTo>
                    <a:lnTo>
                      <a:pt x="8" y="527"/>
                    </a:lnTo>
                    <a:lnTo>
                      <a:pt x="8" y="530"/>
                    </a:lnTo>
                    <a:lnTo>
                      <a:pt x="9" y="535"/>
                    </a:lnTo>
                    <a:lnTo>
                      <a:pt x="9" y="538"/>
                    </a:lnTo>
                    <a:lnTo>
                      <a:pt x="13" y="542"/>
                    </a:lnTo>
                    <a:lnTo>
                      <a:pt x="17" y="542"/>
                    </a:lnTo>
                    <a:lnTo>
                      <a:pt x="22" y="545"/>
                    </a:lnTo>
                    <a:lnTo>
                      <a:pt x="27" y="547"/>
                    </a:lnTo>
                    <a:lnTo>
                      <a:pt x="32" y="549"/>
                    </a:lnTo>
                    <a:lnTo>
                      <a:pt x="33" y="543"/>
                    </a:lnTo>
                    <a:lnTo>
                      <a:pt x="37" y="543"/>
                    </a:lnTo>
                    <a:lnTo>
                      <a:pt x="42" y="542"/>
                    </a:lnTo>
                    <a:lnTo>
                      <a:pt x="46" y="542"/>
                    </a:lnTo>
                    <a:lnTo>
                      <a:pt x="51" y="541"/>
                    </a:lnTo>
                    <a:lnTo>
                      <a:pt x="56" y="543"/>
                    </a:lnTo>
                    <a:lnTo>
                      <a:pt x="61" y="546"/>
                    </a:lnTo>
                    <a:lnTo>
                      <a:pt x="64" y="550"/>
                    </a:lnTo>
                    <a:lnTo>
                      <a:pt x="69" y="552"/>
                    </a:lnTo>
                    <a:lnTo>
                      <a:pt x="72" y="553"/>
                    </a:lnTo>
                    <a:lnTo>
                      <a:pt x="77" y="553"/>
                    </a:lnTo>
                    <a:lnTo>
                      <a:pt x="81" y="552"/>
                    </a:lnTo>
                    <a:lnTo>
                      <a:pt x="86" y="553"/>
                    </a:lnTo>
                    <a:lnTo>
                      <a:pt x="90" y="553"/>
                    </a:lnTo>
                    <a:lnTo>
                      <a:pt x="95" y="553"/>
                    </a:lnTo>
                    <a:lnTo>
                      <a:pt x="99" y="553"/>
                    </a:lnTo>
                    <a:lnTo>
                      <a:pt x="104" y="552"/>
                    </a:lnTo>
                    <a:lnTo>
                      <a:pt x="108" y="551"/>
                    </a:lnTo>
                    <a:lnTo>
                      <a:pt x="113" y="551"/>
                    </a:lnTo>
                    <a:lnTo>
                      <a:pt x="117" y="553"/>
                    </a:lnTo>
                    <a:lnTo>
                      <a:pt x="122" y="550"/>
                    </a:lnTo>
                    <a:lnTo>
                      <a:pt x="126" y="552"/>
                    </a:lnTo>
                    <a:lnTo>
                      <a:pt x="132" y="553"/>
                    </a:lnTo>
                    <a:lnTo>
                      <a:pt x="136" y="557"/>
                    </a:lnTo>
                    <a:lnTo>
                      <a:pt x="143" y="558"/>
                    </a:lnTo>
                    <a:lnTo>
                      <a:pt x="148" y="559"/>
                    </a:lnTo>
                    <a:lnTo>
                      <a:pt x="152" y="559"/>
                    </a:lnTo>
                    <a:lnTo>
                      <a:pt x="157" y="558"/>
                    </a:lnTo>
                    <a:lnTo>
                      <a:pt x="161" y="557"/>
                    </a:lnTo>
                    <a:lnTo>
                      <a:pt x="166" y="557"/>
                    </a:lnTo>
                    <a:lnTo>
                      <a:pt x="172" y="556"/>
                    </a:lnTo>
                    <a:lnTo>
                      <a:pt x="177" y="555"/>
                    </a:lnTo>
                    <a:lnTo>
                      <a:pt x="181" y="557"/>
                    </a:lnTo>
                    <a:lnTo>
                      <a:pt x="186" y="556"/>
                    </a:lnTo>
                    <a:lnTo>
                      <a:pt x="188" y="561"/>
                    </a:lnTo>
                    <a:lnTo>
                      <a:pt x="188" y="564"/>
                    </a:lnTo>
                    <a:lnTo>
                      <a:pt x="191" y="569"/>
                    </a:lnTo>
                    <a:lnTo>
                      <a:pt x="194" y="572"/>
                    </a:lnTo>
                    <a:lnTo>
                      <a:pt x="194" y="575"/>
                    </a:lnTo>
                    <a:lnTo>
                      <a:pt x="195" y="580"/>
                    </a:lnTo>
                    <a:lnTo>
                      <a:pt x="198" y="585"/>
                    </a:lnTo>
                    <a:lnTo>
                      <a:pt x="199" y="588"/>
                    </a:lnTo>
                    <a:lnTo>
                      <a:pt x="199" y="592"/>
                    </a:lnTo>
                    <a:lnTo>
                      <a:pt x="200" y="597"/>
                    </a:lnTo>
                    <a:lnTo>
                      <a:pt x="202" y="599"/>
                    </a:lnTo>
                    <a:lnTo>
                      <a:pt x="203" y="604"/>
                    </a:lnTo>
                    <a:lnTo>
                      <a:pt x="208" y="606"/>
                    </a:lnTo>
                    <a:lnTo>
                      <a:pt x="211" y="608"/>
                    </a:lnTo>
                    <a:lnTo>
                      <a:pt x="215" y="613"/>
                    </a:lnTo>
                    <a:lnTo>
                      <a:pt x="221" y="617"/>
                    </a:lnTo>
                    <a:lnTo>
                      <a:pt x="225" y="618"/>
                    </a:lnTo>
                    <a:lnTo>
                      <a:pt x="230" y="619"/>
                    </a:lnTo>
                    <a:lnTo>
                      <a:pt x="234" y="620"/>
                    </a:lnTo>
                    <a:lnTo>
                      <a:pt x="239" y="620"/>
                    </a:lnTo>
                    <a:lnTo>
                      <a:pt x="244" y="621"/>
                    </a:lnTo>
                    <a:lnTo>
                      <a:pt x="249" y="623"/>
                    </a:lnTo>
                    <a:lnTo>
                      <a:pt x="253" y="623"/>
                    </a:lnTo>
                    <a:lnTo>
                      <a:pt x="258" y="624"/>
                    </a:lnTo>
                    <a:lnTo>
                      <a:pt x="262" y="624"/>
                    </a:lnTo>
                    <a:lnTo>
                      <a:pt x="267" y="625"/>
                    </a:lnTo>
                    <a:lnTo>
                      <a:pt x="271" y="624"/>
                    </a:lnTo>
                    <a:lnTo>
                      <a:pt x="277" y="628"/>
                    </a:lnTo>
                    <a:lnTo>
                      <a:pt x="281" y="627"/>
                    </a:lnTo>
                    <a:lnTo>
                      <a:pt x="286" y="628"/>
                    </a:lnTo>
                    <a:lnTo>
                      <a:pt x="290" y="628"/>
                    </a:lnTo>
                    <a:lnTo>
                      <a:pt x="295" y="627"/>
                    </a:lnTo>
                    <a:lnTo>
                      <a:pt x="300" y="627"/>
                    </a:lnTo>
                    <a:lnTo>
                      <a:pt x="304" y="626"/>
                    </a:lnTo>
                    <a:lnTo>
                      <a:pt x="309" y="625"/>
                    </a:lnTo>
                    <a:lnTo>
                      <a:pt x="310" y="620"/>
                    </a:lnTo>
                    <a:lnTo>
                      <a:pt x="312" y="617"/>
                    </a:lnTo>
                    <a:lnTo>
                      <a:pt x="314" y="615"/>
                    </a:lnTo>
                    <a:lnTo>
                      <a:pt x="319" y="611"/>
                    </a:lnTo>
                    <a:lnTo>
                      <a:pt x="323" y="610"/>
                    </a:lnTo>
                    <a:lnTo>
                      <a:pt x="328" y="608"/>
                    </a:lnTo>
                    <a:lnTo>
                      <a:pt x="331" y="605"/>
                    </a:lnTo>
                    <a:lnTo>
                      <a:pt x="336" y="605"/>
                    </a:lnTo>
                    <a:lnTo>
                      <a:pt x="341" y="604"/>
                    </a:lnTo>
                    <a:lnTo>
                      <a:pt x="345" y="603"/>
                    </a:lnTo>
                    <a:lnTo>
                      <a:pt x="352" y="601"/>
                    </a:lnTo>
                    <a:lnTo>
                      <a:pt x="356" y="601"/>
                    </a:lnTo>
                    <a:lnTo>
                      <a:pt x="361" y="598"/>
                    </a:lnTo>
                    <a:lnTo>
                      <a:pt x="365" y="598"/>
                    </a:lnTo>
                    <a:lnTo>
                      <a:pt x="369" y="594"/>
                    </a:lnTo>
                    <a:lnTo>
                      <a:pt x="373" y="592"/>
                    </a:lnTo>
                    <a:lnTo>
                      <a:pt x="377" y="589"/>
                    </a:lnTo>
                    <a:lnTo>
                      <a:pt x="381" y="585"/>
                    </a:lnTo>
                    <a:lnTo>
                      <a:pt x="386" y="585"/>
                    </a:lnTo>
                    <a:lnTo>
                      <a:pt x="390" y="584"/>
                    </a:lnTo>
                    <a:lnTo>
                      <a:pt x="395" y="583"/>
                    </a:lnTo>
                    <a:lnTo>
                      <a:pt x="399" y="586"/>
                    </a:lnTo>
                    <a:lnTo>
                      <a:pt x="404" y="585"/>
                    </a:lnTo>
                    <a:lnTo>
                      <a:pt x="408" y="585"/>
                    </a:lnTo>
                    <a:lnTo>
                      <a:pt x="413" y="584"/>
                    </a:lnTo>
                    <a:lnTo>
                      <a:pt x="417" y="584"/>
                    </a:lnTo>
                    <a:lnTo>
                      <a:pt x="422" y="583"/>
                    </a:lnTo>
                    <a:lnTo>
                      <a:pt x="427" y="582"/>
                    </a:lnTo>
                    <a:lnTo>
                      <a:pt x="429" y="586"/>
                    </a:lnTo>
                    <a:lnTo>
                      <a:pt x="433" y="588"/>
                    </a:lnTo>
                    <a:lnTo>
                      <a:pt x="435" y="591"/>
                    </a:lnTo>
                    <a:lnTo>
                      <a:pt x="441" y="592"/>
                    </a:lnTo>
                    <a:lnTo>
                      <a:pt x="445" y="594"/>
                    </a:lnTo>
                    <a:lnTo>
                      <a:pt x="450" y="593"/>
                    </a:lnTo>
                    <a:lnTo>
                      <a:pt x="454" y="593"/>
                    </a:lnTo>
                    <a:lnTo>
                      <a:pt x="459" y="592"/>
                    </a:lnTo>
                    <a:lnTo>
                      <a:pt x="463" y="592"/>
                    </a:lnTo>
                    <a:lnTo>
                      <a:pt x="467" y="589"/>
                    </a:lnTo>
                    <a:lnTo>
                      <a:pt x="471" y="588"/>
                    </a:lnTo>
                    <a:lnTo>
                      <a:pt x="476" y="590"/>
                    </a:lnTo>
                    <a:lnTo>
                      <a:pt x="482" y="592"/>
                    </a:lnTo>
                    <a:lnTo>
                      <a:pt x="486" y="591"/>
                    </a:lnTo>
                    <a:lnTo>
                      <a:pt x="485" y="586"/>
                    </a:lnTo>
                    <a:lnTo>
                      <a:pt x="483" y="584"/>
                    </a:lnTo>
                    <a:lnTo>
                      <a:pt x="480" y="579"/>
                    </a:lnTo>
                    <a:lnTo>
                      <a:pt x="484" y="577"/>
                    </a:lnTo>
                    <a:lnTo>
                      <a:pt x="485" y="571"/>
                    </a:lnTo>
                    <a:lnTo>
                      <a:pt x="490" y="570"/>
                    </a:lnTo>
                    <a:lnTo>
                      <a:pt x="494" y="567"/>
                    </a:lnTo>
                    <a:lnTo>
                      <a:pt x="498" y="565"/>
                    </a:lnTo>
                    <a:lnTo>
                      <a:pt x="502" y="562"/>
                    </a:lnTo>
                    <a:lnTo>
                      <a:pt x="506" y="557"/>
                    </a:lnTo>
                    <a:lnTo>
                      <a:pt x="510" y="555"/>
                    </a:lnTo>
                    <a:lnTo>
                      <a:pt x="512" y="549"/>
                    </a:lnTo>
                    <a:lnTo>
                      <a:pt x="514" y="545"/>
                    </a:lnTo>
                    <a:lnTo>
                      <a:pt x="515" y="542"/>
                    </a:lnTo>
                    <a:lnTo>
                      <a:pt x="508" y="540"/>
                    </a:lnTo>
                    <a:lnTo>
                      <a:pt x="504" y="541"/>
                    </a:lnTo>
                    <a:lnTo>
                      <a:pt x="499" y="541"/>
                    </a:lnTo>
                    <a:lnTo>
                      <a:pt x="495" y="540"/>
                    </a:lnTo>
                    <a:lnTo>
                      <a:pt x="492" y="535"/>
                    </a:lnTo>
                    <a:lnTo>
                      <a:pt x="487" y="535"/>
                    </a:lnTo>
                    <a:lnTo>
                      <a:pt x="487" y="531"/>
                    </a:lnTo>
                    <a:lnTo>
                      <a:pt x="486" y="526"/>
                    </a:lnTo>
                    <a:lnTo>
                      <a:pt x="484" y="523"/>
                    </a:lnTo>
                    <a:lnTo>
                      <a:pt x="483" y="518"/>
                    </a:lnTo>
                    <a:lnTo>
                      <a:pt x="480" y="514"/>
                    </a:lnTo>
                    <a:lnTo>
                      <a:pt x="480" y="510"/>
                    </a:lnTo>
                    <a:lnTo>
                      <a:pt x="484" y="510"/>
                    </a:lnTo>
                    <a:lnTo>
                      <a:pt x="489" y="509"/>
                    </a:lnTo>
                    <a:lnTo>
                      <a:pt x="493" y="511"/>
                    </a:lnTo>
                    <a:lnTo>
                      <a:pt x="500" y="506"/>
                    </a:lnTo>
                    <a:lnTo>
                      <a:pt x="502" y="510"/>
                    </a:lnTo>
                    <a:lnTo>
                      <a:pt x="500" y="506"/>
                    </a:lnTo>
                    <a:lnTo>
                      <a:pt x="497" y="502"/>
                    </a:lnTo>
                    <a:lnTo>
                      <a:pt x="492" y="500"/>
                    </a:lnTo>
                    <a:lnTo>
                      <a:pt x="488" y="499"/>
                    </a:lnTo>
                    <a:lnTo>
                      <a:pt x="483" y="500"/>
                    </a:lnTo>
                    <a:lnTo>
                      <a:pt x="482" y="496"/>
                    </a:lnTo>
                    <a:lnTo>
                      <a:pt x="479" y="491"/>
                    </a:lnTo>
                    <a:lnTo>
                      <a:pt x="481" y="488"/>
                    </a:lnTo>
                    <a:lnTo>
                      <a:pt x="482" y="483"/>
                    </a:lnTo>
                    <a:lnTo>
                      <a:pt x="487" y="480"/>
                    </a:lnTo>
                    <a:lnTo>
                      <a:pt x="491" y="480"/>
                    </a:lnTo>
                    <a:lnTo>
                      <a:pt x="496" y="479"/>
                    </a:lnTo>
                    <a:lnTo>
                      <a:pt x="500" y="479"/>
                    </a:lnTo>
                    <a:lnTo>
                      <a:pt x="505" y="478"/>
                    </a:lnTo>
                    <a:lnTo>
                      <a:pt x="506" y="474"/>
                    </a:lnTo>
                    <a:lnTo>
                      <a:pt x="511" y="473"/>
                    </a:lnTo>
                    <a:lnTo>
                      <a:pt x="515" y="472"/>
                    </a:lnTo>
                    <a:lnTo>
                      <a:pt x="520" y="472"/>
                    </a:lnTo>
                    <a:lnTo>
                      <a:pt x="524" y="471"/>
                    </a:lnTo>
                    <a:lnTo>
                      <a:pt x="529" y="471"/>
                    </a:lnTo>
                    <a:lnTo>
                      <a:pt x="532" y="470"/>
                    </a:lnTo>
                    <a:lnTo>
                      <a:pt x="537" y="470"/>
                    </a:lnTo>
                    <a:lnTo>
                      <a:pt x="541" y="467"/>
                    </a:lnTo>
                    <a:lnTo>
                      <a:pt x="546" y="466"/>
                    </a:lnTo>
                    <a:lnTo>
                      <a:pt x="551" y="462"/>
                    </a:lnTo>
                    <a:lnTo>
                      <a:pt x="553" y="456"/>
                    </a:lnTo>
                    <a:lnTo>
                      <a:pt x="557" y="454"/>
                    </a:lnTo>
                    <a:lnTo>
                      <a:pt x="562" y="450"/>
                    </a:lnTo>
                    <a:lnTo>
                      <a:pt x="566" y="451"/>
                    </a:lnTo>
                    <a:lnTo>
                      <a:pt x="571" y="451"/>
                    </a:lnTo>
                    <a:lnTo>
                      <a:pt x="575" y="450"/>
                    </a:lnTo>
                    <a:lnTo>
                      <a:pt x="580" y="450"/>
                    </a:lnTo>
                    <a:lnTo>
                      <a:pt x="584" y="449"/>
                    </a:lnTo>
                    <a:lnTo>
                      <a:pt x="588" y="446"/>
                    </a:lnTo>
                    <a:lnTo>
                      <a:pt x="592" y="444"/>
                    </a:lnTo>
                    <a:lnTo>
                      <a:pt x="594" y="439"/>
                    </a:lnTo>
                    <a:lnTo>
                      <a:pt x="596" y="435"/>
                    </a:lnTo>
                    <a:lnTo>
                      <a:pt x="597" y="430"/>
                    </a:lnTo>
                    <a:lnTo>
                      <a:pt x="602" y="429"/>
                    </a:lnTo>
                    <a:lnTo>
                      <a:pt x="604" y="425"/>
                    </a:lnTo>
                    <a:lnTo>
                      <a:pt x="605" y="421"/>
                    </a:lnTo>
                    <a:lnTo>
                      <a:pt x="605" y="417"/>
                    </a:lnTo>
                    <a:lnTo>
                      <a:pt x="609" y="413"/>
                    </a:lnTo>
                    <a:lnTo>
                      <a:pt x="613" y="411"/>
                    </a:lnTo>
                    <a:lnTo>
                      <a:pt x="618" y="409"/>
                    </a:lnTo>
                    <a:lnTo>
                      <a:pt x="621" y="407"/>
                    </a:lnTo>
                    <a:lnTo>
                      <a:pt x="626" y="406"/>
                    </a:lnTo>
                    <a:lnTo>
                      <a:pt x="630" y="401"/>
                    </a:lnTo>
                    <a:lnTo>
                      <a:pt x="631" y="396"/>
                    </a:lnTo>
                    <a:lnTo>
                      <a:pt x="631" y="392"/>
                    </a:lnTo>
                    <a:lnTo>
                      <a:pt x="630" y="388"/>
                    </a:lnTo>
                    <a:lnTo>
                      <a:pt x="629" y="383"/>
                    </a:lnTo>
                    <a:lnTo>
                      <a:pt x="634" y="380"/>
                    </a:lnTo>
                    <a:lnTo>
                      <a:pt x="637" y="379"/>
                    </a:lnTo>
                    <a:lnTo>
                      <a:pt x="644" y="380"/>
                    </a:lnTo>
                    <a:lnTo>
                      <a:pt x="649" y="381"/>
                    </a:lnTo>
                    <a:lnTo>
                      <a:pt x="653" y="380"/>
                    </a:lnTo>
                    <a:lnTo>
                      <a:pt x="658" y="379"/>
                    </a:lnTo>
                    <a:lnTo>
                      <a:pt x="657" y="375"/>
                    </a:lnTo>
                    <a:lnTo>
                      <a:pt x="657" y="370"/>
                    </a:lnTo>
                    <a:lnTo>
                      <a:pt x="658" y="366"/>
                    </a:lnTo>
                    <a:lnTo>
                      <a:pt x="665" y="362"/>
                    </a:lnTo>
                    <a:lnTo>
                      <a:pt x="669" y="360"/>
                    </a:lnTo>
                    <a:lnTo>
                      <a:pt x="674" y="359"/>
                    </a:lnTo>
                    <a:lnTo>
                      <a:pt x="678" y="361"/>
                    </a:lnTo>
                    <a:lnTo>
                      <a:pt x="682" y="358"/>
                    </a:lnTo>
                    <a:lnTo>
                      <a:pt x="686" y="354"/>
                    </a:lnTo>
                    <a:lnTo>
                      <a:pt x="691" y="352"/>
                    </a:lnTo>
                    <a:lnTo>
                      <a:pt x="695" y="351"/>
                    </a:lnTo>
                    <a:lnTo>
                      <a:pt x="696" y="346"/>
                    </a:lnTo>
                    <a:lnTo>
                      <a:pt x="698" y="342"/>
                    </a:lnTo>
                    <a:lnTo>
                      <a:pt x="700" y="338"/>
                    </a:lnTo>
                    <a:lnTo>
                      <a:pt x="703" y="333"/>
                    </a:lnTo>
                    <a:lnTo>
                      <a:pt x="708" y="329"/>
                    </a:lnTo>
                    <a:lnTo>
                      <a:pt x="709" y="325"/>
                    </a:lnTo>
                    <a:lnTo>
                      <a:pt x="714" y="324"/>
                    </a:lnTo>
                    <a:lnTo>
                      <a:pt x="713" y="319"/>
                    </a:lnTo>
                    <a:lnTo>
                      <a:pt x="713" y="315"/>
                    </a:lnTo>
                    <a:lnTo>
                      <a:pt x="712" y="311"/>
                    </a:lnTo>
                    <a:lnTo>
                      <a:pt x="714" y="306"/>
                    </a:lnTo>
                    <a:lnTo>
                      <a:pt x="711" y="302"/>
                    </a:lnTo>
                    <a:lnTo>
                      <a:pt x="708" y="299"/>
                    </a:lnTo>
                    <a:lnTo>
                      <a:pt x="703" y="295"/>
                    </a:lnTo>
                    <a:lnTo>
                      <a:pt x="701" y="291"/>
                    </a:lnTo>
                    <a:lnTo>
                      <a:pt x="697" y="288"/>
                    </a:lnTo>
                    <a:lnTo>
                      <a:pt x="693" y="286"/>
                    </a:lnTo>
                    <a:lnTo>
                      <a:pt x="690" y="279"/>
                    </a:lnTo>
                    <a:lnTo>
                      <a:pt x="685" y="279"/>
                    </a:lnTo>
                    <a:lnTo>
                      <a:pt x="681" y="278"/>
                    </a:lnTo>
                    <a:lnTo>
                      <a:pt x="677" y="274"/>
                    </a:lnTo>
                    <a:lnTo>
                      <a:pt x="677" y="269"/>
                    </a:lnTo>
                    <a:lnTo>
                      <a:pt x="681" y="267"/>
                    </a:lnTo>
                    <a:lnTo>
                      <a:pt x="683" y="262"/>
                    </a:lnTo>
                    <a:lnTo>
                      <a:pt x="683" y="268"/>
                    </a:lnTo>
                    <a:lnTo>
                      <a:pt x="683" y="265"/>
                    </a:lnTo>
                    <a:lnTo>
                      <a:pt x="682" y="260"/>
                    </a:lnTo>
                    <a:lnTo>
                      <a:pt x="682" y="256"/>
                    </a:lnTo>
                    <a:lnTo>
                      <a:pt x="683" y="252"/>
                    </a:lnTo>
                    <a:lnTo>
                      <a:pt x="688" y="249"/>
                    </a:lnTo>
                    <a:lnTo>
                      <a:pt x="692" y="249"/>
                    </a:lnTo>
                    <a:lnTo>
                      <a:pt x="694" y="244"/>
                    </a:lnTo>
                    <a:lnTo>
                      <a:pt x="698" y="241"/>
                    </a:lnTo>
                    <a:lnTo>
                      <a:pt x="700" y="238"/>
                    </a:lnTo>
                    <a:lnTo>
                      <a:pt x="704" y="234"/>
                    </a:lnTo>
                    <a:lnTo>
                      <a:pt x="709" y="231"/>
                    </a:lnTo>
                    <a:lnTo>
                      <a:pt x="713" y="231"/>
                    </a:lnTo>
                    <a:lnTo>
                      <a:pt x="714" y="228"/>
                    </a:lnTo>
                    <a:lnTo>
                      <a:pt x="719" y="222"/>
                    </a:lnTo>
                    <a:lnTo>
                      <a:pt x="718" y="218"/>
                    </a:lnTo>
                    <a:lnTo>
                      <a:pt x="718" y="214"/>
                    </a:lnTo>
                    <a:lnTo>
                      <a:pt x="719" y="210"/>
                    </a:lnTo>
                    <a:lnTo>
                      <a:pt x="720" y="205"/>
                    </a:lnTo>
                    <a:lnTo>
                      <a:pt x="723" y="201"/>
                    </a:lnTo>
                    <a:lnTo>
                      <a:pt x="727" y="199"/>
                    </a:lnTo>
                    <a:lnTo>
                      <a:pt x="728" y="194"/>
                    </a:lnTo>
                    <a:lnTo>
                      <a:pt x="732" y="191"/>
                    </a:lnTo>
                    <a:lnTo>
                      <a:pt x="735" y="189"/>
                    </a:lnTo>
                    <a:lnTo>
                      <a:pt x="737" y="184"/>
                    </a:lnTo>
                    <a:lnTo>
                      <a:pt x="741" y="180"/>
                    </a:lnTo>
                    <a:lnTo>
                      <a:pt x="746" y="177"/>
                    </a:lnTo>
                    <a:lnTo>
                      <a:pt x="749" y="174"/>
                    </a:lnTo>
                    <a:lnTo>
                      <a:pt x="754" y="173"/>
                    </a:lnTo>
                    <a:lnTo>
                      <a:pt x="758" y="172"/>
                    </a:lnTo>
                    <a:lnTo>
                      <a:pt x="763" y="171"/>
                    </a:lnTo>
                    <a:lnTo>
                      <a:pt x="767" y="170"/>
                    </a:lnTo>
                    <a:lnTo>
                      <a:pt x="772" y="167"/>
                    </a:lnTo>
                    <a:lnTo>
                      <a:pt x="776" y="165"/>
                    </a:lnTo>
                    <a:lnTo>
                      <a:pt x="777" y="160"/>
                    </a:lnTo>
                    <a:lnTo>
                      <a:pt x="776" y="157"/>
                    </a:lnTo>
                    <a:lnTo>
                      <a:pt x="775" y="150"/>
                    </a:lnTo>
                    <a:lnTo>
                      <a:pt x="775" y="147"/>
                    </a:lnTo>
                    <a:lnTo>
                      <a:pt x="774" y="142"/>
                    </a:lnTo>
                    <a:lnTo>
                      <a:pt x="777" y="138"/>
                    </a:lnTo>
                    <a:lnTo>
                      <a:pt x="778" y="133"/>
                    </a:lnTo>
                    <a:lnTo>
                      <a:pt x="773" y="132"/>
                    </a:lnTo>
                    <a:lnTo>
                      <a:pt x="769" y="131"/>
                    </a:lnTo>
                    <a:lnTo>
                      <a:pt x="766" y="126"/>
                    </a:lnTo>
                    <a:lnTo>
                      <a:pt x="761" y="124"/>
                    </a:lnTo>
                    <a:lnTo>
                      <a:pt x="756" y="119"/>
                    </a:lnTo>
                    <a:lnTo>
                      <a:pt x="751" y="118"/>
                    </a:lnTo>
                    <a:lnTo>
                      <a:pt x="748" y="113"/>
                    </a:lnTo>
                    <a:lnTo>
                      <a:pt x="743" y="113"/>
                    </a:lnTo>
                    <a:lnTo>
                      <a:pt x="741" y="109"/>
                    </a:lnTo>
                    <a:lnTo>
                      <a:pt x="737" y="110"/>
                    </a:lnTo>
                    <a:lnTo>
                      <a:pt x="732" y="112"/>
                    </a:lnTo>
                    <a:lnTo>
                      <a:pt x="727" y="115"/>
                    </a:lnTo>
                    <a:lnTo>
                      <a:pt x="723" y="113"/>
                    </a:lnTo>
                    <a:lnTo>
                      <a:pt x="721" y="109"/>
                    </a:lnTo>
                    <a:lnTo>
                      <a:pt x="716" y="107"/>
                    </a:lnTo>
                    <a:lnTo>
                      <a:pt x="714" y="105"/>
                    </a:lnTo>
                    <a:lnTo>
                      <a:pt x="711" y="100"/>
                    </a:lnTo>
                    <a:lnTo>
                      <a:pt x="709" y="96"/>
                    </a:lnTo>
                    <a:lnTo>
                      <a:pt x="705" y="93"/>
                    </a:lnTo>
                    <a:lnTo>
                      <a:pt x="703" y="89"/>
                    </a:lnTo>
                    <a:lnTo>
                      <a:pt x="702" y="84"/>
                    </a:lnTo>
                    <a:lnTo>
                      <a:pt x="700" y="81"/>
                    </a:lnTo>
                    <a:lnTo>
                      <a:pt x="697" y="77"/>
                    </a:lnTo>
                    <a:lnTo>
                      <a:pt x="692" y="73"/>
                    </a:lnTo>
                    <a:lnTo>
                      <a:pt x="689" y="71"/>
                    </a:lnTo>
                    <a:lnTo>
                      <a:pt x="687" y="66"/>
                    </a:lnTo>
                    <a:lnTo>
                      <a:pt x="686" y="62"/>
                    </a:lnTo>
                    <a:lnTo>
                      <a:pt x="682" y="56"/>
                    </a:lnTo>
                    <a:lnTo>
                      <a:pt x="682" y="51"/>
                    </a:lnTo>
                    <a:lnTo>
                      <a:pt x="677" y="51"/>
                    </a:lnTo>
                    <a:lnTo>
                      <a:pt x="674" y="47"/>
                    </a:lnTo>
                    <a:lnTo>
                      <a:pt x="670" y="45"/>
                    </a:lnTo>
                    <a:lnTo>
                      <a:pt x="667" y="41"/>
                    </a:lnTo>
                    <a:lnTo>
                      <a:pt x="664" y="39"/>
                    </a:lnTo>
                    <a:lnTo>
                      <a:pt x="663" y="34"/>
                    </a:lnTo>
                    <a:lnTo>
                      <a:pt x="665" y="29"/>
                    </a:lnTo>
                    <a:lnTo>
                      <a:pt x="665" y="25"/>
                    </a:lnTo>
                    <a:lnTo>
                      <a:pt x="666" y="21"/>
                    </a:lnTo>
                    <a:lnTo>
                      <a:pt x="668" y="16"/>
                    </a:lnTo>
                    <a:lnTo>
                      <a:pt x="672" y="14"/>
                    </a:lnTo>
                    <a:lnTo>
                      <a:pt x="670" y="16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2" name="Freeform 131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3697218" y="3647750"/>
                <a:ext cx="781203" cy="456342"/>
              </a:xfrm>
              <a:custGeom>
                <a:avLst/>
                <a:gdLst>
                  <a:gd name="T0" fmla="*/ 2147483647 w 631"/>
                  <a:gd name="T1" fmla="*/ 2147483647 h 386"/>
                  <a:gd name="T2" fmla="*/ 2147483647 w 631"/>
                  <a:gd name="T3" fmla="*/ 2147483647 h 386"/>
                  <a:gd name="T4" fmla="*/ 2147483647 w 631"/>
                  <a:gd name="T5" fmla="*/ 2147483647 h 386"/>
                  <a:gd name="T6" fmla="*/ 2147483647 w 631"/>
                  <a:gd name="T7" fmla="*/ 2147483647 h 386"/>
                  <a:gd name="T8" fmla="*/ 2147483647 w 631"/>
                  <a:gd name="T9" fmla="*/ 2147483647 h 386"/>
                  <a:gd name="T10" fmla="*/ 2147483647 w 631"/>
                  <a:gd name="T11" fmla="*/ 2147483647 h 386"/>
                  <a:gd name="T12" fmla="*/ 2147483647 w 631"/>
                  <a:gd name="T13" fmla="*/ 2147483647 h 386"/>
                  <a:gd name="T14" fmla="*/ 2147483647 w 631"/>
                  <a:gd name="T15" fmla="*/ 2147483647 h 386"/>
                  <a:gd name="T16" fmla="*/ 2147483647 w 631"/>
                  <a:gd name="T17" fmla="*/ 2147483647 h 386"/>
                  <a:gd name="T18" fmla="*/ 2147483647 w 631"/>
                  <a:gd name="T19" fmla="*/ 2147483647 h 386"/>
                  <a:gd name="T20" fmla="*/ 2147483647 w 631"/>
                  <a:gd name="T21" fmla="*/ 2147483647 h 386"/>
                  <a:gd name="T22" fmla="*/ 2147483647 w 631"/>
                  <a:gd name="T23" fmla="*/ 2147483647 h 386"/>
                  <a:gd name="T24" fmla="*/ 2147483647 w 631"/>
                  <a:gd name="T25" fmla="*/ 2147483647 h 386"/>
                  <a:gd name="T26" fmla="*/ 2147483647 w 631"/>
                  <a:gd name="T27" fmla="*/ 2147483647 h 386"/>
                  <a:gd name="T28" fmla="*/ 2147483647 w 631"/>
                  <a:gd name="T29" fmla="*/ 2147483647 h 386"/>
                  <a:gd name="T30" fmla="*/ 2147483647 w 631"/>
                  <a:gd name="T31" fmla="*/ 2147483647 h 386"/>
                  <a:gd name="T32" fmla="*/ 2147483647 w 631"/>
                  <a:gd name="T33" fmla="*/ 2147483647 h 386"/>
                  <a:gd name="T34" fmla="*/ 2147483647 w 631"/>
                  <a:gd name="T35" fmla="*/ 2147483647 h 386"/>
                  <a:gd name="T36" fmla="*/ 2147483647 w 631"/>
                  <a:gd name="T37" fmla="*/ 2147483647 h 386"/>
                  <a:gd name="T38" fmla="*/ 2147483647 w 631"/>
                  <a:gd name="T39" fmla="*/ 2147483647 h 386"/>
                  <a:gd name="T40" fmla="*/ 2147483647 w 631"/>
                  <a:gd name="T41" fmla="*/ 0 h 386"/>
                  <a:gd name="T42" fmla="*/ 2147483647 w 631"/>
                  <a:gd name="T43" fmla="*/ 2147483647 h 386"/>
                  <a:gd name="T44" fmla="*/ 2147483647 w 631"/>
                  <a:gd name="T45" fmla="*/ 2147483647 h 386"/>
                  <a:gd name="T46" fmla="*/ 2147483647 w 631"/>
                  <a:gd name="T47" fmla="*/ 2147483647 h 386"/>
                  <a:gd name="T48" fmla="*/ 2147483647 w 631"/>
                  <a:gd name="T49" fmla="*/ 2147483647 h 386"/>
                  <a:gd name="T50" fmla="*/ 2147483647 w 631"/>
                  <a:gd name="T51" fmla="*/ 2147483647 h 386"/>
                  <a:gd name="T52" fmla="*/ 2147483647 w 631"/>
                  <a:gd name="T53" fmla="*/ 2147483647 h 386"/>
                  <a:gd name="T54" fmla="*/ 2147483647 w 631"/>
                  <a:gd name="T55" fmla="*/ 2147483647 h 386"/>
                  <a:gd name="T56" fmla="*/ 2147483647 w 631"/>
                  <a:gd name="T57" fmla="*/ 2147483647 h 386"/>
                  <a:gd name="T58" fmla="*/ 2147483647 w 631"/>
                  <a:gd name="T59" fmla="*/ 2147483647 h 386"/>
                  <a:gd name="T60" fmla="*/ 2147483647 w 631"/>
                  <a:gd name="T61" fmla="*/ 2147483647 h 386"/>
                  <a:gd name="T62" fmla="*/ 2147483647 w 631"/>
                  <a:gd name="T63" fmla="*/ 2147483647 h 386"/>
                  <a:gd name="T64" fmla="*/ 2147483647 w 631"/>
                  <a:gd name="T65" fmla="*/ 2147483647 h 386"/>
                  <a:gd name="T66" fmla="*/ 2147483647 w 631"/>
                  <a:gd name="T67" fmla="*/ 2147483647 h 386"/>
                  <a:gd name="T68" fmla="*/ 2147483647 w 631"/>
                  <a:gd name="T69" fmla="*/ 2147483647 h 386"/>
                  <a:gd name="T70" fmla="*/ 2147483647 w 631"/>
                  <a:gd name="T71" fmla="*/ 2147483647 h 386"/>
                  <a:gd name="T72" fmla="*/ 2147483647 w 631"/>
                  <a:gd name="T73" fmla="*/ 2147483647 h 386"/>
                  <a:gd name="T74" fmla="*/ 2147483647 w 631"/>
                  <a:gd name="T75" fmla="*/ 2147483647 h 386"/>
                  <a:gd name="T76" fmla="*/ 2147483647 w 631"/>
                  <a:gd name="T77" fmla="*/ 2147483647 h 386"/>
                  <a:gd name="T78" fmla="*/ 2147483647 w 631"/>
                  <a:gd name="T79" fmla="*/ 2147483647 h 386"/>
                  <a:gd name="T80" fmla="*/ 2147483647 w 631"/>
                  <a:gd name="T81" fmla="*/ 2147483647 h 386"/>
                  <a:gd name="T82" fmla="*/ 2147483647 w 631"/>
                  <a:gd name="T83" fmla="*/ 2147483647 h 386"/>
                  <a:gd name="T84" fmla="*/ 2147483647 w 631"/>
                  <a:gd name="T85" fmla="*/ 2147483647 h 386"/>
                  <a:gd name="T86" fmla="*/ 2147483647 w 631"/>
                  <a:gd name="T87" fmla="*/ 2147483647 h 386"/>
                  <a:gd name="T88" fmla="*/ 2147483647 w 631"/>
                  <a:gd name="T89" fmla="*/ 2147483647 h 386"/>
                  <a:gd name="T90" fmla="*/ 2147483647 w 631"/>
                  <a:gd name="T91" fmla="*/ 2147483647 h 386"/>
                  <a:gd name="T92" fmla="*/ 2147483647 w 631"/>
                  <a:gd name="T93" fmla="*/ 2147483647 h 386"/>
                  <a:gd name="T94" fmla="*/ 2147483647 w 631"/>
                  <a:gd name="T95" fmla="*/ 2147483647 h 386"/>
                  <a:gd name="T96" fmla="*/ 2147483647 w 631"/>
                  <a:gd name="T97" fmla="*/ 2147483647 h 386"/>
                  <a:gd name="T98" fmla="*/ 2147483647 w 631"/>
                  <a:gd name="T99" fmla="*/ 2147483647 h 386"/>
                  <a:gd name="T100" fmla="*/ 2147483647 w 631"/>
                  <a:gd name="T101" fmla="*/ 2147483647 h 386"/>
                  <a:gd name="T102" fmla="*/ 2147483647 w 631"/>
                  <a:gd name="T103" fmla="*/ 2147483647 h 386"/>
                  <a:gd name="T104" fmla="*/ 2147483647 w 631"/>
                  <a:gd name="T105" fmla="*/ 2147483647 h 386"/>
                  <a:gd name="T106" fmla="*/ 2147483647 w 631"/>
                  <a:gd name="T107" fmla="*/ 2147483647 h 386"/>
                  <a:gd name="T108" fmla="*/ 2147483647 w 631"/>
                  <a:gd name="T109" fmla="*/ 2147483647 h 386"/>
                  <a:gd name="T110" fmla="*/ 2147483647 w 631"/>
                  <a:gd name="T111" fmla="*/ 2147483647 h 386"/>
                  <a:gd name="T112" fmla="*/ 2147483647 w 631"/>
                  <a:gd name="T113" fmla="*/ 2147483647 h 386"/>
                  <a:gd name="T114" fmla="*/ 2147483647 w 631"/>
                  <a:gd name="T115" fmla="*/ 2147483647 h 386"/>
                  <a:gd name="T116" fmla="*/ 2147483647 w 631"/>
                  <a:gd name="T117" fmla="*/ 2147483647 h 386"/>
                  <a:gd name="T118" fmla="*/ 2147483647 w 631"/>
                  <a:gd name="T119" fmla="*/ 2147483647 h 386"/>
                  <a:gd name="T120" fmla="*/ 2147483647 w 631"/>
                  <a:gd name="T121" fmla="*/ 2147483647 h 386"/>
                  <a:gd name="T122" fmla="*/ 2147483647 w 631"/>
                  <a:gd name="T123" fmla="*/ 2147483647 h 38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31"/>
                  <a:gd name="T187" fmla="*/ 0 h 386"/>
                  <a:gd name="T188" fmla="*/ 631 w 631"/>
                  <a:gd name="T189" fmla="*/ 386 h 38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31" h="386">
                    <a:moveTo>
                      <a:pt x="568" y="193"/>
                    </a:moveTo>
                    <a:lnTo>
                      <a:pt x="564" y="190"/>
                    </a:lnTo>
                    <a:lnTo>
                      <a:pt x="563" y="185"/>
                    </a:lnTo>
                    <a:lnTo>
                      <a:pt x="562" y="180"/>
                    </a:lnTo>
                    <a:lnTo>
                      <a:pt x="563" y="177"/>
                    </a:lnTo>
                    <a:lnTo>
                      <a:pt x="557" y="130"/>
                    </a:lnTo>
                    <a:lnTo>
                      <a:pt x="556" y="125"/>
                    </a:lnTo>
                    <a:lnTo>
                      <a:pt x="554" y="121"/>
                    </a:lnTo>
                    <a:lnTo>
                      <a:pt x="554" y="117"/>
                    </a:lnTo>
                    <a:lnTo>
                      <a:pt x="553" y="113"/>
                    </a:lnTo>
                    <a:lnTo>
                      <a:pt x="549" y="112"/>
                    </a:lnTo>
                    <a:lnTo>
                      <a:pt x="546" y="108"/>
                    </a:lnTo>
                    <a:lnTo>
                      <a:pt x="543" y="104"/>
                    </a:lnTo>
                    <a:lnTo>
                      <a:pt x="540" y="100"/>
                    </a:lnTo>
                    <a:lnTo>
                      <a:pt x="533" y="99"/>
                    </a:lnTo>
                    <a:lnTo>
                      <a:pt x="529" y="101"/>
                    </a:lnTo>
                    <a:lnTo>
                      <a:pt x="526" y="99"/>
                    </a:lnTo>
                    <a:lnTo>
                      <a:pt x="526" y="94"/>
                    </a:lnTo>
                    <a:lnTo>
                      <a:pt x="525" y="90"/>
                    </a:lnTo>
                    <a:lnTo>
                      <a:pt x="520" y="87"/>
                    </a:lnTo>
                    <a:lnTo>
                      <a:pt x="515" y="87"/>
                    </a:lnTo>
                    <a:lnTo>
                      <a:pt x="510" y="86"/>
                    </a:lnTo>
                    <a:lnTo>
                      <a:pt x="505" y="86"/>
                    </a:lnTo>
                    <a:lnTo>
                      <a:pt x="501" y="89"/>
                    </a:lnTo>
                    <a:lnTo>
                      <a:pt x="497" y="90"/>
                    </a:lnTo>
                    <a:lnTo>
                      <a:pt x="492" y="91"/>
                    </a:lnTo>
                    <a:lnTo>
                      <a:pt x="488" y="92"/>
                    </a:lnTo>
                    <a:lnTo>
                      <a:pt x="483" y="91"/>
                    </a:lnTo>
                    <a:lnTo>
                      <a:pt x="478" y="90"/>
                    </a:lnTo>
                    <a:lnTo>
                      <a:pt x="474" y="90"/>
                    </a:lnTo>
                    <a:lnTo>
                      <a:pt x="468" y="89"/>
                    </a:lnTo>
                    <a:lnTo>
                      <a:pt x="463" y="90"/>
                    </a:lnTo>
                    <a:lnTo>
                      <a:pt x="460" y="90"/>
                    </a:lnTo>
                    <a:lnTo>
                      <a:pt x="455" y="91"/>
                    </a:lnTo>
                    <a:lnTo>
                      <a:pt x="449" y="89"/>
                    </a:lnTo>
                    <a:lnTo>
                      <a:pt x="445" y="89"/>
                    </a:lnTo>
                    <a:lnTo>
                      <a:pt x="440" y="90"/>
                    </a:lnTo>
                    <a:lnTo>
                      <a:pt x="435" y="89"/>
                    </a:lnTo>
                    <a:lnTo>
                      <a:pt x="431" y="89"/>
                    </a:lnTo>
                    <a:lnTo>
                      <a:pt x="426" y="90"/>
                    </a:lnTo>
                    <a:lnTo>
                      <a:pt x="425" y="87"/>
                    </a:lnTo>
                    <a:lnTo>
                      <a:pt x="425" y="82"/>
                    </a:lnTo>
                    <a:lnTo>
                      <a:pt x="424" y="77"/>
                    </a:lnTo>
                    <a:lnTo>
                      <a:pt x="423" y="74"/>
                    </a:lnTo>
                    <a:lnTo>
                      <a:pt x="422" y="69"/>
                    </a:lnTo>
                    <a:lnTo>
                      <a:pt x="423" y="65"/>
                    </a:lnTo>
                    <a:lnTo>
                      <a:pt x="427" y="60"/>
                    </a:lnTo>
                    <a:lnTo>
                      <a:pt x="429" y="56"/>
                    </a:lnTo>
                    <a:lnTo>
                      <a:pt x="428" y="51"/>
                    </a:lnTo>
                    <a:lnTo>
                      <a:pt x="426" y="48"/>
                    </a:lnTo>
                    <a:lnTo>
                      <a:pt x="422" y="44"/>
                    </a:lnTo>
                    <a:lnTo>
                      <a:pt x="421" y="40"/>
                    </a:lnTo>
                    <a:lnTo>
                      <a:pt x="419" y="36"/>
                    </a:lnTo>
                    <a:lnTo>
                      <a:pt x="425" y="28"/>
                    </a:lnTo>
                    <a:lnTo>
                      <a:pt x="425" y="25"/>
                    </a:lnTo>
                    <a:lnTo>
                      <a:pt x="424" y="20"/>
                    </a:lnTo>
                    <a:lnTo>
                      <a:pt x="419" y="19"/>
                    </a:lnTo>
                    <a:lnTo>
                      <a:pt x="416" y="20"/>
                    </a:lnTo>
                    <a:lnTo>
                      <a:pt x="410" y="18"/>
                    </a:lnTo>
                    <a:lnTo>
                      <a:pt x="406" y="19"/>
                    </a:lnTo>
                    <a:lnTo>
                      <a:pt x="402" y="21"/>
                    </a:lnTo>
                    <a:lnTo>
                      <a:pt x="399" y="19"/>
                    </a:lnTo>
                    <a:lnTo>
                      <a:pt x="396" y="14"/>
                    </a:lnTo>
                    <a:lnTo>
                      <a:pt x="393" y="10"/>
                    </a:lnTo>
                    <a:lnTo>
                      <a:pt x="388" y="8"/>
                    </a:lnTo>
                    <a:lnTo>
                      <a:pt x="384" y="9"/>
                    </a:lnTo>
                    <a:lnTo>
                      <a:pt x="379" y="9"/>
                    </a:lnTo>
                    <a:lnTo>
                      <a:pt x="374" y="13"/>
                    </a:lnTo>
                    <a:lnTo>
                      <a:pt x="370" y="14"/>
                    </a:lnTo>
                    <a:lnTo>
                      <a:pt x="366" y="16"/>
                    </a:lnTo>
                    <a:lnTo>
                      <a:pt x="362" y="19"/>
                    </a:lnTo>
                    <a:lnTo>
                      <a:pt x="357" y="21"/>
                    </a:lnTo>
                    <a:lnTo>
                      <a:pt x="353" y="25"/>
                    </a:lnTo>
                    <a:lnTo>
                      <a:pt x="349" y="27"/>
                    </a:lnTo>
                    <a:lnTo>
                      <a:pt x="344" y="29"/>
                    </a:lnTo>
                    <a:lnTo>
                      <a:pt x="340" y="32"/>
                    </a:lnTo>
                    <a:lnTo>
                      <a:pt x="336" y="32"/>
                    </a:lnTo>
                    <a:lnTo>
                      <a:pt x="331" y="36"/>
                    </a:lnTo>
                    <a:lnTo>
                      <a:pt x="326" y="39"/>
                    </a:lnTo>
                    <a:lnTo>
                      <a:pt x="322" y="39"/>
                    </a:lnTo>
                    <a:lnTo>
                      <a:pt x="317" y="38"/>
                    </a:lnTo>
                    <a:lnTo>
                      <a:pt x="312" y="39"/>
                    </a:lnTo>
                    <a:lnTo>
                      <a:pt x="308" y="39"/>
                    </a:lnTo>
                    <a:lnTo>
                      <a:pt x="303" y="37"/>
                    </a:lnTo>
                    <a:lnTo>
                      <a:pt x="296" y="36"/>
                    </a:lnTo>
                    <a:lnTo>
                      <a:pt x="293" y="36"/>
                    </a:lnTo>
                    <a:lnTo>
                      <a:pt x="287" y="34"/>
                    </a:lnTo>
                    <a:lnTo>
                      <a:pt x="285" y="29"/>
                    </a:lnTo>
                    <a:lnTo>
                      <a:pt x="280" y="28"/>
                    </a:lnTo>
                    <a:lnTo>
                      <a:pt x="279" y="23"/>
                    </a:lnTo>
                    <a:lnTo>
                      <a:pt x="278" y="20"/>
                    </a:lnTo>
                    <a:lnTo>
                      <a:pt x="276" y="15"/>
                    </a:lnTo>
                    <a:lnTo>
                      <a:pt x="271" y="16"/>
                    </a:lnTo>
                    <a:lnTo>
                      <a:pt x="266" y="16"/>
                    </a:lnTo>
                    <a:lnTo>
                      <a:pt x="262" y="17"/>
                    </a:lnTo>
                    <a:lnTo>
                      <a:pt x="257" y="18"/>
                    </a:lnTo>
                    <a:lnTo>
                      <a:pt x="250" y="17"/>
                    </a:lnTo>
                    <a:lnTo>
                      <a:pt x="246" y="19"/>
                    </a:lnTo>
                    <a:lnTo>
                      <a:pt x="241" y="20"/>
                    </a:lnTo>
                    <a:lnTo>
                      <a:pt x="236" y="20"/>
                    </a:lnTo>
                    <a:lnTo>
                      <a:pt x="232" y="21"/>
                    </a:lnTo>
                    <a:lnTo>
                      <a:pt x="228" y="25"/>
                    </a:lnTo>
                    <a:lnTo>
                      <a:pt x="223" y="27"/>
                    </a:lnTo>
                    <a:lnTo>
                      <a:pt x="219" y="28"/>
                    </a:lnTo>
                    <a:lnTo>
                      <a:pt x="214" y="29"/>
                    </a:lnTo>
                    <a:lnTo>
                      <a:pt x="209" y="29"/>
                    </a:lnTo>
                    <a:lnTo>
                      <a:pt x="205" y="28"/>
                    </a:lnTo>
                    <a:lnTo>
                      <a:pt x="204" y="23"/>
                    </a:lnTo>
                    <a:lnTo>
                      <a:pt x="206" y="20"/>
                    </a:lnTo>
                    <a:lnTo>
                      <a:pt x="205" y="15"/>
                    </a:lnTo>
                    <a:lnTo>
                      <a:pt x="203" y="11"/>
                    </a:lnTo>
                    <a:lnTo>
                      <a:pt x="197" y="9"/>
                    </a:lnTo>
                    <a:lnTo>
                      <a:pt x="192" y="8"/>
                    </a:lnTo>
                    <a:lnTo>
                      <a:pt x="185" y="9"/>
                    </a:lnTo>
                    <a:lnTo>
                      <a:pt x="181" y="10"/>
                    </a:lnTo>
                    <a:lnTo>
                      <a:pt x="176" y="8"/>
                    </a:lnTo>
                    <a:lnTo>
                      <a:pt x="172" y="9"/>
                    </a:lnTo>
                    <a:lnTo>
                      <a:pt x="167" y="8"/>
                    </a:lnTo>
                    <a:lnTo>
                      <a:pt x="162" y="5"/>
                    </a:lnTo>
                    <a:lnTo>
                      <a:pt x="159" y="6"/>
                    </a:lnTo>
                    <a:lnTo>
                      <a:pt x="153" y="4"/>
                    </a:lnTo>
                    <a:lnTo>
                      <a:pt x="148" y="3"/>
                    </a:lnTo>
                    <a:lnTo>
                      <a:pt x="144" y="3"/>
                    </a:lnTo>
                    <a:lnTo>
                      <a:pt x="137" y="1"/>
                    </a:lnTo>
                    <a:lnTo>
                      <a:pt x="132" y="1"/>
                    </a:lnTo>
                    <a:lnTo>
                      <a:pt x="127" y="0"/>
                    </a:lnTo>
                    <a:lnTo>
                      <a:pt x="123" y="0"/>
                    </a:lnTo>
                    <a:lnTo>
                      <a:pt x="116" y="6"/>
                    </a:lnTo>
                    <a:lnTo>
                      <a:pt x="111" y="8"/>
                    </a:lnTo>
                    <a:lnTo>
                      <a:pt x="108" y="13"/>
                    </a:lnTo>
                    <a:lnTo>
                      <a:pt x="104" y="18"/>
                    </a:lnTo>
                    <a:lnTo>
                      <a:pt x="102" y="21"/>
                    </a:lnTo>
                    <a:lnTo>
                      <a:pt x="103" y="26"/>
                    </a:lnTo>
                    <a:lnTo>
                      <a:pt x="103" y="30"/>
                    </a:lnTo>
                    <a:lnTo>
                      <a:pt x="104" y="34"/>
                    </a:lnTo>
                    <a:lnTo>
                      <a:pt x="101" y="39"/>
                    </a:lnTo>
                    <a:lnTo>
                      <a:pt x="100" y="44"/>
                    </a:lnTo>
                    <a:lnTo>
                      <a:pt x="99" y="47"/>
                    </a:lnTo>
                    <a:lnTo>
                      <a:pt x="94" y="53"/>
                    </a:lnTo>
                    <a:lnTo>
                      <a:pt x="93" y="60"/>
                    </a:lnTo>
                    <a:lnTo>
                      <a:pt x="91" y="65"/>
                    </a:lnTo>
                    <a:lnTo>
                      <a:pt x="92" y="71"/>
                    </a:lnTo>
                    <a:lnTo>
                      <a:pt x="92" y="76"/>
                    </a:lnTo>
                    <a:lnTo>
                      <a:pt x="96" y="80"/>
                    </a:lnTo>
                    <a:lnTo>
                      <a:pt x="96" y="84"/>
                    </a:lnTo>
                    <a:lnTo>
                      <a:pt x="97" y="88"/>
                    </a:lnTo>
                    <a:lnTo>
                      <a:pt x="90" y="92"/>
                    </a:lnTo>
                    <a:lnTo>
                      <a:pt x="86" y="94"/>
                    </a:lnTo>
                    <a:lnTo>
                      <a:pt x="79" y="95"/>
                    </a:lnTo>
                    <a:lnTo>
                      <a:pt x="74" y="96"/>
                    </a:lnTo>
                    <a:lnTo>
                      <a:pt x="70" y="96"/>
                    </a:lnTo>
                    <a:lnTo>
                      <a:pt x="63" y="99"/>
                    </a:lnTo>
                    <a:lnTo>
                      <a:pt x="58" y="100"/>
                    </a:lnTo>
                    <a:lnTo>
                      <a:pt x="54" y="101"/>
                    </a:lnTo>
                    <a:lnTo>
                      <a:pt x="50" y="102"/>
                    </a:lnTo>
                    <a:lnTo>
                      <a:pt x="49" y="107"/>
                    </a:lnTo>
                    <a:lnTo>
                      <a:pt x="44" y="110"/>
                    </a:lnTo>
                    <a:lnTo>
                      <a:pt x="38" y="113"/>
                    </a:lnTo>
                    <a:lnTo>
                      <a:pt x="41" y="118"/>
                    </a:lnTo>
                    <a:lnTo>
                      <a:pt x="41" y="123"/>
                    </a:lnTo>
                    <a:lnTo>
                      <a:pt x="35" y="120"/>
                    </a:lnTo>
                    <a:lnTo>
                      <a:pt x="28" y="123"/>
                    </a:lnTo>
                    <a:lnTo>
                      <a:pt x="23" y="132"/>
                    </a:lnTo>
                    <a:lnTo>
                      <a:pt x="23" y="141"/>
                    </a:lnTo>
                    <a:lnTo>
                      <a:pt x="16" y="142"/>
                    </a:lnTo>
                    <a:lnTo>
                      <a:pt x="12" y="144"/>
                    </a:lnTo>
                    <a:lnTo>
                      <a:pt x="7" y="146"/>
                    </a:lnTo>
                    <a:lnTo>
                      <a:pt x="6" y="151"/>
                    </a:lnTo>
                    <a:lnTo>
                      <a:pt x="1" y="156"/>
                    </a:lnTo>
                    <a:lnTo>
                      <a:pt x="0" y="160"/>
                    </a:lnTo>
                    <a:lnTo>
                      <a:pt x="0" y="164"/>
                    </a:lnTo>
                    <a:lnTo>
                      <a:pt x="3" y="169"/>
                    </a:lnTo>
                    <a:lnTo>
                      <a:pt x="6" y="172"/>
                    </a:lnTo>
                    <a:lnTo>
                      <a:pt x="14" y="178"/>
                    </a:lnTo>
                    <a:lnTo>
                      <a:pt x="17" y="180"/>
                    </a:lnTo>
                    <a:lnTo>
                      <a:pt x="19" y="185"/>
                    </a:lnTo>
                    <a:lnTo>
                      <a:pt x="25" y="188"/>
                    </a:lnTo>
                    <a:lnTo>
                      <a:pt x="27" y="192"/>
                    </a:lnTo>
                    <a:lnTo>
                      <a:pt x="24" y="196"/>
                    </a:lnTo>
                    <a:lnTo>
                      <a:pt x="24" y="201"/>
                    </a:lnTo>
                    <a:lnTo>
                      <a:pt x="20" y="208"/>
                    </a:lnTo>
                    <a:lnTo>
                      <a:pt x="21" y="212"/>
                    </a:lnTo>
                    <a:lnTo>
                      <a:pt x="20" y="218"/>
                    </a:lnTo>
                    <a:lnTo>
                      <a:pt x="17" y="224"/>
                    </a:lnTo>
                    <a:lnTo>
                      <a:pt x="18" y="227"/>
                    </a:lnTo>
                    <a:lnTo>
                      <a:pt x="21" y="231"/>
                    </a:lnTo>
                    <a:lnTo>
                      <a:pt x="26" y="232"/>
                    </a:lnTo>
                    <a:lnTo>
                      <a:pt x="31" y="236"/>
                    </a:lnTo>
                    <a:lnTo>
                      <a:pt x="34" y="239"/>
                    </a:lnTo>
                    <a:lnTo>
                      <a:pt x="34" y="243"/>
                    </a:lnTo>
                    <a:lnTo>
                      <a:pt x="40" y="248"/>
                    </a:lnTo>
                    <a:lnTo>
                      <a:pt x="45" y="247"/>
                    </a:lnTo>
                    <a:lnTo>
                      <a:pt x="49" y="249"/>
                    </a:lnTo>
                    <a:lnTo>
                      <a:pt x="54" y="249"/>
                    </a:lnTo>
                    <a:lnTo>
                      <a:pt x="59" y="253"/>
                    </a:lnTo>
                    <a:lnTo>
                      <a:pt x="64" y="253"/>
                    </a:lnTo>
                    <a:lnTo>
                      <a:pt x="69" y="254"/>
                    </a:lnTo>
                    <a:lnTo>
                      <a:pt x="75" y="256"/>
                    </a:lnTo>
                    <a:lnTo>
                      <a:pt x="80" y="259"/>
                    </a:lnTo>
                    <a:lnTo>
                      <a:pt x="85" y="260"/>
                    </a:lnTo>
                    <a:lnTo>
                      <a:pt x="90" y="259"/>
                    </a:lnTo>
                    <a:lnTo>
                      <a:pt x="94" y="259"/>
                    </a:lnTo>
                    <a:lnTo>
                      <a:pt x="101" y="261"/>
                    </a:lnTo>
                    <a:lnTo>
                      <a:pt x="106" y="262"/>
                    </a:lnTo>
                    <a:lnTo>
                      <a:pt x="110" y="261"/>
                    </a:lnTo>
                    <a:lnTo>
                      <a:pt x="115" y="263"/>
                    </a:lnTo>
                    <a:lnTo>
                      <a:pt x="123" y="263"/>
                    </a:lnTo>
                    <a:lnTo>
                      <a:pt x="128" y="264"/>
                    </a:lnTo>
                    <a:lnTo>
                      <a:pt x="132" y="269"/>
                    </a:lnTo>
                    <a:lnTo>
                      <a:pt x="137" y="268"/>
                    </a:lnTo>
                    <a:lnTo>
                      <a:pt x="143" y="272"/>
                    </a:lnTo>
                    <a:lnTo>
                      <a:pt x="147" y="273"/>
                    </a:lnTo>
                    <a:lnTo>
                      <a:pt x="152" y="274"/>
                    </a:lnTo>
                    <a:lnTo>
                      <a:pt x="157" y="273"/>
                    </a:lnTo>
                    <a:lnTo>
                      <a:pt x="162" y="278"/>
                    </a:lnTo>
                    <a:lnTo>
                      <a:pt x="169" y="279"/>
                    </a:lnTo>
                    <a:lnTo>
                      <a:pt x="172" y="281"/>
                    </a:lnTo>
                    <a:lnTo>
                      <a:pt x="177" y="284"/>
                    </a:lnTo>
                    <a:lnTo>
                      <a:pt x="182" y="285"/>
                    </a:lnTo>
                    <a:lnTo>
                      <a:pt x="186" y="287"/>
                    </a:lnTo>
                    <a:lnTo>
                      <a:pt x="187" y="291"/>
                    </a:lnTo>
                    <a:lnTo>
                      <a:pt x="187" y="294"/>
                    </a:lnTo>
                    <a:lnTo>
                      <a:pt x="188" y="301"/>
                    </a:lnTo>
                    <a:lnTo>
                      <a:pt x="189" y="304"/>
                    </a:lnTo>
                    <a:lnTo>
                      <a:pt x="189" y="309"/>
                    </a:lnTo>
                    <a:lnTo>
                      <a:pt x="195" y="311"/>
                    </a:lnTo>
                    <a:lnTo>
                      <a:pt x="200" y="316"/>
                    </a:lnTo>
                    <a:lnTo>
                      <a:pt x="205" y="317"/>
                    </a:lnTo>
                    <a:lnTo>
                      <a:pt x="208" y="317"/>
                    </a:lnTo>
                    <a:lnTo>
                      <a:pt x="213" y="316"/>
                    </a:lnTo>
                    <a:lnTo>
                      <a:pt x="217" y="316"/>
                    </a:lnTo>
                    <a:lnTo>
                      <a:pt x="222" y="315"/>
                    </a:lnTo>
                    <a:lnTo>
                      <a:pt x="227" y="317"/>
                    </a:lnTo>
                    <a:lnTo>
                      <a:pt x="232" y="317"/>
                    </a:lnTo>
                    <a:lnTo>
                      <a:pt x="237" y="316"/>
                    </a:lnTo>
                    <a:lnTo>
                      <a:pt x="241" y="318"/>
                    </a:lnTo>
                    <a:lnTo>
                      <a:pt x="246" y="319"/>
                    </a:lnTo>
                    <a:lnTo>
                      <a:pt x="252" y="322"/>
                    </a:lnTo>
                    <a:lnTo>
                      <a:pt x="256" y="324"/>
                    </a:lnTo>
                    <a:lnTo>
                      <a:pt x="261" y="323"/>
                    </a:lnTo>
                    <a:lnTo>
                      <a:pt x="263" y="327"/>
                    </a:lnTo>
                    <a:lnTo>
                      <a:pt x="269" y="329"/>
                    </a:lnTo>
                    <a:lnTo>
                      <a:pt x="274" y="329"/>
                    </a:lnTo>
                    <a:lnTo>
                      <a:pt x="278" y="329"/>
                    </a:lnTo>
                    <a:lnTo>
                      <a:pt x="283" y="330"/>
                    </a:lnTo>
                    <a:lnTo>
                      <a:pt x="288" y="329"/>
                    </a:lnTo>
                    <a:lnTo>
                      <a:pt x="292" y="329"/>
                    </a:lnTo>
                    <a:lnTo>
                      <a:pt x="298" y="326"/>
                    </a:lnTo>
                    <a:lnTo>
                      <a:pt x="303" y="325"/>
                    </a:lnTo>
                    <a:lnTo>
                      <a:pt x="310" y="323"/>
                    </a:lnTo>
                    <a:lnTo>
                      <a:pt x="314" y="323"/>
                    </a:lnTo>
                    <a:lnTo>
                      <a:pt x="321" y="322"/>
                    </a:lnTo>
                    <a:lnTo>
                      <a:pt x="326" y="321"/>
                    </a:lnTo>
                    <a:lnTo>
                      <a:pt x="331" y="321"/>
                    </a:lnTo>
                    <a:lnTo>
                      <a:pt x="334" y="321"/>
                    </a:lnTo>
                    <a:lnTo>
                      <a:pt x="335" y="328"/>
                    </a:lnTo>
                    <a:lnTo>
                      <a:pt x="336" y="332"/>
                    </a:lnTo>
                    <a:lnTo>
                      <a:pt x="336" y="336"/>
                    </a:lnTo>
                    <a:lnTo>
                      <a:pt x="336" y="340"/>
                    </a:lnTo>
                    <a:lnTo>
                      <a:pt x="336" y="345"/>
                    </a:lnTo>
                    <a:lnTo>
                      <a:pt x="337" y="348"/>
                    </a:lnTo>
                    <a:lnTo>
                      <a:pt x="338" y="353"/>
                    </a:lnTo>
                    <a:lnTo>
                      <a:pt x="344" y="355"/>
                    </a:lnTo>
                    <a:lnTo>
                      <a:pt x="344" y="360"/>
                    </a:lnTo>
                    <a:lnTo>
                      <a:pt x="340" y="365"/>
                    </a:lnTo>
                    <a:lnTo>
                      <a:pt x="341" y="369"/>
                    </a:lnTo>
                    <a:lnTo>
                      <a:pt x="340" y="373"/>
                    </a:lnTo>
                    <a:lnTo>
                      <a:pt x="339" y="378"/>
                    </a:lnTo>
                    <a:lnTo>
                      <a:pt x="339" y="381"/>
                    </a:lnTo>
                    <a:lnTo>
                      <a:pt x="342" y="386"/>
                    </a:lnTo>
                    <a:lnTo>
                      <a:pt x="345" y="385"/>
                    </a:lnTo>
                    <a:lnTo>
                      <a:pt x="350" y="385"/>
                    </a:lnTo>
                    <a:lnTo>
                      <a:pt x="354" y="382"/>
                    </a:lnTo>
                    <a:lnTo>
                      <a:pt x="358" y="378"/>
                    </a:lnTo>
                    <a:lnTo>
                      <a:pt x="361" y="375"/>
                    </a:lnTo>
                    <a:lnTo>
                      <a:pt x="364" y="373"/>
                    </a:lnTo>
                    <a:lnTo>
                      <a:pt x="369" y="367"/>
                    </a:lnTo>
                    <a:lnTo>
                      <a:pt x="370" y="364"/>
                    </a:lnTo>
                    <a:lnTo>
                      <a:pt x="375" y="363"/>
                    </a:lnTo>
                    <a:lnTo>
                      <a:pt x="380" y="359"/>
                    </a:lnTo>
                    <a:lnTo>
                      <a:pt x="383" y="357"/>
                    </a:lnTo>
                    <a:lnTo>
                      <a:pt x="388" y="356"/>
                    </a:lnTo>
                    <a:lnTo>
                      <a:pt x="393" y="356"/>
                    </a:lnTo>
                    <a:lnTo>
                      <a:pt x="397" y="355"/>
                    </a:lnTo>
                    <a:lnTo>
                      <a:pt x="402" y="354"/>
                    </a:lnTo>
                    <a:lnTo>
                      <a:pt x="407" y="354"/>
                    </a:lnTo>
                    <a:lnTo>
                      <a:pt x="411" y="353"/>
                    </a:lnTo>
                    <a:lnTo>
                      <a:pt x="416" y="352"/>
                    </a:lnTo>
                    <a:lnTo>
                      <a:pt x="420" y="352"/>
                    </a:lnTo>
                    <a:lnTo>
                      <a:pt x="425" y="349"/>
                    </a:lnTo>
                    <a:lnTo>
                      <a:pt x="430" y="349"/>
                    </a:lnTo>
                    <a:lnTo>
                      <a:pt x="434" y="348"/>
                    </a:lnTo>
                    <a:lnTo>
                      <a:pt x="439" y="347"/>
                    </a:lnTo>
                    <a:lnTo>
                      <a:pt x="444" y="347"/>
                    </a:lnTo>
                    <a:lnTo>
                      <a:pt x="447" y="343"/>
                    </a:lnTo>
                    <a:lnTo>
                      <a:pt x="452" y="343"/>
                    </a:lnTo>
                    <a:lnTo>
                      <a:pt x="457" y="342"/>
                    </a:lnTo>
                    <a:lnTo>
                      <a:pt x="459" y="339"/>
                    </a:lnTo>
                    <a:lnTo>
                      <a:pt x="458" y="332"/>
                    </a:lnTo>
                    <a:lnTo>
                      <a:pt x="460" y="328"/>
                    </a:lnTo>
                    <a:lnTo>
                      <a:pt x="465" y="323"/>
                    </a:lnTo>
                    <a:lnTo>
                      <a:pt x="470" y="322"/>
                    </a:lnTo>
                    <a:lnTo>
                      <a:pt x="473" y="322"/>
                    </a:lnTo>
                    <a:lnTo>
                      <a:pt x="478" y="321"/>
                    </a:lnTo>
                    <a:lnTo>
                      <a:pt x="483" y="320"/>
                    </a:lnTo>
                    <a:lnTo>
                      <a:pt x="487" y="320"/>
                    </a:lnTo>
                    <a:lnTo>
                      <a:pt x="494" y="319"/>
                    </a:lnTo>
                    <a:lnTo>
                      <a:pt x="499" y="318"/>
                    </a:lnTo>
                    <a:lnTo>
                      <a:pt x="504" y="317"/>
                    </a:lnTo>
                    <a:lnTo>
                      <a:pt x="508" y="319"/>
                    </a:lnTo>
                    <a:lnTo>
                      <a:pt x="513" y="318"/>
                    </a:lnTo>
                    <a:lnTo>
                      <a:pt x="518" y="318"/>
                    </a:lnTo>
                    <a:lnTo>
                      <a:pt x="525" y="317"/>
                    </a:lnTo>
                    <a:lnTo>
                      <a:pt x="529" y="316"/>
                    </a:lnTo>
                    <a:lnTo>
                      <a:pt x="536" y="315"/>
                    </a:lnTo>
                    <a:lnTo>
                      <a:pt x="545" y="314"/>
                    </a:lnTo>
                    <a:lnTo>
                      <a:pt x="550" y="316"/>
                    </a:lnTo>
                    <a:lnTo>
                      <a:pt x="557" y="312"/>
                    </a:lnTo>
                    <a:lnTo>
                      <a:pt x="562" y="310"/>
                    </a:lnTo>
                    <a:lnTo>
                      <a:pt x="565" y="305"/>
                    </a:lnTo>
                    <a:lnTo>
                      <a:pt x="568" y="301"/>
                    </a:lnTo>
                    <a:lnTo>
                      <a:pt x="571" y="298"/>
                    </a:lnTo>
                    <a:lnTo>
                      <a:pt x="576" y="296"/>
                    </a:lnTo>
                    <a:lnTo>
                      <a:pt x="579" y="295"/>
                    </a:lnTo>
                    <a:lnTo>
                      <a:pt x="584" y="297"/>
                    </a:lnTo>
                    <a:lnTo>
                      <a:pt x="589" y="296"/>
                    </a:lnTo>
                    <a:lnTo>
                      <a:pt x="592" y="290"/>
                    </a:lnTo>
                    <a:lnTo>
                      <a:pt x="592" y="286"/>
                    </a:lnTo>
                    <a:lnTo>
                      <a:pt x="589" y="283"/>
                    </a:lnTo>
                    <a:lnTo>
                      <a:pt x="589" y="279"/>
                    </a:lnTo>
                    <a:lnTo>
                      <a:pt x="590" y="274"/>
                    </a:lnTo>
                    <a:lnTo>
                      <a:pt x="593" y="270"/>
                    </a:lnTo>
                    <a:lnTo>
                      <a:pt x="588" y="271"/>
                    </a:lnTo>
                    <a:lnTo>
                      <a:pt x="589" y="266"/>
                    </a:lnTo>
                    <a:lnTo>
                      <a:pt x="594" y="263"/>
                    </a:lnTo>
                    <a:lnTo>
                      <a:pt x="600" y="259"/>
                    </a:lnTo>
                    <a:lnTo>
                      <a:pt x="607" y="253"/>
                    </a:lnTo>
                    <a:lnTo>
                      <a:pt x="608" y="248"/>
                    </a:lnTo>
                    <a:lnTo>
                      <a:pt x="613" y="247"/>
                    </a:lnTo>
                    <a:lnTo>
                      <a:pt x="617" y="244"/>
                    </a:lnTo>
                    <a:lnTo>
                      <a:pt x="621" y="241"/>
                    </a:lnTo>
                    <a:lnTo>
                      <a:pt x="625" y="236"/>
                    </a:lnTo>
                    <a:lnTo>
                      <a:pt x="630" y="233"/>
                    </a:lnTo>
                    <a:lnTo>
                      <a:pt x="631" y="229"/>
                    </a:lnTo>
                    <a:lnTo>
                      <a:pt x="629" y="225"/>
                    </a:lnTo>
                    <a:lnTo>
                      <a:pt x="624" y="226"/>
                    </a:lnTo>
                    <a:lnTo>
                      <a:pt x="619" y="226"/>
                    </a:lnTo>
                    <a:lnTo>
                      <a:pt x="615" y="227"/>
                    </a:lnTo>
                    <a:lnTo>
                      <a:pt x="610" y="225"/>
                    </a:lnTo>
                    <a:lnTo>
                      <a:pt x="605" y="226"/>
                    </a:lnTo>
                    <a:lnTo>
                      <a:pt x="601" y="224"/>
                    </a:lnTo>
                    <a:lnTo>
                      <a:pt x="595" y="221"/>
                    </a:lnTo>
                    <a:lnTo>
                      <a:pt x="590" y="220"/>
                    </a:lnTo>
                    <a:lnTo>
                      <a:pt x="586" y="218"/>
                    </a:lnTo>
                    <a:lnTo>
                      <a:pt x="582" y="214"/>
                    </a:lnTo>
                    <a:lnTo>
                      <a:pt x="578" y="211"/>
                    </a:lnTo>
                    <a:lnTo>
                      <a:pt x="572" y="209"/>
                    </a:lnTo>
                    <a:lnTo>
                      <a:pt x="567" y="205"/>
                    </a:lnTo>
                    <a:lnTo>
                      <a:pt x="563" y="202"/>
                    </a:lnTo>
                    <a:lnTo>
                      <a:pt x="560" y="196"/>
                    </a:lnTo>
                    <a:lnTo>
                      <a:pt x="560" y="193"/>
                    </a:lnTo>
                    <a:lnTo>
                      <a:pt x="559" y="188"/>
                    </a:lnTo>
                    <a:lnTo>
                      <a:pt x="558" y="181"/>
                    </a:lnTo>
                    <a:lnTo>
                      <a:pt x="560" y="176"/>
                    </a:lnTo>
                    <a:lnTo>
                      <a:pt x="561" y="170"/>
                    </a:lnTo>
                    <a:lnTo>
                      <a:pt x="560" y="164"/>
                    </a:lnTo>
                    <a:lnTo>
                      <a:pt x="559" y="150"/>
                    </a:lnTo>
                    <a:lnTo>
                      <a:pt x="557" y="141"/>
                    </a:lnTo>
                    <a:lnTo>
                      <a:pt x="560" y="132"/>
                    </a:lnTo>
                    <a:lnTo>
                      <a:pt x="556" y="132"/>
                    </a:lnTo>
                    <a:lnTo>
                      <a:pt x="555" y="128"/>
                    </a:lnTo>
                    <a:lnTo>
                      <a:pt x="568" y="193"/>
                    </a:lnTo>
                    <a:close/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3" name="Freeform 132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099043" y="4325278"/>
                <a:ext cx="386112" cy="323630"/>
              </a:xfrm>
              <a:custGeom>
                <a:avLst/>
                <a:gdLst>
                  <a:gd name="T0" fmla="*/ 2147483647 w 312"/>
                  <a:gd name="T1" fmla="*/ 2147483647 h 272"/>
                  <a:gd name="T2" fmla="*/ 2147483647 w 312"/>
                  <a:gd name="T3" fmla="*/ 2147483647 h 272"/>
                  <a:gd name="T4" fmla="*/ 2147483647 w 312"/>
                  <a:gd name="T5" fmla="*/ 2147483647 h 272"/>
                  <a:gd name="T6" fmla="*/ 2147483647 w 312"/>
                  <a:gd name="T7" fmla="*/ 2147483647 h 272"/>
                  <a:gd name="T8" fmla="*/ 2147483647 w 312"/>
                  <a:gd name="T9" fmla="*/ 2147483647 h 272"/>
                  <a:gd name="T10" fmla="*/ 2147483647 w 312"/>
                  <a:gd name="T11" fmla="*/ 2147483647 h 272"/>
                  <a:gd name="T12" fmla="*/ 2147483647 w 312"/>
                  <a:gd name="T13" fmla="*/ 2147483647 h 272"/>
                  <a:gd name="T14" fmla="*/ 2147483647 w 312"/>
                  <a:gd name="T15" fmla="*/ 2147483647 h 272"/>
                  <a:gd name="T16" fmla="*/ 2147483647 w 312"/>
                  <a:gd name="T17" fmla="*/ 2147483647 h 272"/>
                  <a:gd name="T18" fmla="*/ 2147483647 w 312"/>
                  <a:gd name="T19" fmla="*/ 2147483647 h 272"/>
                  <a:gd name="T20" fmla="*/ 2147483647 w 312"/>
                  <a:gd name="T21" fmla="*/ 2147483647 h 272"/>
                  <a:gd name="T22" fmla="*/ 2147483647 w 312"/>
                  <a:gd name="T23" fmla="*/ 2147483647 h 272"/>
                  <a:gd name="T24" fmla="*/ 0 w 312"/>
                  <a:gd name="T25" fmla="*/ 2147483647 h 272"/>
                  <a:gd name="T26" fmla="*/ 2147483647 w 312"/>
                  <a:gd name="T27" fmla="*/ 2147483647 h 272"/>
                  <a:gd name="T28" fmla="*/ 2147483647 w 312"/>
                  <a:gd name="T29" fmla="*/ 2147483647 h 272"/>
                  <a:gd name="T30" fmla="*/ 2147483647 w 312"/>
                  <a:gd name="T31" fmla="*/ 2147483647 h 272"/>
                  <a:gd name="T32" fmla="*/ 2147483647 w 312"/>
                  <a:gd name="T33" fmla="*/ 2147483647 h 272"/>
                  <a:gd name="T34" fmla="*/ 2147483647 w 312"/>
                  <a:gd name="T35" fmla="*/ 2147483647 h 272"/>
                  <a:gd name="T36" fmla="*/ 2147483647 w 312"/>
                  <a:gd name="T37" fmla="*/ 2147483647 h 272"/>
                  <a:gd name="T38" fmla="*/ 2147483647 w 312"/>
                  <a:gd name="T39" fmla="*/ 2147483647 h 272"/>
                  <a:gd name="T40" fmla="*/ 2147483647 w 312"/>
                  <a:gd name="T41" fmla="*/ 2147483647 h 272"/>
                  <a:gd name="T42" fmla="*/ 2147483647 w 312"/>
                  <a:gd name="T43" fmla="*/ 2147483647 h 272"/>
                  <a:gd name="T44" fmla="*/ 2147483647 w 312"/>
                  <a:gd name="T45" fmla="*/ 2147483647 h 272"/>
                  <a:gd name="T46" fmla="*/ 2147483647 w 312"/>
                  <a:gd name="T47" fmla="*/ 2147483647 h 272"/>
                  <a:gd name="T48" fmla="*/ 2147483647 w 312"/>
                  <a:gd name="T49" fmla="*/ 2147483647 h 272"/>
                  <a:gd name="T50" fmla="*/ 2147483647 w 312"/>
                  <a:gd name="T51" fmla="*/ 2147483647 h 272"/>
                  <a:gd name="T52" fmla="*/ 2147483647 w 312"/>
                  <a:gd name="T53" fmla="*/ 2147483647 h 272"/>
                  <a:gd name="T54" fmla="*/ 2147483647 w 312"/>
                  <a:gd name="T55" fmla="*/ 2147483647 h 272"/>
                  <a:gd name="T56" fmla="*/ 2147483647 w 312"/>
                  <a:gd name="T57" fmla="*/ 2147483647 h 272"/>
                  <a:gd name="T58" fmla="*/ 2147483647 w 312"/>
                  <a:gd name="T59" fmla="*/ 2147483647 h 272"/>
                  <a:gd name="T60" fmla="*/ 2147483647 w 312"/>
                  <a:gd name="T61" fmla="*/ 2147483647 h 272"/>
                  <a:gd name="T62" fmla="*/ 2147483647 w 312"/>
                  <a:gd name="T63" fmla="*/ 2147483647 h 272"/>
                  <a:gd name="T64" fmla="*/ 2147483647 w 312"/>
                  <a:gd name="T65" fmla="*/ 2147483647 h 272"/>
                  <a:gd name="T66" fmla="*/ 2147483647 w 312"/>
                  <a:gd name="T67" fmla="*/ 2147483647 h 272"/>
                  <a:gd name="T68" fmla="*/ 2147483647 w 312"/>
                  <a:gd name="T69" fmla="*/ 2147483647 h 272"/>
                  <a:gd name="T70" fmla="*/ 2147483647 w 312"/>
                  <a:gd name="T71" fmla="*/ 2147483647 h 272"/>
                  <a:gd name="T72" fmla="*/ 2147483647 w 312"/>
                  <a:gd name="T73" fmla="*/ 2147483647 h 272"/>
                  <a:gd name="T74" fmla="*/ 2147483647 w 312"/>
                  <a:gd name="T75" fmla="*/ 2147483647 h 272"/>
                  <a:gd name="T76" fmla="*/ 2147483647 w 312"/>
                  <a:gd name="T77" fmla="*/ 2147483647 h 272"/>
                  <a:gd name="T78" fmla="*/ 2147483647 w 312"/>
                  <a:gd name="T79" fmla="*/ 2147483647 h 272"/>
                  <a:gd name="T80" fmla="*/ 2147483647 w 312"/>
                  <a:gd name="T81" fmla="*/ 2147483647 h 272"/>
                  <a:gd name="T82" fmla="*/ 2147483647 w 312"/>
                  <a:gd name="T83" fmla="*/ 2147483647 h 272"/>
                  <a:gd name="T84" fmla="*/ 2147483647 w 312"/>
                  <a:gd name="T85" fmla="*/ 2147483647 h 272"/>
                  <a:gd name="T86" fmla="*/ 2147483647 w 312"/>
                  <a:gd name="T87" fmla="*/ 2147483647 h 272"/>
                  <a:gd name="T88" fmla="*/ 2147483647 w 312"/>
                  <a:gd name="T89" fmla="*/ 2147483647 h 272"/>
                  <a:gd name="T90" fmla="*/ 2147483647 w 312"/>
                  <a:gd name="T91" fmla="*/ 2147483647 h 272"/>
                  <a:gd name="T92" fmla="*/ 2147483647 w 312"/>
                  <a:gd name="T93" fmla="*/ 2147483647 h 272"/>
                  <a:gd name="T94" fmla="*/ 2147483647 w 312"/>
                  <a:gd name="T95" fmla="*/ 2147483647 h 272"/>
                  <a:gd name="T96" fmla="*/ 2147483647 w 312"/>
                  <a:gd name="T97" fmla="*/ 2147483647 h 272"/>
                  <a:gd name="T98" fmla="*/ 2147483647 w 312"/>
                  <a:gd name="T99" fmla="*/ 2147483647 h 272"/>
                  <a:gd name="T100" fmla="*/ 2147483647 w 312"/>
                  <a:gd name="T101" fmla="*/ 2147483647 h 272"/>
                  <a:gd name="T102" fmla="*/ 2147483647 w 312"/>
                  <a:gd name="T103" fmla="*/ 2147483647 h 272"/>
                  <a:gd name="T104" fmla="*/ 2147483647 w 312"/>
                  <a:gd name="T105" fmla="*/ 2147483647 h 272"/>
                  <a:gd name="T106" fmla="*/ 2147483647 w 312"/>
                  <a:gd name="T107" fmla="*/ 2147483647 h 272"/>
                  <a:gd name="T108" fmla="*/ 2147483647 w 312"/>
                  <a:gd name="T109" fmla="*/ 2147483647 h 272"/>
                  <a:gd name="T110" fmla="*/ 2147483647 w 312"/>
                  <a:gd name="T111" fmla="*/ 2147483647 h 272"/>
                  <a:gd name="T112" fmla="*/ 2147483647 w 312"/>
                  <a:gd name="T113" fmla="*/ 2147483647 h 272"/>
                  <a:gd name="T114" fmla="*/ 2147483647 w 312"/>
                  <a:gd name="T115" fmla="*/ 2147483647 h 272"/>
                  <a:gd name="T116" fmla="*/ 2147483647 w 312"/>
                  <a:gd name="T117" fmla="*/ 0 h 27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12"/>
                  <a:gd name="T178" fmla="*/ 0 h 272"/>
                  <a:gd name="T179" fmla="*/ 312 w 312"/>
                  <a:gd name="T180" fmla="*/ 272 h 27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12" h="272">
                    <a:moveTo>
                      <a:pt x="171" y="0"/>
                    </a:moveTo>
                    <a:lnTo>
                      <a:pt x="167" y="3"/>
                    </a:lnTo>
                    <a:lnTo>
                      <a:pt x="163" y="6"/>
                    </a:lnTo>
                    <a:lnTo>
                      <a:pt x="158" y="7"/>
                    </a:lnTo>
                    <a:lnTo>
                      <a:pt x="156" y="10"/>
                    </a:lnTo>
                    <a:lnTo>
                      <a:pt x="152" y="14"/>
                    </a:lnTo>
                    <a:lnTo>
                      <a:pt x="150" y="19"/>
                    </a:lnTo>
                    <a:lnTo>
                      <a:pt x="149" y="24"/>
                    </a:lnTo>
                    <a:lnTo>
                      <a:pt x="151" y="27"/>
                    </a:lnTo>
                    <a:lnTo>
                      <a:pt x="157" y="31"/>
                    </a:lnTo>
                    <a:lnTo>
                      <a:pt x="152" y="34"/>
                    </a:lnTo>
                    <a:lnTo>
                      <a:pt x="148" y="39"/>
                    </a:lnTo>
                    <a:lnTo>
                      <a:pt x="144" y="39"/>
                    </a:lnTo>
                    <a:lnTo>
                      <a:pt x="140" y="40"/>
                    </a:lnTo>
                    <a:lnTo>
                      <a:pt x="136" y="40"/>
                    </a:lnTo>
                    <a:lnTo>
                      <a:pt x="131" y="41"/>
                    </a:lnTo>
                    <a:lnTo>
                      <a:pt x="126" y="42"/>
                    </a:lnTo>
                    <a:lnTo>
                      <a:pt x="122" y="42"/>
                    </a:lnTo>
                    <a:lnTo>
                      <a:pt x="118" y="45"/>
                    </a:lnTo>
                    <a:lnTo>
                      <a:pt x="113" y="48"/>
                    </a:lnTo>
                    <a:lnTo>
                      <a:pt x="109" y="51"/>
                    </a:lnTo>
                    <a:lnTo>
                      <a:pt x="107" y="56"/>
                    </a:lnTo>
                    <a:lnTo>
                      <a:pt x="108" y="60"/>
                    </a:lnTo>
                    <a:lnTo>
                      <a:pt x="111" y="67"/>
                    </a:lnTo>
                    <a:lnTo>
                      <a:pt x="114" y="71"/>
                    </a:lnTo>
                    <a:lnTo>
                      <a:pt x="114" y="75"/>
                    </a:lnTo>
                    <a:lnTo>
                      <a:pt x="110" y="75"/>
                    </a:lnTo>
                    <a:lnTo>
                      <a:pt x="106" y="79"/>
                    </a:lnTo>
                    <a:lnTo>
                      <a:pt x="101" y="81"/>
                    </a:lnTo>
                    <a:lnTo>
                      <a:pt x="96" y="82"/>
                    </a:lnTo>
                    <a:lnTo>
                      <a:pt x="90" y="86"/>
                    </a:lnTo>
                    <a:lnTo>
                      <a:pt x="82" y="84"/>
                    </a:lnTo>
                    <a:lnTo>
                      <a:pt x="78" y="84"/>
                    </a:lnTo>
                    <a:lnTo>
                      <a:pt x="73" y="83"/>
                    </a:lnTo>
                    <a:lnTo>
                      <a:pt x="68" y="84"/>
                    </a:lnTo>
                    <a:lnTo>
                      <a:pt x="64" y="84"/>
                    </a:lnTo>
                    <a:lnTo>
                      <a:pt x="60" y="87"/>
                    </a:lnTo>
                    <a:lnTo>
                      <a:pt x="55" y="88"/>
                    </a:lnTo>
                    <a:lnTo>
                      <a:pt x="51" y="91"/>
                    </a:lnTo>
                    <a:lnTo>
                      <a:pt x="49" y="95"/>
                    </a:lnTo>
                    <a:lnTo>
                      <a:pt x="46" y="98"/>
                    </a:lnTo>
                    <a:lnTo>
                      <a:pt x="45" y="103"/>
                    </a:lnTo>
                    <a:lnTo>
                      <a:pt x="40" y="106"/>
                    </a:lnTo>
                    <a:lnTo>
                      <a:pt x="35" y="106"/>
                    </a:lnTo>
                    <a:lnTo>
                      <a:pt x="31" y="108"/>
                    </a:lnTo>
                    <a:lnTo>
                      <a:pt x="24" y="109"/>
                    </a:lnTo>
                    <a:lnTo>
                      <a:pt x="19" y="110"/>
                    </a:lnTo>
                    <a:lnTo>
                      <a:pt x="14" y="110"/>
                    </a:lnTo>
                    <a:lnTo>
                      <a:pt x="11" y="114"/>
                    </a:lnTo>
                    <a:lnTo>
                      <a:pt x="6" y="116"/>
                    </a:lnTo>
                    <a:lnTo>
                      <a:pt x="2" y="120"/>
                    </a:lnTo>
                    <a:lnTo>
                      <a:pt x="0" y="126"/>
                    </a:lnTo>
                    <a:lnTo>
                      <a:pt x="3" y="130"/>
                    </a:lnTo>
                    <a:lnTo>
                      <a:pt x="6" y="134"/>
                    </a:lnTo>
                    <a:lnTo>
                      <a:pt x="11" y="139"/>
                    </a:lnTo>
                    <a:lnTo>
                      <a:pt x="16" y="139"/>
                    </a:lnTo>
                    <a:lnTo>
                      <a:pt x="21" y="139"/>
                    </a:lnTo>
                    <a:lnTo>
                      <a:pt x="25" y="138"/>
                    </a:lnTo>
                    <a:lnTo>
                      <a:pt x="26" y="143"/>
                    </a:lnTo>
                    <a:lnTo>
                      <a:pt x="22" y="146"/>
                    </a:lnTo>
                    <a:lnTo>
                      <a:pt x="18" y="149"/>
                    </a:lnTo>
                    <a:lnTo>
                      <a:pt x="13" y="150"/>
                    </a:lnTo>
                    <a:lnTo>
                      <a:pt x="6" y="151"/>
                    </a:lnTo>
                    <a:lnTo>
                      <a:pt x="4" y="155"/>
                    </a:lnTo>
                    <a:lnTo>
                      <a:pt x="5" y="159"/>
                    </a:lnTo>
                    <a:lnTo>
                      <a:pt x="7" y="164"/>
                    </a:lnTo>
                    <a:lnTo>
                      <a:pt x="11" y="167"/>
                    </a:lnTo>
                    <a:lnTo>
                      <a:pt x="14" y="172"/>
                    </a:lnTo>
                    <a:lnTo>
                      <a:pt x="16" y="177"/>
                    </a:lnTo>
                    <a:lnTo>
                      <a:pt x="20" y="179"/>
                    </a:lnTo>
                    <a:lnTo>
                      <a:pt x="24" y="182"/>
                    </a:lnTo>
                    <a:lnTo>
                      <a:pt x="29" y="185"/>
                    </a:lnTo>
                    <a:lnTo>
                      <a:pt x="35" y="187"/>
                    </a:lnTo>
                    <a:lnTo>
                      <a:pt x="37" y="190"/>
                    </a:lnTo>
                    <a:lnTo>
                      <a:pt x="40" y="195"/>
                    </a:lnTo>
                    <a:lnTo>
                      <a:pt x="43" y="199"/>
                    </a:lnTo>
                    <a:lnTo>
                      <a:pt x="48" y="203"/>
                    </a:lnTo>
                    <a:lnTo>
                      <a:pt x="49" y="208"/>
                    </a:lnTo>
                    <a:lnTo>
                      <a:pt x="49" y="211"/>
                    </a:lnTo>
                    <a:lnTo>
                      <a:pt x="50" y="215"/>
                    </a:lnTo>
                    <a:lnTo>
                      <a:pt x="53" y="220"/>
                    </a:lnTo>
                    <a:lnTo>
                      <a:pt x="58" y="224"/>
                    </a:lnTo>
                    <a:lnTo>
                      <a:pt x="63" y="226"/>
                    </a:lnTo>
                    <a:lnTo>
                      <a:pt x="67" y="229"/>
                    </a:lnTo>
                    <a:lnTo>
                      <a:pt x="72" y="231"/>
                    </a:lnTo>
                    <a:lnTo>
                      <a:pt x="75" y="235"/>
                    </a:lnTo>
                    <a:lnTo>
                      <a:pt x="80" y="235"/>
                    </a:lnTo>
                    <a:lnTo>
                      <a:pt x="85" y="236"/>
                    </a:lnTo>
                    <a:lnTo>
                      <a:pt x="89" y="235"/>
                    </a:lnTo>
                    <a:lnTo>
                      <a:pt x="94" y="235"/>
                    </a:lnTo>
                    <a:lnTo>
                      <a:pt x="101" y="237"/>
                    </a:lnTo>
                    <a:lnTo>
                      <a:pt x="106" y="236"/>
                    </a:lnTo>
                    <a:lnTo>
                      <a:pt x="110" y="236"/>
                    </a:lnTo>
                    <a:lnTo>
                      <a:pt x="115" y="235"/>
                    </a:lnTo>
                    <a:lnTo>
                      <a:pt x="119" y="231"/>
                    </a:lnTo>
                    <a:lnTo>
                      <a:pt x="123" y="231"/>
                    </a:lnTo>
                    <a:lnTo>
                      <a:pt x="128" y="228"/>
                    </a:lnTo>
                    <a:lnTo>
                      <a:pt x="129" y="223"/>
                    </a:lnTo>
                    <a:lnTo>
                      <a:pt x="134" y="220"/>
                    </a:lnTo>
                    <a:lnTo>
                      <a:pt x="139" y="220"/>
                    </a:lnTo>
                    <a:lnTo>
                      <a:pt x="143" y="219"/>
                    </a:lnTo>
                    <a:lnTo>
                      <a:pt x="142" y="224"/>
                    </a:lnTo>
                    <a:lnTo>
                      <a:pt x="142" y="228"/>
                    </a:lnTo>
                    <a:lnTo>
                      <a:pt x="138" y="233"/>
                    </a:lnTo>
                    <a:lnTo>
                      <a:pt x="141" y="237"/>
                    </a:lnTo>
                    <a:lnTo>
                      <a:pt x="144" y="242"/>
                    </a:lnTo>
                    <a:lnTo>
                      <a:pt x="146" y="245"/>
                    </a:lnTo>
                    <a:lnTo>
                      <a:pt x="152" y="247"/>
                    </a:lnTo>
                    <a:lnTo>
                      <a:pt x="157" y="251"/>
                    </a:lnTo>
                    <a:lnTo>
                      <a:pt x="162" y="255"/>
                    </a:lnTo>
                    <a:lnTo>
                      <a:pt x="167" y="258"/>
                    </a:lnTo>
                    <a:lnTo>
                      <a:pt x="170" y="263"/>
                    </a:lnTo>
                    <a:lnTo>
                      <a:pt x="174" y="267"/>
                    </a:lnTo>
                    <a:lnTo>
                      <a:pt x="177" y="268"/>
                    </a:lnTo>
                    <a:lnTo>
                      <a:pt x="182" y="269"/>
                    </a:lnTo>
                    <a:lnTo>
                      <a:pt x="186" y="272"/>
                    </a:lnTo>
                    <a:lnTo>
                      <a:pt x="191" y="271"/>
                    </a:lnTo>
                    <a:lnTo>
                      <a:pt x="198" y="270"/>
                    </a:lnTo>
                    <a:lnTo>
                      <a:pt x="203" y="266"/>
                    </a:lnTo>
                    <a:lnTo>
                      <a:pt x="207" y="266"/>
                    </a:lnTo>
                    <a:lnTo>
                      <a:pt x="212" y="263"/>
                    </a:lnTo>
                    <a:lnTo>
                      <a:pt x="216" y="262"/>
                    </a:lnTo>
                    <a:lnTo>
                      <a:pt x="216" y="257"/>
                    </a:lnTo>
                    <a:lnTo>
                      <a:pt x="215" y="252"/>
                    </a:lnTo>
                    <a:lnTo>
                      <a:pt x="214" y="248"/>
                    </a:lnTo>
                    <a:lnTo>
                      <a:pt x="214" y="244"/>
                    </a:lnTo>
                    <a:lnTo>
                      <a:pt x="218" y="243"/>
                    </a:lnTo>
                    <a:lnTo>
                      <a:pt x="222" y="240"/>
                    </a:lnTo>
                    <a:lnTo>
                      <a:pt x="227" y="239"/>
                    </a:lnTo>
                    <a:lnTo>
                      <a:pt x="234" y="238"/>
                    </a:lnTo>
                    <a:lnTo>
                      <a:pt x="238" y="237"/>
                    </a:lnTo>
                    <a:lnTo>
                      <a:pt x="243" y="237"/>
                    </a:lnTo>
                    <a:lnTo>
                      <a:pt x="247" y="236"/>
                    </a:lnTo>
                    <a:lnTo>
                      <a:pt x="252" y="236"/>
                    </a:lnTo>
                    <a:lnTo>
                      <a:pt x="257" y="235"/>
                    </a:lnTo>
                    <a:lnTo>
                      <a:pt x="261" y="234"/>
                    </a:lnTo>
                    <a:lnTo>
                      <a:pt x="266" y="232"/>
                    </a:lnTo>
                    <a:lnTo>
                      <a:pt x="271" y="231"/>
                    </a:lnTo>
                    <a:lnTo>
                      <a:pt x="273" y="228"/>
                    </a:lnTo>
                    <a:lnTo>
                      <a:pt x="278" y="227"/>
                    </a:lnTo>
                    <a:lnTo>
                      <a:pt x="285" y="225"/>
                    </a:lnTo>
                    <a:lnTo>
                      <a:pt x="290" y="222"/>
                    </a:lnTo>
                    <a:lnTo>
                      <a:pt x="294" y="222"/>
                    </a:lnTo>
                    <a:lnTo>
                      <a:pt x="299" y="221"/>
                    </a:lnTo>
                    <a:lnTo>
                      <a:pt x="304" y="221"/>
                    </a:lnTo>
                    <a:lnTo>
                      <a:pt x="303" y="216"/>
                    </a:lnTo>
                    <a:lnTo>
                      <a:pt x="302" y="211"/>
                    </a:lnTo>
                    <a:lnTo>
                      <a:pt x="302" y="207"/>
                    </a:lnTo>
                    <a:lnTo>
                      <a:pt x="301" y="203"/>
                    </a:lnTo>
                    <a:lnTo>
                      <a:pt x="301" y="198"/>
                    </a:lnTo>
                    <a:lnTo>
                      <a:pt x="295" y="195"/>
                    </a:lnTo>
                    <a:lnTo>
                      <a:pt x="293" y="193"/>
                    </a:lnTo>
                    <a:lnTo>
                      <a:pt x="292" y="188"/>
                    </a:lnTo>
                    <a:lnTo>
                      <a:pt x="298" y="179"/>
                    </a:lnTo>
                    <a:lnTo>
                      <a:pt x="284" y="183"/>
                    </a:lnTo>
                    <a:lnTo>
                      <a:pt x="295" y="182"/>
                    </a:lnTo>
                    <a:lnTo>
                      <a:pt x="296" y="177"/>
                    </a:lnTo>
                    <a:lnTo>
                      <a:pt x="295" y="179"/>
                    </a:lnTo>
                    <a:lnTo>
                      <a:pt x="301" y="176"/>
                    </a:lnTo>
                    <a:lnTo>
                      <a:pt x="302" y="171"/>
                    </a:lnTo>
                    <a:lnTo>
                      <a:pt x="297" y="168"/>
                    </a:lnTo>
                    <a:lnTo>
                      <a:pt x="301" y="169"/>
                    </a:lnTo>
                    <a:lnTo>
                      <a:pt x="306" y="168"/>
                    </a:lnTo>
                    <a:lnTo>
                      <a:pt x="310" y="166"/>
                    </a:lnTo>
                    <a:lnTo>
                      <a:pt x="312" y="161"/>
                    </a:lnTo>
                    <a:lnTo>
                      <a:pt x="311" y="156"/>
                    </a:lnTo>
                    <a:lnTo>
                      <a:pt x="306" y="154"/>
                    </a:lnTo>
                    <a:lnTo>
                      <a:pt x="302" y="154"/>
                    </a:lnTo>
                    <a:lnTo>
                      <a:pt x="297" y="154"/>
                    </a:lnTo>
                    <a:lnTo>
                      <a:pt x="291" y="153"/>
                    </a:lnTo>
                    <a:lnTo>
                      <a:pt x="289" y="148"/>
                    </a:lnTo>
                    <a:lnTo>
                      <a:pt x="283" y="144"/>
                    </a:lnTo>
                    <a:lnTo>
                      <a:pt x="283" y="141"/>
                    </a:lnTo>
                    <a:lnTo>
                      <a:pt x="280" y="136"/>
                    </a:lnTo>
                    <a:lnTo>
                      <a:pt x="277" y="131"/>
                    </a:lnTo>
                    <a:lnTo>
                      <a:pt x="274" y="126"/>
                    </a:lnTo>
                    <a:lnTo>
                      <a:pt x="271" y="121"/>
                    </a:lnTo>
                    <a:lnTo>
                      <a:pt x="266" y="118"/>
                    </a:lnTo>
                    <a:lnTo>
                      <a:pt x="265" y="114"/>
                    </a:lnTo>
                    <a:lnTo>
                      <a:pt x="262" y="109"/>
                    </a:lnTo>
                    <a:lnTo>
                      <a:pt x="262" y="105"/>
                    </a:lnTo>
                    <a:lnTo>
                      <a:pt x="263" y="100"/>
                    </a:lnTo>
                    <a:lnTo>
                      <a:pt x="265" y="95"/>
                    </a:lnTo>
                    <a:lnTo>
                      <a:pt x="267" y="90"/>
                    </a:lnTo>
                    <a:lnTo>
                      <a:pt x="266" y="86"/>
                    </a:lnTo>
                    <a:lnTo>
                      <a:pt x="261" y="87"/>
                    </a:lnTo>
                    <a:lnTo>
                      <a:pt x="257" y="88"/>
                    </a:lnTo>
                    <a:lnTo>
                      <a:pt x="253" y="90"/>
                    </a:lnTo>
                    <a:lnTo>
                      <a:pt x="249" y="91"/>
                    </a:lnTo>
                    <a:lnTo>
                      <a:pt x="247" y="95"/>
                    </a:lnTo>
                    <a:lnTo>
                      <a:pt x="243" y="98"/>
                    </a:lnTo>
                    <a:lnTo>
                      <a:pt x="239" y="98"/>
                    </a:lnTo>
                    <a:lnTo>
                      <a:pt x="234" y="99"/>
                    </a:lnTo>
                    <a:lnTo>
                      <a:pt x="229" y="98"/>
                    </a:lnTo>
                    <a:lnTo>
                      <a:pt x="224" y="96"/>
                    </a:lnTo>
                    <a:lnTo>
                      <a:pt x="219" y="93"/>
                    </a:lnTo>
                    <a:lnTo>
                      <a:pt x="214" y="88"/>
                    </a:lnTo>
                    <a:lnTo>
                      <a:pt x="209" y="87"/>
                    </a:lnTo>
                    <a:lnTo>
                      <a:pt x="206" y="83"/>
                    </a:lnTo>
                    <a:lnTo>
                      <a:pt x="206" y="78"/>
                    </a:lnTo>
                    <a:lnTo>
                      <a:pt x="207" y="73"/>
                    </a:lnTo>
                    <a:lnTo>
                      <a:pt x="212" y="71"/>
                    </a:lnTo>
                    <a:lnTo>
                      <a:pt x="216" y="69"/>
                    </a:lnTo>
                    <a:lnTo>
                      <a:pt x="213" y="64"/>
                    </a:lnTo>
                    <a:lnTo>
                      <a:pt x="208" y="65"/>
                    </a:lnTo>
                    <a:lnTo>
                      <a:pt x="205" y="60"/>
                    </a:lnTo>
                    <a:lnTo>
                      <a:pt x="205" y="56"/>
                    </a:lnTo>
                    <a:lnTo>
                      <a:pt x="206" y="52"/>
                    </a:lnTo>
                    <a:lnTo>
                      <a:pt x="211" y="46"/>
                    </a:lnTo>
                    <a:lnTo>
                      <a:pt x="215" y="43"/>
                    </a:lnTo>
                    <a:lnTo>
                      <a:pt x="219" y="42"/>
                    </a:lnTo>
                    <a:lnTo>
                      <a:pt x="224" y="42"/>
                    </a:lnTo>
                    <a:lnTo>
                      <a:pt x="228" y="40"/>
                    </a:lnTo>
                    <a:lnTo>
                      <a:pt x="233" y="39"/>
                    </a:lnTo>
                    <a:lnTo>
                      <a:pt x="238" y="39"/>
                    </a:lnTo>
                    <a:lnTo>
                      <a:pt x="239" y="34"/>
                    </a:lnTo>
                    <a:lnTo>
                      <a:pt x="236" y="29"/>
                    </a:lnTo>
                    <a:lnTo>
                      <a:pt x="233" y="26"/>
                    </a:lnTo>
                    <a:lnTo>
                      <a:pt x="229" y="24"/>
                    </a:lnTo>
                    <a:lnTo>
                      <a:pt x="225" y="20"/>
                    </a:lnTo>
                    <a:lnTo>
                      <a:pt x="225" y="15"/>
                    </a:lnTo>
                    <a:lnTo>
                      <a:pt x="222" y="12"/>
                    </a:lnTo>
                    <a:lnTo>
                      <a:pt x="215" y="11"/>
                    </a:lnTo>
                    <a:lnTo>
                      <a:pt x="210" y="8"/>
                    </a:lnTo>
                    <a:lnTo>
                      <a:pt x="204" y="9"/>
                    </a:lnTo>
                    <a:lnTo>
                      <a:pt x="198" y="8"/>
                    </a:lnTo>
                    <a:lnTo>
                      <a:pt x="194" y="10"/>
                    </a:lnTo>
                    <a:lnTo>
                      <a:pt x="190" y="11"/>
                    </a:lnTo>
                    <a:lnTo>
                      <a:pt x="186" y="6"/>
                    </a:lnTo>
                    <a:lnTo>
                      <a:pt x="182" y="6"/>
                    </a:lnTo>
                    <a:lnTo>
                      <a:pt x="181" y="1"/>
                    </a:lnTo>
                    <a:lnTo>
                      <a:pt x="176" y="2"/>
                    </a:lnTo>
                    <a:lnTo>
                      <a:pt x="171" y="2"/>
                    </a:lnTo>
                    <a:lnTo>
                      <a:pt x="168" y="6"/>
                    </a:lnTo>
                    <a:lnTo>
                      <a:pt x="163" y="8"/>
                    </a:lnTo>
                    <a:lnTo>
                      <a:pt x="171" y="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4" name="Freeform 5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3091112" y="3624467"/>
                <a:ext cx="738551" cy="430732"/>
              </a:xfrm>
              <a:custGeom>
                <a:avLst/>
                <a:gdLst>
                  <a:gd name="T0" fmla="*/ 2147483647 w 518"/>
                  <a:gd name="T1" fmla="*/ 2147483647 h 314"/>
                  <a:gd name="T2" fmla="*/ 2147483647 w 518"/>
                  <a:gd name="T3" fmla="*/ 2147483647 h 314"/>
                  <a:gd name="T4" fmla="*/ 2147483647 w 518"/>
                  <a:gd name="T5" fmla="*/ 2147483647 h 314"/>
                  <a:gd name="T6" fmla="*/ 2147483647 w 518"/>
                  <a:gd name="T7" fmla="*/ 2147483647 h 314"/>
                  <a:gd name="T8" fmla="*/ 2147483647 w 518"/>
                  <a:gd name="T9" fmla="*/ 2147483647 h 314"/>
                  <a:gd name="T10" fmla="*/ 2147483647 w 518"/>
                  <a:gd name="T11" fmla="*/ 2147483647 h 314"/>
                  <a:gd name="T12" fmla="*/ 2147483647 w 518"/>
                  <a:gd name="T13" fmla="*/ 2147483647 h 314"/>
                  <a:gd name="T14" fmla="*/ 2147483647 w 518"/>
                  <a:gd name="T15" fmla="*/ 2147483647 h 314"/>
                  <a:gd name="T16" fmla="*/ 2147483647 w 518"/>
                  <a:gd name="T17" fmla="*/ 2147483647 h 314"/>
                  <a:gd name="T18" fmla="*/ 2147483647 w 518"/>
                  <a:gd name="T19" fmla="*/ 2147483647 h 314"/>
                  <a:gd name="T20" fmla="*/ 2147483647 w 518"/>
                  <a:gd name="T21" fmla="*/ 2147483647 h 314"/>
                  <a:gd name="T22" fmla="*/ 2147483647 w 518"/>
                  <a:gd name="T23" fmla="*/ 0 h 314"/>
                  <a:gd name="T24" fmla="*/ 2147483647 w 518"/>
                  <a:gd name="T25" fmla="*/ 2147483647 h 314"/>
                  <a:gd name="T26" fmla="*/ 2147483647 w 518"/>
                  <a:gd name="T27" fmla="*/ 2147483647 h 314"/>
                  <a:gd name="T28" fmla="*/ 2147483647 w 518"/>
                  <a:gd name="T29" fmla="*/ 2147483647 h 314"/>
                  <a:gd name="T30" fmla="*/ 2147483647 w 518"/>
                  <a:gd name="T31" fmla="*/ 2147483647 h 314"/>
                  <a:gd name="T32" fmla="*/ 2147483647 w 518"/>
                  <a:gd name="T33" fmla="*/ 2147483647 h 314"/>
                  <a:gd name="T34" fmla="*/ 2147483647 w 518"/>
                  <a:gd name="T35" fmla="*/ 2147483647 h 314"/>
                  <a:gd name="T36" fmla="*/ 2147483647 w 518"/>
                  <a:gd name="T37" fmla="*/ 2147483647 h 314"/>
                  <a:gd name="T38" fmla="*/ 2147483647 w 518"/>
                  <a:gd name="T39" fmla="*/ 2147483647 h 314"/>
                  <a:gd name="T40" fmla="*/ 2147483647 w 518"/>
                  <a:gd name="T41" fmla="*/ 2147483647 h 314"/>
                  <a:gd name="T42" fmla="*/ 2147483647 w 518"/>
                  <a:gd name="T43" fmla="*/ 2147483647 h 314"/>
                  <a:gd name="T44" fmla="*/ 2147483647 w 518"/>
                  <a:gd name="T45" fmla="*/ 2147483647 h 314"/>
                  <a:gd name="T46" fmla="*/ 2147483647 w 518"/>
                  <a:gd name="T47" fmla="*/ 2147483647 h 314"/>
                  <a:gd name="T48" fmla="*/ 2147483647 w 518"/>
                  <a:gd name="T49" fmla="*/ 2147483647 h 314"/>
                  <a:gd name="T50" fmla="*/ 2147483647 w 518"/>
                  <a:gd name="T51" fmla="*/ 2147483647 h 314"/>
                  <a:gd name="T52" fmla="*/ 2147483647 w 518"/>
                  <a:gd name="T53" fmla="*/ 2147483647 h 314"/>
                  <a:gd name="T54" fmla="*/ 2147483647 w 518"/>
                  <a:gd name="T55" fmla="*/ 2147483647 h 314"/>
                  <a:gd name="T56" fmla="*/ 2147483647 w 518"/>
                  <a:gd name="T57" fmla="*/ 2147483647 h 314"/>
                  <a:gd name="T58" fmla="*/ 2147483647 w 518"/>
                  <a:gd name="T59" fmla="*/ 2147483647 h 314"/>
                  <a:gd name="T60" fmla="*/ 2147483647 w 518"/>
                  <a:gd name="T61" fmla="*/ 2147483647 h 314"/>
                  <a:gd name="T62" fmla="*/ 2147483647 w 518"/>
                  <a:gd name="T63" fmla="*/ 2147483647 h 314"/>
                  <a:gd name="T64" fmla="*/ 2147483647 w 518"/>
                  <a:gd name="T65" fmla="*/ 2147483647 h 314"/>
                  <a:gd name="T66" fmla="*/ 2147483647 w 518"/>
                  <a:gd name="T67" fmla="*/ 2147483647 h 314"/>
                  <a:gd name="T68" fmla="*/ 2147483647 w 518"/>
                  <a:gd name="T69" fmla="*/ 2147483647 h 314"/>
                  <a:gd name="T70" fmla="*/ 2147483647 w 518"/>
                  <a:gd name="T71" fmla="*/ 2147483647 h 314"/>
                  <a:gd name="T72" fmla="*/ 2147483647 w 518"/>
                  <a:gd name="T73" fmla="*/ 2147483647 h 314"/>
                  <a:gd name="T74" fmla="*/ 2147483647 w 518"/>
                  <a:gd name="T75" fmla="*/ 2147483647 h 314"/>
                  <a:gd name="T76" fmla="*/ 2147483647 w 518"/>
                  <a:gd name="T77" fmla="*/ 2147483647 h 314"/>
                  <a:gd name="T78" fmla="*/ 2147483647 w 518"/>
                  <a:gd name="T79" fmla="*/ 2147483647 h 314"/>
                  <a:gd name="T80" fmla="*/ 2147483647 w 518"/>
                  <a:gd name="T81" fmla="*/ 2147483647 h 314"/>
                  <a:gd name="T82" fmla="*/ 2147483647 w 518"/>
                  <a:gd name="T83" fmla="*/ 2147483647 h 314"/>
                  <a:gd name="T84" fmla="*/ 2147483647 w 518"/>
                  <a:gd name="T85" fmla="*/ 2147483647 h 314"/>
                  <a:gd name="T86" fmla="*/ 2147483647 w 518"/>
                  <a:gd name="T87" fmla="*/ 2147483647 h 314"/>
                  <a:gd name="T88" fmla="*/ 2147483647 w 518"/>
                  <a:gd name="T89" fmla="*/ 2147483647 h 314"/>
                  <a:gd name="T90" fmla="*/ 2147483647 w 518"/>
                  <a:gd name="T91" fmla="*/ 2147483647 h 314"/>
                  <a:gd name="T92" fmla="*/ 2147483647 w 518"/>
                  <a:gd name="T93" fmla="*/ 2147483647 h 314"/>
                  <a:gd name="T94" fmla="*/ 2147483647 w 518"/>
                  <a:gd name="T95" fmla="*/ 2147483647 h 314"/>
                  <a:gd name="T96" fmla="*/ 2147483647 w 518"/>
                  <a:gd name="T97" fmla="*/ 2147483647 h 314"/>
                  <a:gd name="T98" fmla="*/ 2147483647 w 518"/>
                  <a:gd name="T99" fmla="*/ 2147483647 h 314"/>
                  <a:gd name="T100" fmla="*/ 2147483647 w 518"/>
                  <a:gd name="T101" fmla="*/ 2147483647 h 314"/>
                  <a:gd name="T102" fmla="*/ 2147483647 w 518"/>
                  <a:gd name="T103" fmla="*/ 2147483647 h 314"/>
                  <a:gd name="T104" fmla="*/ 2147483647 w 518"/>
                  <a:gd name="T105" fmla="*/ 2147483647 h 314"/>
                  <a:gd name="T106" fmla="*/ 2147483647 w 518"/>
                  <a:gd name="T107" fmla="*/ 2147483647 h 31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518"/>
                  <a:gd name="T163" fmla="*/ 0 h 314"/>
                  <a:gd name="T164" fmla="*/ 531 w 518"/>
                  <a:gd name="T165" fmla="*/ 330 h 31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518" h="314">
                    <a:moveTo>
                      <a:pt x="11" y="147"/>
                    </a:moveTo>
                    <a:lnTo>
                      <a:pt x="20" y="140"/>
                    </a:lnTo>
                    <a:lnTo>
                      <a:pt x="38" y="130"/>
                    </a:lnTo>
                    <a:lnTo>
                      <a:pt x="40" y="118"/>
                    </a:lnTo>
                    <a:lnTo>
                      <a:pt x="60" y="115"/>
                    </a:lnTo>
                    <a:lnTo>
                      <a:pt x="86" y="113"/>
                    </a:lnTo>
                    <a:lnTo>
                      <a:pt x="103" y="113"/>
                    </a:lnTo>
                    <a:lnTo>
                      <a:pt x="108" y="99"/>
                    </a:lnTo>
                    <a:lnTo>
                      <a:pt x="100" y="92"/>
                    </a:lnTo>
                    <a:lnTo>
                      <a:pt x="100" y="79"/>
                    </a:lnTo>
                    <a:lnTo>
                      <a:pt x="96" y="68"/>
                    </a:lnTo>
                    <a:lnTo>
                      <a:pt x="59" y="23"/>
                    </a:lnTo>
                    <a:lnTo>
                      <a:pt x="67" y="19"/>
                    </a:lnTo>
                    <a:lnTo>
                      <a:pt x="88" y="28"/>
                    </a:lnTo>
                    <a:lnTo>
                      <a:pt x="130" y="49"/>
                    </a:lnTo>
                    <a:lnTo>
                      <a:pt x="152" y="49"/>
                    </a:lnTo>
                    <a:lnTo>
                      <a:pt x="152" y="31"/>
                    </a:lnTo>
                    <a:lnTo>
                      <a:pt x="177" y="37"/>
                    </a:lnTo>
                    <a:lnTo>
                      <a:pt x="192" y="28"/>
                    </a:lnTo>
                    <a:lnTo>
                      <a:pt x="202" y="33"/>
                    </a:lnTo>
                    <a:lnTo>
                      <a:pt x="224" y="20"/>
                    </a:lnTo>
                    <a:lnTo>
                      <a:pt x="251" y="15"/>
                    </a:lnTo>
                    <a:lnTo>
                      <a:pt x="249" y="0"/>
                    </a:lnTo>
                    <a:lnTo>
                      <a:pt x="264" y="0"/>
                    </a:lnTo>
                    <a:lnTo>
                      <a:pt x="276" y="12"/>
                    </a:lnTo>
                    <a:lnTo>
                      <a:pt x="292" y="24"/>
                    </a:lnTo>
                    <a:lnTo>
                      <a:pt x="316" y="21"/>
                    </a:lnTo>
                    <a:lnTo>
                      <a:pt x="334" y="41"/>
                    </a:lnTo>
                    <a:lnTo>
                      <a:pt x="345" y="52"/>
                    </a:lnTo>
                    <a:lnTo>
                      <a:pt x="349" y="70"/>
                    </a:lnTo>
                    <a:lnTo>
                      <a:pt x="370" y="75"/>
                    </a:lnTo>
                    <a:lnTo>
                      <a:pt x="368" y="89"/>
                    </a:lnTo>
                    <a:lnTo>
                      <a:pt x="384" y="96"/>
                    </a:lnTo>
                    <a:lnTo>
                      <a:pt x="412" y="105"/>
                    </a:lnTo>
                    <a:lnTo>
                      <a:pt x="432" y="113"/>
                    </a:lnTo>
                    <a:lnTo>
                      <a:pt x="449" y="107"/>
                    </a:lnTo>
                    <a:lnTo>
                      <a:pt x="464" y="95"/>
                    </a:lnTo>
                    <a:lnTo>
                      <a:pt x="464" y="79"/>
                    </a:lnTo>
                    <a:lnTo>
                      <a:pt x="495" y="69"/>
                    </a:lnTo>
                    <a:lnTo>
                      <a:pt x="514" y="68"/>
                    </a:lnTo>
                    <a:lnTo>
                      <a:pt x="517" y="88"/>
                    </a:lnTo>
                    <a:lnTo>
                      <a:pt x="518" y="97"/>
                    </a:lnTo>
                    <a:lnTo>
                      <a:pt x="503" y="105"/>
                    </a:lnTo>
                    <a:lnTo>
                      <a:pt x="485" y="108"/>
                    </a:lnTo>
                    <a:lnTo>
                      <a:pt x="471" y="116"/>
                    </a:lnTo>
                    <a:lnTo>
                      <a:pt x="461" y="123"/>
                    </a:lnTo>
                    <a:lnTo>
                      <a:pt x="449" y="134"/>
                    </a:lnTo>
                    <a:lnTo>
                      <a:pt x="446" y="142"/>
                    </a:lnTo>
                    <a:lnTo>
                      <a:pt x="435" y="149"/>
                    </a:lnTo>
                    <a:lnTo>
                      <a:pt x="418" y="165"/>
                    </a:lnTo>
                    <a:lnTo>
                      <a:pt x="403" y="163"/>
                    </a:lnTo>
                    <a:lnTo>
                      <a:pt x="382" y="162"/>
                    </a:lnTo>
                    <a:lnTo>
                      <a:pt x="369" y="167"/>
                    </a:lnTo>
                    <a:lnTo>
                      <a:pt x="353" y="174"/>
                    </a:lnTo>
                    <a:lnTo>
                      <a:pt x="336" y="170"/>
                    </a:lnTo>
                    <a:lnTo>
                      <a:pt x="321" y="165"/>
                    </a:lnTo>
                    <a:lnTo>
                      <a:pt x="307" y="165"/>
                    </a:lnTo>
                    <a:lnTo>
                      <a:pt x="299" y="157"/>
                    </a:lnTo>
                    <a:lnTo>
                      <a:pt x="295" y="151"/>
                    </a:lnTo>
                    <a:lnTo>
                      <a:pt x="298" y="141"/>
                    </a:lnTo>
                    <a:lnTo>
                      <a:pt x="295" y="130"/>
                    </a:lnTo>
                    <a:lnTo>
                      <a:pt x="284" y="125"/>
                    </a:lnTo>
                    <a:lnTo>
                      <a:pt x="272" y="120"/>
                    </a:lnTo>
                    <a:lnTo>
                      <a:pt x="275" y="130"/>
                    </a:lnTo>
                    <a:lnTo>
                      <a:pt x="270" y="139"/>
                    </a:lnTo>
                    <a:lnTo>
                      <a:pt x="275" y="148"/>
                    </a:lnTo>
                    <a:lnTo>
                      <a:pt x="272" y="159"/>
                    </a:lnTo>
                    <a:lnTo>
                      <a:pt x="257" y="156"/>
                    </a:lnTo>
                    <a:lnTo>
                      <a:pt x="254" y="141"/>
                    </a:lnTo>
                    <a:lnTo>
                      <a:pt x="262" y="159"/>
                    </a:lnTo>
                    <a:lnTo>
                      <a:pt x="267" y="170"/>
                    </a:lnTo>
                    <a:lnTo>
                      <a:pt x="264" y="176"/>
                    </a:lnTo>
                    <a:lnTo>
                      <a:pt x="270" y="194"/>
                    </a:lnTo>
                    <a:lnTo>
                      <a:pt x="281" y="180"/>
                    </a:lnTo>
                    <a:lnTo>
                      <a:pt x="296" y="182"/>
                    </a:lnTo>
                    <a:lnTo>
                      <a:pt x="295" y="191"/>
                    </a:lnTo>
                    <a:lnTo>
                      <a:pt x="300" y="200"/>
                    </a:lnTo>
                    <a:lnTo>
                      <a:pt x="304" y="211"/>
                    </a:lnTo>
                    <a:lnTo>
                      <a:pt x="310" y="223"/>
                    </a:lnTo>
                    <a:lnTo>
                      <a:pt x="296" y="230"/>
                    </a:lnTo>
                    <a:lnTo>
                      <a:pt x="284" y="227"/>
                    </a:lnTo>
                    <a:lnTo>
                      <a:pt x="283" y="218"/>
                    </a:lnTo>
                    <a:lnTo>
                      <a:pt x="265" y="231"/>
                    </a:lnTo>
                    <a:lnTo>
                      <a:pt x="255" y="245"/>
                    </a:lnTo>
                    <a:lnTo>
                      <a:pt x="242" y="257"/>
                    </a:lnTo>
                    <a:lnTo>
                      <a:pt x="233" y="265"/>
                    </a:lnTo>
                    <a:lnTo>
                      <a:pt x="228" y="277"/>
                    </a:lnTo>
                    <a:lnTo>
                      <a:pt x="228" y="288"/>
                    </a:lnTo>
                    <a:lnTo>
                      <a:pt x="228" y="305"/>
                    </a:lnTo>
                    <a:lnTo>
                      <a:pt x="207" y="314"/>
                    </a:lnTo>
                    <a:lnTo>
                      <a:pt x="192" y="313"/>
                    </a:lnTo>
                    <a:lnTo>
                      <a:pt x="180" y="305"/>
                    </a:lnTo>
                    <a:lnTo>
                      <a:pt x="168" y="299"/>
                    </a:lnTo>
                    <a:lnTo>
                      <a:pt x="154" y="296"/>
                    </a:lnTo>
                    <a:lnTo>
                      <a:pt x="142" y="296"/>
                    </a:lnTo>
                    <a:lnTo>
                      <a:pt x="127" y="294"/>
                    </a:lnTo>
                    <a:lnTo>
                      <a:pt x="114" y="279"/>
                    </a:lnTo>
                    <a:lnTo>
                      <a:pt x="96" y="270"/>
                    </a:lnTo>
                    <a:lnTo>
                      <a:pt x="85" y="263"/>
                    </a:lnTo>
                    <a:lnTo>
                      <a:pt x="69" y="254"/>
                    </a:lnTo>
                    <a:lnTo>
                      <a:pt x="59" y="243"/>
                    </a:lnTo>
                    <a:lnTo>
                      <a:pt x="44" y="230"/>
                    </a:lnTo>
                    <a:lnTo>
                      <a:pt x="32" y="220"/>
                    </a:lnTo>
                    <a:lnTo>
                      <a:pt x="23" y="196"/>
                    </a:lnTo>
                    <a:lnTo>
                      <a:pt x="22" y="176"/>
                    </a:lnTo>
                    <a:lnTo>
                      <a:pt x="8" y="179"/>
                    </a:lnTo>
                    <a:lnTo>
                      <a:pt x="0" y="170"/>
                    </a:lnTo>
                    <a:lnTo>
                      <a:pt x="3" y="157"/>
                    </a:lnTo>
                    <a:lnTo>
                      <a:pt x="11" y="147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5" name="Freeform 6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3050705" y="3123889"/>
                <a:ext cx="1252619" cy="656574"/>
              </a:xfrm>
              <a:custGeom>
                <a:avLst/>
                <a:gdLst>
                  <a:gd name="T0" fmla="*/ 2147483647 w 877"/>
                  <a:gd name="T1" fmla="*/ 2147483647 h 481"/>
                  <a:gd name="T2" fmla="*/ 2147483647 w 877"/>
                  <a:gd name="T3" fmla="*/ 2147483647 h 481"/>
                  <a:gd name="T4" fmla="*/ 2147483647 w 877"/>
                  <a:gd name="T5" fmla="*/ 2147483647 h 481"/>
                  <a:gd name="T6" fmla="*/ 2147483647 w 877"/>
                  <a:gd name="T7" fmla="*/ 2147483647 h 481"/>
                  <a:gd name="T8" fmla="*/ 2147483647 w 877"/>
                  <a:gd name="T9" fmla="*/ 2147483647 h 481"/>
                  <a:gd name="T10" fmla="*/ 2147483647 w 877"/>
                  <a:gd name="T11" fmla="*/ 2147483647 h 481"/>
                  <a:gd name="T12" fmla="*/ 2147483647 w 877"/>
                  <a:gd name="T13" fmla="*/ 2147483647 h 481"/>
                  <a:gd name="T14" fmla="*/ 2147483647 w 877"/>
                  <a:gd name="T15" fmla="*/ 2147483647 h 481"/>
                  <a:gd name="T16" fmla="*/ 2147483647 w 877"/>
                  <a:gd name="T17" fmla="*/ 2147483647 h 481"/>
                  <a:gd name="T18" fmla="*/ 2147483647 w 877"/>
                  <a:gd name="T19" fmla="*/ 2147483647 h 481"/>
                  <a:gd name="T20" fmla="*/ 2147483647 w 877"/>
                  <a:gd name="T21" fmla="*/ 2147483647 h 481"/>
                  <a:gd name="T22" fmla="*/ 2147483647 w 877"/>
                  <a:gd name="T23" fmla="*/ 2147483647 h 481"/>
                  <a:gd name="T24" fmla="*/ 2147483647 w 877"/>
                  <a:gd name="T25" fmla="*/ 2147483647 h 481"/>
                  <a:gd name="T26" fmla="*/ 2147483647 w 877"/>
                  <a:gd name="T27" fmla="*/ 2147483647 h 481"/>
                  <a:gd name="T28" fmla="*/ 2147483647 w 877"/>
                  <a:gd name="T29" fmla="*/ 2147483647 h 481"/>
                  <a:gd name="T30" fmla="*/ 2147483647 w 877"/>
                  <a:gd name="T31" fmla="*/ 2147483647 h 481"/>
                  <a:gd name="T32" fmla="*/ 2147483647 w 877"/>
                  <a:gd name="T33" fmla="*/ 0 h 481"/>
                  <a:gd name="T34" fmla="*/ 2147483647 w 877"/>
                  <a:gd name="T35" fmla="*/ 2147483647 h 481"/>
                  <a:gd name="T36" fmla="*/ 2147483647 w 877"/>
                  <a:gd name="T37" fmla="*/ 2147483647 h 481"/>
                  <a:gd name="T38" fmla="*/ 2147483647 w 877"/>
                  <a:gd name="T39" fmla="*/ 2147483647 h 481"/>
                  <a:gd name="T40" fmla="*/ 2147483647 w 877"/>
                  <a:gd name="T41" fmla="*/ 2147483647 h 481"/>
                  <a:gd name="T42" fmla="*/ 2147483647 w 877"/>
                  <a:gd name="T43" fmla="*/ 2147483647 h 481"/>
                  <a:gd name="T44" fmla="*/ 2147483647 w 877"/>
                  <a:gd name="T45" fmla="*/ 2147483647 h 481"/>
                  <a:gd name="T46" fmla="*/ 2147483647 w 877"/>
                  <a:gd name="T47" fmla="*/ 2147483647 h 481"/>
                  <a:gd name="T48" fmla="*/ 2147483647 w 877"/>
                  <a:gd name="T49" fmla="*/ 2147483647 h 481"/>
                  <a:gd name="T50" fmla="*/ 2147483647 w 877"/>
                  <a:gd name="T51" fmla="*/ 2147483647 h 481"/>
                  <a:gd name="T52" fmla="*/ 2147483647 w 877"/>
                  <a:gd name="T53" fmla="*/ 2147483647 h 481"/>
                  <a:gd name="T54" fmla="*/ 2147483647 w 877"/>
                  <a:gd name="T55" fmla="*/ 2147483647 h 481"/>
                  <a:gd name="T56" fmla="*/ 2147483647 w 877"/>
                  <a:gd name="T57" fmla="*/ 2147483647 h 481"/>
                  <a:gd name="T58" fmla="*/ 2147483647 w 877"/>
                  <a:gd name="T59" fmla="*/ 2147483647 h 481"/>
                  <a:gd name="T60" fmla="*/ 2147483647 w 877"/>
                  <a:gd name="T61" fmla="*/ 2147483647 h 481"/>
                  <a:gd name="T62" fmla="*/ 2147483647 w 877"/>
                  <a:gd name="T63" fmla="*/ 2147483647 h 481"/>
                  <a:gd name="T64" fmla="*/ 2147483647 w 877"/>
                  <a:gd name="T65" fmla="*/ 2147483647 h 481"/>
                  <a:gd name="T66" fmla="*/ 2147483647 w 877"/>
                  <a:gd name="T67" fmla="*/ 2147483647 h 481"/>
                  <a:gd name="T68" fmla="*/ 2147483647 w 877"/>
                  <a:gd name="T69" fmla="*/ 2147483647 h 481"/>
                  <a:gd name="T70" fmla="*/ 2147483647 w 877"/>
                  <a:gd name="T71" fmla="*/ 2147483647 h 481"/>
                  <a:gd name="T72" fmla="*/ 2147483647 w 877"/>
                  <a:gd name="T73" fmla="*/ 2147483647 h 481"/>
                  <a:gd name="T74" fmla="*/ 2147483647 w 877"/>
                  <a:gd name="T75" fmla="*/ 2147483647 h 481"/>
                  <a:gd name="T76" fmla="*/ 2147483647 w 877"/>
                  <a:gd name="T77" fmla="*/ 2147483647 h 481"/>
                  <a:gd name="T78" fmla="*/ 2147483647 w 877"/>
                  <a:gd name="T79" fmla="*/ 2147483647 h 481"/>
                  <a:gd name="T80" fmla="*/ 2147483647 w 877"/>
                  <a:gd name="T81" fmla="*/ 2147483647 h 481"/>
                  <a:gd name="T82" fmla="*/ 2147483647 w 877"/>
                  <a:gd name="T83" fmla="*/ 2147483647 h 481"/>
                  <a:gd name="T84" fmla="*/ 2147483647 w 877"/>
                  <a:gd name="T85" fmla="*/ 2147483647 h 481"/>
                  <a:gd name="T86" fmla="*/ 2147483647 w 877"/>
                  <a:gd name="T87" fmla="*/ 2147483647 h 481"/>
                  <a:gd name="T88" fmla="*/ 2147483647 w 877"/>
                  <a:gd name="T89" fmla="*/ 2147483647 h 481"/>
                  <a:gd name="T90" fmla="*/ 2147483647 w 877"/>
                  <a:gd name="T91" fmla="*/ 2147483647 h 481"/>
                  <a:gd name="T92" fmla="*/ 2147483647 w 877"/>
                  <a:gd name="T93" fmla="*/ 2147483647 h 481"/>
                  <a:gd name="T94" fmla="*/ 2147483647 w 877"/>
                  <a:gd name="T95" fmla="*/ 2147483647 h 481"/>
                  <a:gd name="T96" fmla="*/ 2147483647 w 877"/>
                  <a:gd name="T97" fmla="*/ 2147483647 h 481"/>
                  <a:gd name="T98" fmla="*/ 2147483647 w 877"/>
                  <a:gd name="T99" fmla="*/ 2147483647 h 481"/>
                  <a:gd name="T100" fmla="*/ 2147483647 w 877"/>
                  <a:gd name="T101" fmla="*/ 2147483647 h 481"/>
                  <a:gd name="T102" fmla="*/ 2147483647 w 877"/>
                  <a:gd name="T103" fmla="*/ 2147483647 h 481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877"/>
                  <a:gd name="T157" fmla="*/ 0 h 481"/>
                  <a:gd name="T158" fmla="*/ 895 w 877"/>
                  <a:gd name="T159" fmla="*/ 504 h 481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877" h="481">
                    <a:moveTo>
                      <a:pt x="132" y="406"/>
                    </a:moveTo>
                    <a:lnTo>
                      <a:pt x="122" y="395"/>
                    </a:lnTo>
                    <a:lnTo>
                      <a:pt x="106" y="392"/>
                    </a:lnTo>
                    <a:lnTo>
                      <a:pt x="94" y="386"/>
                    </a:lnTo>
                    <a:lnTo>
                      <a:pt x="84" y="389"/>
                    </a:lnTo>
                    <a:lnTo>
                      <a:pt x="76" y="376"/>
                    </a:lnTo>
                    <a:lnTo>
                      <a:pt x="86" y="368"/>
                    </a:lnTo>
                    <a:lnTo>
                      <a:pt x="94" y="351"/>
                    </a:lnTo>
                    <a:lnTo>
                      <a:pt x="82" y="341"/>
                    </a:lnTo>
                    <a:lnTo>
                      <a:pt x="80" y="333"/>
                    </a:lnTo>
                    <a:lnTo>
                      <a:pt x="79" y="319"/>
                    </a:lnTo>
                    <a:lnTo>
                      <a:pt x="83" y="308"/>
                    </a:lnTo>
                    <a:lnTo>
                      <a:pt x="82" y="294"/>
                    </a:lnTo>
                    <a:lnTo>
                      <a:pt x="89" y="274"/>
                    </a:lnTo>
                    <a:lnTo>
                      <a:pt x="79" y="267"/>
                    </a:lnTo>
                    <a:lnTo>
                      <a:pt x="74" y="261"/>
                    </a:lnTo>
                    <a:lnTo>
                      <a:pt x="68" y="251"/>
                    </a:lnTo>
                    <a:lnTo>
                      <a:pt x="59" y="245"/>
                    </a:lnTo>
                    <a:lnTo>
                      <a:pt x="53" y="241"/>
                    </a:lnTo>
                    <a:lnTo>
                      <a:pt x="54" y="228"/>
                    </a:lnTo>
                    <a:lnTo>
                      <a:pt x="53" y="216"/>
                    </a:lnTo>
                    <a:lnTo>
                      <a:pt x="36" y="221"/>
                    </a:lnTo>
                    <a:lnTo>
                      <a:pt x="38" y="207"/>
                    </a:lnTo>
                    <a:lnTo>
                      <a:pt x="24" y="222"/>
                    </a:lnTo>
                    <a:lnTo>
                      <a:pt x="22" y="214"/>
                    </a:lnTo>
                    <a:lnTo>
                      <a:pt x="10" y="216"/>
                    </a:lnTo>
                    <a:lnTo>
                      <a:pt x="12" y="199"/>
                    </a:lnTo>
                    <a:lnTo>
                      <a:pt x="0" y="196"/>
                    </a:lnTo>
                    <a:lnTo>
                      <a:pt x="5" y="191"/>
                    </a:lnTo>
                    <a:lnTo>
                      <a:pt x="16" y="181"/>
                    </a:lnTo>
                    <a:lnTo>
                      <a:pt x="26" y="173"/>
                    </a:lnTo>
                    <a:lnTo>
                      <a:pt x="30" y="167"/>
                    </a:lnTo>
                    <a:lnTo>
                      <a:pt x="24" y="157"/>
                    </a:lnTo>
                    <a:lnTo>
                      <a:pt x="36" y="151"/>
                    </a:lnTo>
                    <a:lnTo>
                      <a:pt x="27" y="134"/>
                    </a:lnTo>
                    <a:lnTo>
                      <a:pt x="39" y="133"/>
                    </a:lnTo>
                    <a:lnTo>
                      <a:pt x="47" y="127"/>
                    </a:lnTo>
                    <a:lnTo>
                      <a:pt x="48" y="115"/>
                    </a:lnTo>
                    <a:lnTo>
                      <a:pt x="60" y="104"/>
                    </a:lnTo>
                    <a:lnTo>
                      <a:pt x="66" y="90"/>
                    </a:lnTo>
                    <a:lnTo>
                      <a:pt x="77" y="85"/>
                    </a:lnTo>
                    <a:lnTo>
                      <a:pt x="88" y="73"/>
                    </a:lnTo>
                    <a:lnTo>
                      <a:pt x="79" y="61"/>
                    </a:lnTo>
                    <a:lnTo>
                      <a:pt x="94" y="44"/>
                    </a:lnTo>
                    <a:lnTo>
                      <a:pt x="113" y="32"/>
                    </a:lnTo>
                    <a:lnTo>
                      <a:pt x="120" y="31"/>
                    </a:lnTo>
                    <a:lnTo>
                      <a:pt x="127" y="41"/>
                    </a:lnTo>
                    <a:lnTo>
                      <a:pt x="151" y="36"/>
                    </a:lnTo>
                    <a:lnTo>
                      <a:pt x="169" y="19"/>
                    </a:lnTo>
                    <a:lnTo>
                      <a:pt x="192" y="7"/>
                    </a:lnTo>
                    <a:lnTo>
                      <a:pt x="203" y="0"/>
                    </a:lnTo>
                    <a:lnTo>
                      <a:pt x="210" y="48"/>
                    </a:lnTo>
                    <a:lnTo>
                      <a:pt x="186" y="69"/>
                    </a:lnTo>
                    <a:lnTo>
                      <a:pt x="227" y="100"/>
                    </a:lnTo>
                    <a:lnTo>
                      <a:pt x="246" y="95"/>
                    </a:lnTo>
                    <a:lnTo>
                      <a:pt x="265" y="97"/>
                    </a:lnTo>
                    <a:lnTo>
                      <a:pt x="288" y="95"/>
                    </a:lnTo>
                    <a:lnTo>
                      <a:pt x="309" y="99"/>
                    </a:lnTo>
                    <a:lnTo>
                      <a:pt x="318" y="111"/>
                    </a:lnTo>
                    <a:lnTo>
                      <a:pt x="303" y="123"/>
                    </a:lnTo>
                    <a:lnTo>
                      <a:pt x="315" y="137"/>
                    </a:lnTo>
                    <a:lnTo>
                      <a:pt x="335" y="137"/>
                    </a:lnTo>
                    <a:lnTo>
                      <a:pt x="349" y="130"/>
                    </a:lnTo>
                    <a:lnTo>
                      <a:pt x="362" y="142"/>
                    </a:lnTo>
                    <a:lnTo>
                      <a:pt x="375" y="130"/>
                    </a:lnTo>
                    <a:lnTo>
                      <a:pt x="394" y="130"/>
                    </a:lnTo>
                    <a:lnTo>
                      <a:pt x="406" y="139"/>
                    </a:lnTo>
                    <a:lnTo>
                      <a:pt x="412" y="153"/>
                    </a:lnTo>
                    <a:lnTo>
                      <a:pt x="413" y="166"/>
                    </a:lnTo>
                    <a:lnTo>
                      <a:pt x="418" y="179"/>
                    </a:lnTo>
                    <a:lnTo>
                      <a:pt x="436" y="188"/>
                    </a:lnTo>
                    <a:lnTo>
                      <a:pt x="438" y="201"/>
                    </a:lnTo>
                    <a:lnTo>
                      <a:pt x="435" y="214"/>
                    </a:lnTo>
                    <a:lnTo>
                      <a:pt x="446" y="216"/>
                    </a:lnTo>
                    <a:lnTo>
                      <a:pt x="459" y="210"/>
                    </a:lnTo>
                    <a:lnTo>
                      <a:pt x="476" y="211"/>
                    </a:lnTo>
                    <a:lnTo>
                      <a:pt x="486" y="219"/>
                    </a:lnTo>
                    <a:lnTo>
                      <a:pt x="490" y="227"/>
                    </a:lnTo>
                    <a:lnTo>
                      <a:pt x="511" y="232"/>
                    </a:lnTo>
                    <a:lnTo>
                      <a:pt x="523" y="243"/>
                    </a:lnTo>
                    <a:lnTo>
                      <a:pt x="537" y="238"/>
                    </a:lnTo>
                    <a:lnTo>
                      <a:pt x="557" y="243"/>
                    </a:lnTo>
                    <a:lnTo>
                      <a:pt x="571" y="256"/>
                    </a:lnTo>
                    <a:lnTo>
                      <a:pt x="581" y="248"/>
                    </a:lnTo>
                    <a:lnTo>
                      <a:pt x="601" y="253"/>
                    </a:lnTo>
                    <a:lnTo>
                      <a:pt x="601" y="271"/>
                    </a:lnTo>
                    <a:lnTo>
                      <a:pt x="621" y="282"/>
                    </a:lnTo>
                    <a:lnTo>
                      <a:pt x="627" y="287"/>
                    </a:lnTo>
                    <a:lnTo>
                      <a:pt x="679" y="287"/>
                    </a:lnTo>
                    <a:lnTo>
                      <a:pt x="696" y="271"/>
                    </a:lnTo>
                    <a:lnTo>
                      <a:pt x="719" y="259"/>
                    </a:lnTo>
                    <a:lnTo>
                      <a:pt x="743" y="288"/>
                    </a:lnTo>
                    <a:lnTo>
                      <a:pt x="759" y="284"/>
                    </a:lnTo>
                    <a:lnTo>
                      <a:pt x="779" y="292"/>
                    </a:lnTo>
                    <a:lnTo>
                      <a:pt x="791" y="308"/>
                    </a:lnTo>
                    <a:lnTo>
                      <a:pt x="805" y="303"/>
                    </a:lnTo>
                    <a:lnTo>
                      <a:pt x="845" y="300"/>
                    </a:lnTo>
                    <a:lnTo>
                      <a:pt x="841" y="325"/>
                    </a:lnTo>
                    <a:lnTo>
                      <a:pt x="848" y="342"/>
                    </a:lnTo>
                    <a:lnTo>
                      <a:pt x="859" y="345"/>
                    </a:lnTo>
                    <a:lnTo>
                      <a:pt x="870" y="353"/>
                    </a:lnTo>
                    <a:lnTo>
                      <a:pt x="877" y="366"/>
                    </a:lnTo>
                    <a:lnTo>
                      <a:pt x="867" y="370"/>
                    </a:lnTo>
                    <a:lnTo>
                      <a:pt x="832" y="385"/>
                    </a:lnTo>
                    <a:lnTo>
                      <a:pt x="836" y="396"/>
                    </a:lnTo>
                    <a:lnTo>
                      <a:pt x="840" y="406"/>
                    </a:lnTo>
                    <a:lnTo>
                      <a:pt x="830" y="407"/>
                    </a:lnTo>
                    <a:lnTo>
                      <a:pt x="817" y="406"/>
                    </a:lnTo>
                    <a:lnTo>
                      <a:pt x="805" y="392"/>
                    </a:lnTo>
                    <a:lnTo>
                      <a:pt x="792" y="402"/>
                    </a:lnTo>
                    <a:lnTo>
                      <a:pt x="777" y="406"/>
                    </a:lnTo>
                    <a:lnTo>
                      <a:pt x="762" y="414"/>
                    </a:lnTo>
                    <a:lnTo>
                      <a:pt x="744" y="423"/>
                    </a:lnTo>
                    <a:lnTo>
                      <a:pt x="726" y="423"/>
                    </a:lnTo>
                    <a:lnTo>
                      <a:pt x="711" y="417"/>
                    </a:lnTo>
                    <a:lnTo>
                      <a:pt x="706" y="405"/>
                    </a:lnTo>
                    <a:lnTo>
                      <a:pt x="698" y="403"/>
                    </a:lnTo>
                    <a:lnTo>
                      <a:pt x="684" y="402"/>
                    </a:lnTo>
                    <a:lnTo>
                      <a:pt x="673" y="408"/>
                    </a:lnTo>
                    <a:lnTo>
                      <a:pt x="665" y="408"/>
                    </a:lnTo>
                    <a:lnTo>
                      <a:pt x="658" y="413"/>
                    </a:lnTo>
                    <a:lnTo>
                      <a:pt x="645" y="416"/>
                    </a:lnTo>
                    <a:lnTo>
                      <a:pt x="638" y="413"/>
                    </a:lnTo>
                    <a:lnTo>
                      <a:pt x="625" y="412"/>
                    </a:lnTo>
                    <a:lnTo>
                      <a:pt x="631" y="396"/>
                    </a:lnTo>
                    <a:lnTo>
                      <a:pt x="617" y="400"/>
                    </a:lnTo>
                    <a:lnTo>
                      <a:pt x="606" y="394"/>
                    </a:lnTo>
                    <a:lnTo>
                      <a:pt x="586" y="391"/>
                    </a:lnTo>
                    <a:lnTo>
                      <a:pt x="563" y="389"/>
                    </a:lnTo>
                    <a:lnTo>
                      <a:pt x="554" y="396"/>
                    </a:lnTo>
                    <a:lnTo>
                      <a:pt x="548" y="408"/>
                    </a:lnTo>
                    <a:lnTo>
                      <a:pt x="544" y="422"/>
                    </a:lnTo>
                    <a:lnTo>
                      <a:pt x="544" y="433"/>
                    </a:lnTo>
                    <a:lnTo>
                      <a:pt x="511" y="443"/>
                    </a:lnTo>
                    <a:lnTo>
                      <a:pt x="493" y="450"/>
                    </a:lnTo>
                    <a:lnTo>
                      <a:pt x="493" y="462"/>
                    </a:lnTo>
                    <a:lnTo>
                      <a:pt x="482" y="475"/>
                    </a:lnTo>
                    <a:lnTo>
                      <a:pt x="463" y="481"/>
                    </a:lnTo>
                    <a:lnTo>
                      <a:pt x="435" y="472"/>
                    </a:lnTo>
                    <a:lnTo>
                      <a:pt x="395" y="456"/>
                    </a:lnTo>
                    <a:lnTo>
                      <a:pt x="399" y="446"/>
                    </a:lnTo>
                    <a:lnTo>
                      <a:pt x="377" y="439"/>
                    </a:lnTo>
                    <a:lnTo>
                      <a:pt x="375" y="422"/>
                    </a:lnTo>
                    <a:lnTo>
                      <a:pt x="354" y="398"/>
                    </a:lnTo>
                    <a:lnTo>
                      <a:pt x="344" y="387"/>
                    </a:lnTo>
                    <a:lnTo>
                      <a:pt x="320" y="390"/>
                    </a:lnTo>
                    <a:lnTo>
                      <a:pt x="293" y="370"/>
                    </a:lnTo>
                    <a:lnTo>
                      <a:pt x="274" y="367"/>
                    </a:lnTo>
                    <a:lnTo>
                      <a:pt x="278" y="384"/>
                    </a:lnTo>
                    <a:lnTo>
                      <a:pt x="256" y="388"/>
                    </a:lnTo>
                    <a:lnTo>
                      <a:pt x="231" y="398"/>
                    </a:lnTo>
                    <a:lnTo>
                      <a:pt x="218" y="395"/>
                    </a:lnTo>
                    <a:lnTo>
                      <a:pt x="203" y="407"/>
                    </a:lnTo>
                    <a:lnTo>
                      <a:pt x="180" y="398"/>
                    </a:lnTo>
                    <a:lnTo>
                      <a:pt x="176" y="417"/>
                    </a:lnTo>
                    <a:lnTo>
                      <a:pt x="162" y="417"/>
                    </a:lnTo>
                    <a:lnTo>
                      <a:pt x="145" y="411"/>
                    </a:lnTo>
                    <a:lnTo>
                      <a:pt x="132" y="406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6" name="Freeform 4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3320086" y="2590713"/>
                <a:ext cx="989972" cy="954593"/>
              </a:xfrm>
              <a:custGeom>
                <a:avLst/>
                <a:gdLst>
                  <a:gd name="T0" fmla="*/ 2147483647 w 708"/>
                  <a:gd name="T1" fmla="*/ 2147483647 h 734"/>
                  <a:gd name="T2" fmla="*/ 2147483647 w 708"/>
                  <a:gd name="T3" fmla="*/ 2147483647 h 734"/>
                  <a:gd name="T4" fmla="*/ 2147483647 w 708"/>
                  <a:gd name="T5" fmla="*/ 2147483647 h 734"/>
                  <a:gd name="T6" fmla="*/ 2147483647 w 708"/>
                  <a:gd name="T7" fmla="*/ 2147483647 h 734"/>
                  <a:gd name="T8" fmla="*/ 2147483647 w 708"/>
                  <a:gd name="T9" fmla="*/ 2147483647 h 734"/>
                  <a:gd name="T10" fmla="*/ 2147483647 w 708"/>
                  <a:gd name="T11" fmla="*/ 2147483647 h 734"/>
                  <a:gd name="T12" fmla="*/ 2147483647 w 708"/>
                  <a:gd name="T13" fmla="*/ 2147483647 h 734"/>
                  <a:gd name="T14" fmla="*/ 2147483647 w 708"/>
                  <a:gd name="T15" fmla="*/ 2147483647 h 734"/>
                  <a:gd name="T16" fmla="*/ 2147483647 w 708"/>
                  <a:gd name="T17" fmla="*/ 2147483647 h 734"/>
                  <a:gd name="T18" fmla="*/ 2147483647 w 708"/>
                  <a:gd name="T19" fmla="*/ 2147483647 h 734"/>
                  <a:gd name="T20" fmla="*/ 2147483647 w 708"/>
                  <a:gd name="T21" fmla="*/ 2147483647 h 734"/>
                  <a:gd name="T22" fmla="*/ 2147483647 w 708"/>
                  <a:gd name="T23" fmla="*/ 2147483647 h 734"/>
                  <a:gd name="T24" fmla="*/ 2147483647 w 708"/>
                  <a:gd name="T25" fmla="*/ 2147483647 h 734"/>
                  <a:gd name="T26" fmla="*/ 2147483647 w 708"/>
                  <a:gd name="T27" fmla="*/ 2147483647 h 734"/>
                  <a:gd name="T28" fmla="*/ 2147483647 w 708"/>
                  <a:gd name="T29" fmla="*/ 2147483647 h 734"/>
                  <a:gd name="T30" fmla="*/ 2147483647 w 708"/>
                  <a:gd name="T31" fmla="*/ 2147483647 h 734"/>
                  <a:gd name="T32" fmla="*/ 2147483647 w 708"/>
                  <a:gd name="T33" fmla="*/ 2147483647 h 734"/>
                  <a:gd name="T34" fmla="*/ 2147483647 w 708"/>
                  <a:gd name="T35" fmla="*/ 2147483647 h 734"/>
                  <a:gd name="T36" fmla="*/ 2147483647 w 708"/>
                  <a:gd name="T37" fmla="*/ 2147483647 h 734"/>
                  <a:gd name="T38" fmla="*/ 2147483647 w 708"/>
                  <a:gd name="T39" fmla="*/ 2147483647 h 734"/>
                  <a:gd name="T40" fmla="*/ 2147483647 w 708"/>
                  <a:gd name="T41" fmla="*/ 2147483647 h 734"/>
                  <a:gd name="T42" fmla="*/ 2147483647 w 708"/>
                  <a:gd name="T43" fmla="*/ 2147483647 h 734"/>
                  <a:gd name="T44" fmla="*/ 2147483647 w 708"/>
                  <a:gd name="T45" fmla="*/ 2147483647 h 734"/>
                  <a:gd name="T46" fmla="*/ 2147483647 w 708"/>
                  <a:gd name="T47" fmla="*/ 2147483647 h 734"/>
                  <a:gd name="T48" fmla="*/ 2147483647 w 708"/>
                  <a:gd name="T49" fmla="*/ 2147483647 h 734"/>
                  <a:gd name="T50" fmla="*/ 2147483647 w 708"/>
                  <a:gd name="T51" fmla="*/ 2147483647 h 734"/>
                  <a:gd name="T52" fmla="*/ 2147483647 w 708"/>
                  <a:gd name="T53" fmla="*/ 2147483647 h 734"/>
                  <a:gd name="T54" fmla="*/ 2147483647 w 708"/>
                  <a:gd name="T55" fmla="*/ 2147483647 h 734"/>
                  <a:gd name="T56" fmla="*/ 2147483647 w 708"/>
                  <a:gd name="T57" fmla="*/ 2147483647 h 734"/>
                  <a:gd name="T58" fmla="*/ 2147483647 w 708"/>
                  <a:gd name="T59" fmla="*/ 2147483647 h 734"/>
                  <a:gd name="T60" fmla="*/ 2147483647 w 708"/>
                  <a:gd name="T61" fmla="*/ 2147483647 h 734"/>
                  <a:gd name="T62" fmla="*/ 2147483647 w 708"/>
                  <a:gd name="T63" fmla="*/ 2147483647 h 734"/>
                  <a:gd name="T64" fmla="*/ 2147483647 w 708"/>
                  <a:gd name="T65" fmla="*/ 2147483647 h 734"/>
                  <a:gd name="T66" fmla="*/ 2147483647 w 708"/>
                  <a:gd name="T67" fmla="*/ 2147483647 h 734"/>
                  <a:gd name="T68" fmla="*/ 2147483647 w 708"/>
                  <a:gd name="T69" fmla="*/ 2147483647 h 734"/>
                  <a:gd name="T70" fmla="*/ 2147483647 w 708"/>
                  <a:gd name="T71" fmla="*/ 2147483647 h 734"/>
                  <a:gd name="T72" fmla="*/ 2147483647 w 708"/>
                  <a:gd name="T73" fmla="*/ 2147483647 h 734"/>
                  <a:gd name="T74" fmla="*/ 2147483647 w 708"/>
                  <a:gd name="T75" fmla="*/ 2147483647 h 734"/>
                  <a:gd name="T76" fmla="*/ 2147483647 w 708"/>
                  <a:gd name="T77" fmla="*/ 2147483647 h 734"/>
                  <a:gd name="T78" fmla="*/ 2147483647 w 708"/>
                  <a:gd name="T79" fmla="*/ 2147483647 h 734"/>
                  <a:gd name="T80" fmla="*/ 2147483647 w 708"/>
                  <a:gd name="T81" fmla="*/ 2147483647 h 734"/>
                  <a:gd name="T82" fmla="*/ 2147483647 w 708"/>
                  <a:gd name="T83" fmla="*/ 2147483647 h 734"/>
                  <a:gd name="T84" fmla="*/ 2147483647 w 708"/>
                  <a:gd name="T85" fmla="*/ 2147483647 h 734"/>
                  <a:gd name="T86" fmla="*/ 2147483647 w 708"/>
                  <a:gd name="T87" fmla="*/ 2147483647 h 734"/>
                  <a:gd name="T88" fmla="*/ 2147483647 w 708"/>
                  <a:gd name="T89" fmla="*/ 2147483647 h 734"/>
                  <a:gd name="T90" fmla="*/ 2147483647 w 708"/>
                  <a:gd name="T91" fmla="*/ 2147483647 h 734"/>
                  <a:gd name="T92" fmla="*/ 2147483647 w 708"/>
                  <a:gd name="T93" fmla="*/ 2147483647 h 734"/>
                  <a:gd name="T94" fmla="*/ 2147483647 w 708"/>
                  <a:gd name="T95" fmla="*/ 2147483647 h 734"/>
                  <a:gd name="T96" fmla="*/ 2147483647 w 708"/>
                  <a:gd name="T97" fmla="*/ 2147483647 h 734"/>
                  <a:gd name="T98" fmla="*/ 2147483647 w 708"/>
                  <a:gd name="T99" fmla="*/ 2147483647 h 734"/>
                  <a:gd name="T100" fmla="*/ 2147483647 w 708"/>
                  <a:gd name="T101" fmla="*/ 2147483647 h 734"/>
                  <a:gd name="T102" fmla="*/ 2147483647 w 708"/>
                  <a:gd name="T103" fmla="*/ 2147483647 h 734"/>
                  <a:gd name="T104" fmla="*/ 2147483647 w 708"/>
                  <a:gd name="T105" fmla="*/ 2147483647 h 734"/>
                  <a:gd name="T106" fmla="*/ 2147483647 w 708"/>
                  <a:gd name="T107" fmla="*/ 2147483647 h 734"/>
                  <a:gd name="T108" fmla="*/ 2147483647 w 708"/>
                  <a:gd name="T109" fmla="*/ 2147483647 h 734"/>
                  <a:gd name="T110" fmla="*/ 2147483647 w 708"/>
                  <a:gd name="T111" fmla="*/ 2147483647 h 734"/>
                  <a:gd name="T112" fmla="*/ 2147483647 w 708"/>
                  <a:gd name="T113" fmla="*/ 2147483647 h 734"/>
                  <a:gd name="T114" fmla="*/ 2147483647 w 708"/>
                  <a:gd name="T115" fmla="*/ 2147483647 h 734"/>
                  <a:gd name="T116" fmla="*/ 2147483647 w 708"/>
                  <a:gd name="T117" fmla="*/ 2147483647 h 734"/>
                  <a:gd name="T118" fmla="*/ 2147483647 w 708"/>
                  <a:gd name="T119" fmla="*/ 2147483647 h 734"/>
                  <a:gd name="T120" fmla="*/ 2147483647 w 708"/>
                  <a:gd name="T121" fmla="*/ 2147483647 h 734"/>
                  <a:gd name="T122" fmla="*/ 2147483647 w 708"/>
                  <a:gd name="T123" fmla="*/ 2147483647 h 73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08"/>
                  <a:gd name="T187" fmla="*/ 0 h 734"/>
                  <a:gd name="T188" fmla="*/ 708 w 708"/>
                  <a:gd name="T189" fmla="*/ 734 h 73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08" h="734">
                    <a:moveTo>
                      <a:pt x="670" y="723"/>
                    </a:moveTo>
                    <a:lnTo>
                      <a:pt x="692" y="717"/>
                    </a:lnTo>
                    <a:lnTo>
                      <a:pt x="684" y="693"/>
                    </a:lnTo>
                    <a:lnTo>
                      <a:pt x="688" y="669"/>
                    </a:lnTo>
                    <a:lnTo>
                      <a:pt x="695" y="648"/>
                    </a:lnTo>
                    <a:lnTo>
                      <a:pt x="700" y="635"/>
                    </a:lnTo>
                    <a:lnTo>
                      <a:pt x="708" y="609"/>
                    </a:lnTo>
                    <a:lnTo>
                      <a:pt x="678" y="596"/>
                    </a:lnTo>
                    <a:lnTo>
                      <a:pt x="655" y="582"/>
                    </a:lnTo>
                    <a:lnTo>
                      <a:pt x="669" y="551"/>
                    </a:lnTo>
                    <a:lnTo>
                      <a:pt x="648" y="536"/>
                    </a:lnTo>
                    <a:lnTo>
                      <a:pt x="642" y="521"/>
                    </a:lnTo>
                    <a:lnTo>
                      <a:pt x="645" y="501"/>
                    </a:lnTo>
                    <a:lnTo>
                      <a:pt x="647" y="473"/>
                    </a:lnTo>
                    <a:lnTo>
                      <a:pt x="628" y="449"/>
                    </a:lnTo>
                    <a:lnTo>
                      <a:pt x="616" y="422"/>
                    </a:lnTo>
                    <a:lnTo>
                      <a:pt x="610" y="407"/>
                    </a:lnTo>
                    <a:lnTo>
                      <a:pt x="618" y="378"/>
                    </a:lnTo>
                    <a:lnTo>
                      <a:pt x="624" y="363"/>
                    </a:lnTo>
                    <a:lnTo>
                      <a:pt x="631" y="342"/>
                    </a:lnTo>
                    <a:lnTo>
                      <a:pt x="631" y="327"/>
                    </a:lnTo>
                    <a:lnTo>
                      <a:pt x="606" y="297"/>
                    </a:lnTo>
                    <a:lnTo>
                      <a:pt x="564" y="287"/>
                    </a:lnTo>
                    <a:lnTo>
                      <a:pt x="549" y="255"/>
                    </a:lnTo>
                    <a:lnTo>
                      <a:pt x="562" y="227"/>
                    </a:lnTo>
                    <a:lnTo>
                      <a:pt x="597" y="206"/>
                    </a:lnTo>
                    <a:lnTo>
                      <a:pt x="607" y="197"/>
                    </a:lnTo>
                    <a:lnTo>
                      <a:pt x="592" y="182"/>
                    </a:lnTo>
                    <a:lnTo>
                      <a:pt x="576" y="164"/>
                    </a:lnTo>
                    <a:lnTo>
                      <a:pt x="579" y="129"/>
                    </a:lnTo>
                    <a:lnTo>
                      <a:pt x="597" y="125"/>
                    </a:lnTo>
                    <a:lnTo>
                      <a:pt x="603" y="108"/>
                    </a:lnTo>
                    <a:lnTo>
                      <a:pt x="604" y="96"/>
                    </a:lnTo>
                    <a:lnTo>
                      <a:pt x="581" y="86"/>
                    </a:lnTo>
                    <a:lnTo>
                      <a:pt x="551" y="78"/>
                    </a:lnTo>
                    <a:lnTo>
                      <a:pt x="559" y="97"/>
                    </a:lnTo>
                    <a:lnTo>
                      <a:pt x="526" y="100"/>
                    </a:lnTo>
                    <a:lnTo>
                      <a:pt x="517" y="116"/>
                    </a:lnTo>
                    <a:lnTo>
                      <a:pt x="559" y="138"/>
                    </a:lnTo>
                    <a:lnTo>
                      <a:pt x="559" y="174"/>
                    </a:lnTo>
                    <a:lnTo>
                      <a:pt x="534" y="155"/>
                    </a:lnTo>
                    <a:lnTo>
                      <a:pt x="515" y="158"/>
                    </a:lnTo>
                    <a:lnTo>
                      <a:pt x="498" y="144"/>
                    </a:lnTo>
                    <a:lnTo>
                      <a:pt x="490" y="119"/>
                    </a:lnTo>
                    <a:lnTo>
                      <a:pt x="490" y="94"/>
                    </a:lnTo>
                    <a:lnTo>
                      <a:pt x="509" y="69"/>
                    </a:lnTo>
                    <a:lnTo>
                      <a:pt x="515" y="42"/>
                    </a:lnTo>
                    <a:lnTo>
                      <a:pt x="509" y="22"/>
                    </a:lnTo>
                    <a:lnTo>
                      <a:pt x="495" y="42"/>
                    </a:lnTo>
                    <a:lnTo>
                      <a:pt x="495" y="61"/>
                    </a:lnTo>
                    <a:lnTo>
                      <a:pt x="481" y="86"/>
                    </a:lnTo>
                    <a:lnTo>
                      <a:pt x="448" y="100"/>
                    </a:lnTo>
                    <a:lnTo>
                      <a:pt x="426" y="119"/>
                    </a:lnTo>
                    <a:lnTo>
                      <a:pt x="429" y="136"/>
                    </a:lnTo>
                    <a:lnTo>
                      <a:pt x="443" y="155"/>
                    </a:lnTo>
                    <a:lnTo>
                      <a:pt x="443" y="185"/>
                    </a:lnTo>
                    <a:lnTo>
                      <a:pt x="426" y="205"/>
                    </a:lnTo>
                    <a:lnTo>
                      <a:pt x="412" y="235"/>
                    </a:lnTo>
                    <a:lnTo>
                      <a:pt x="418" y="274"/>
                    </a:lnTo>
                    <a:lnTo>
                      <a:pt x="440" y="285"/>
                    </a:lnTo>
                    <a:lnTo>
                      <a:pt x="462" y="274"/>
                    </a:lnTo>
                    <a:lnTo>
                      <a:pt x="490" y="291"/>
                    </a:lnTo>
                    <a:lnTo>
                      <a:pt x="515" y="310"/>
                    </a:lnTo>
                    <a:lnTo>
                      <a:pt x="520" y="343"/>
                    </a:lnTo>
                    <a:lnTo>
                      <a:pt x="501" y="352"/>
                    </a:lnTo>
                    <a:lnTo>
                      <a:pt x="495" y="379"/>
                    </a:lnTo>
                    <a:lnTo>
                      <a:pt x="534" y="393"/>
                    </a:lnTo>
                    <a:lnTo>
                      <a:pt x="517" y="399"/>
                    </a:lnTo>
                    <a:lnTo>
                      <a:pt x="492" y="390"/>
                    </a:lnTo>
                    <a:lnTo>
                      <a:pt x="473" y="368"/>
                    </a:lnTo>
                    <a:lnTo>
                      <a:pt x="487" y="343"/>
                    </a:lnTo>
                    <a:lnTo>
                      <a:pt x="490" y="321"/>
                    </a:lnTo>
                    <a:lnTo>
                      <a:pt x="476" y="299"/>
                    </a:lnTo>
                    <a:lnTo>
                      <a:pt x="443" y="296"/>
                    </a:lnTo>
                    <a:lnTo>
                      <a:pt x="421" y="316"/>
                    </a:lnTo>
                    <a:lnTo>
                      <a:pt x="421" y="346"/>
                    </a:lnTo>
                    <a:lnTo>
                      <a:pt x="401" y="390"/>
                    </a:lnTo>
                    <a:lnTo>
                      <a:pt x="354" y="426"/>
                    </a:lnTo>
                    <a:lnTo>
                      <a:pt x="326" y="432"/>
                    </a:lnTo>
                    <a:lnTo>
                      <a:pt x="313" y="446"/>
                    </a:lnTo>
                    <a:lnTo>
                      <a:pt x="293" y="448"/>
                    </a:lnTo>
                    <a:lnTo>
                      <a:pt x="279" y="429"/>
                    </a:lnTo>
                    <a:lnTo>
                      <a:pt x="260" y="435"/>
                    </a:lnTo>
                    <a:lnTo>
                      <a:pt x="232" y="415"/>
                    </a:lnTo>
                    <a:lnTo>
                      <a:pt x="235" y="385"/>
                    </a:lnTo>
                    <a:lnTo>
                      <a:pt x="254" y="390"/>
                    </a:lnTo>
                    <a:lnTo>
                      <a:pt x="263" y="413"/>
                    </a:lnTo>
                    <a:lnTo>
                      <a:pt x="282" y="421"/>
                    </a:lnTo>
                    <a:lnTo>
                      <a:pt x="318" y="404"/>
                    </a:lnTo>
                    <a:lnTo>
                      <a:pt x="346" y="382"/>
                    </a:lnTo>
                    <a:lnTo>
                      <a:pt x="349" y="363"/>
                    </a:lnTo>
                    <a:lnTo>
                      <a:pt x="373" y="349"/>
                    </a:lnTo>
                    <a:lnTo>
                      <a:pt x="382" y="327"/>
                    </a:lnTo>
                    <a:lnTo>
                      <a:pt x="390" y="307"/>
                    </a:lnTo>
                    <a:lnTo>
                      <a:pt x="382" y="285"/>
                    </a:lnTo>
                    <a:lnTo>
                      <a:pt x="371" y="266"/>
                    </a:lnTo>
                    <a:lnTo>
                      <a:pt x="387" y="238"/>
                    </a:lnTo>
                    <a:lnTo>
                      <a:pt x="398" y="224"/>
                    </a:lnTo>
                    <a:lnTo>
                      <a:pt x="390" y="199"/>
                    </a:lnTo>
                    <a:lnTo>
                      <a:pt x="401" y="174"/>
                    </a:lnTo>
                    <a:cubicBezTo>
                      <a:pt x="421" y="139"/>
                      <a:pt x="418" y="156"/>
                      <a:pt x="418" y="127"/>
                    </a:cubicBezTo>
                    <a:lnTo>
                      <a:pt x="398" y="91"/>
                    </a:lnTo>
                    <a:lnTo>
                      <a:pt x="437" y="80"/>
                    </a:lnTo>
                    <a:lnTo>
                      <a:pt x="443" y="50"/>
                    </a:lnTo>
                    <a:lnTo>
                      <a:pt x="456" y="33"/>
                    </a:lnTo>
                    <a:lnTo>
                      <a:pt x="437" y="17"/>
                    </a:lnTo>
                    <a:lnTo>
                      <a:pt x="418" y="11"/>
                    </a:lnTo>
                    <a:lnTo>
                      <a:pt x="396" y="6"/>
                    </a:lnTo>
                    <a:lnTo>
                      <a:pt x="379" y="0"/>
                    </a:lnTo>
                    <a:lnTo>
                      <a:pt x="360" y="22"/>
                    </a:lnTo>
                    <a:lnTo>
                      <a:pt x="351" y="44"/>
                    </a:lnTo>
                    <a:lnTo>
                      <a:pt x="329" y="69"/>
                    </a:lnTo>
                    <a:lnTo>
                      <a:pt x="326" y="89"/>
                    </a:lnTo>
                    <a:lnTo>
                      <a:pt x="279" y="94"/>
                    </a:lnTo>
                    <a:lnTo>
                      <a:pt x="260" y="111"/>
                    </a:lnTo>
                    <a:lnTo>
                      <a:pt x="279" y="122"/>
                    </a:lnTo>
                    <a:lnTo>
                      <a:pt x="266" y="141"/>
                    </a:lnTo>
                    <a:lnTo>
                      <a:pt x="266" y="174"/>
                    </a:lnTo>
                    <a:lnTo>
                      <a:pt x="241" y="180"/>
                    </a:lnTo>
                    <a:lnTo>
                      <a:pt x="227" y="191"/>
                    </a:lnTo>
                    <a:lnTo>
                      <a:pt x="243" y="202"/>
                    </a:lnTo>
                    <a:lnTo>
                      <a:pt x="271" y="224"/>
                    </a:lnTo>
                    <a:lnTo>
                      <a:pt x="263" y="241"/>
                    </a:lnTo>
                    <a:lnTo>
                      <a:pt x="279" y="255"/>
                    </a:lnTo>
                    <a:lnTo>
                      <a:pt x="274" y="291"/>
                    </a:lnTo>
                    <a:lnTo>
                      <a:pt x="243" y="296"/>
                    </a:lnTo>
                    <a:lnTo>
                      <a:pt x="232" y="274"/>
                    </a:lnTo>
                    <a:lnTo>
                      <a:pt x="224" y="249"/>
                    </a:lnTo>
                    <a:lnTo>
                      <a:pt x="205" y="241"/>
                    </a:lnTo>
                    <a:lnTo>
                      <a:pt x="205" y="224"/>
                    </a:lnTo>
                    <a:lnTo>
                      <a:pt x="185" y="213"/>
                    </a:lnTo>
                    <a:lnTo>
                      <a:pt x="163" y="216"/>
                    </a:lnTo>
                    <a:lnTo>
                      <a:pt x="166" y="235"/>
                    </a:lnTo>
                    <a:lnTo>
                      <a:pt x="169" y="266"/>
                    </a:lnTo>
                    <a:lnTo>
                      <a:pt x="155" y="293"/>
                    </a:lnTo>
                    <a:lnTo>
                      <a:pt x="169" y="305"/>
                    </a:lnTo>
                    <a:lnTo>
                      <a:pt x="160" y="329"/>
                    </a:lnTo>
                    <a:lnTo>
                      <a:pt x="130" y="354"/>
                    </a:lnTo>
                    <a:lnTo>
                      <a:pt x="94" y="365"/>
                    </a:lnTo>
                    <a:lnTo>
                      <a:pt x="66" y="368"/>
                    </a:lnTo>
                    <a:lnTo>
                      <a:pt x="47" y="401"/>
                    </a:lnTo>
                    <a:lnTo>
                      <a:pt x="25" y="407"/>
                    </a:lnTo>
                    <a:lnTo>
                      <a:pt x="13" y="410"/>
                    </a:lnTo>
                    <a:lnTo>
                      <a:pt x="19" y="458"/>
                    </a:lnTo>
                    <a:lnTo>
                      <a:pt x="0" y="482"/>
                    </a:lnTo>
                    <a:lnTo>
                      <a:pt x="18" y="500"/>
                    </a:lnTo>
                    <a:lnTo>
                      <a:pt x="36" y="512"/>
                    </a:lnTo>
                    <a:lnTo>
                      <a:pt x="61" y="510"/>
                    </a:lnTo>
                    <a:lnTo>
                      <a:pt x="84" y="512"/>
                    </a:lnTo>
                    <a:lnTo>
                      <a:pt x="100" y="509"/>
                    </a:lnTo>
                    <a:lnTo>
                      <a:pt x="120" y="516"/>
                    </a:lnTo>
                    <a:lnTo>
                      <a:pt x="135" y="524"/>
                    </a:lnTo>
                    <a:lnTo>
                      <a:pt x="117" y="537"/>
                    </a:lnTo>
                    <a:lnTo>
                      <a:pt x="129" y="554"/>
                    </a:lnTo>
                    <a:lnTo>
                      <a:pt x="147" y="554"/>
                    </a:lnTo>
                    <a:lnTo>
                      <a:pt x="165" y="548"/>
                    </a:lnTo>
                    <a:lnTo>
                      <a:pt x="178" y="560"/>
                    </a:lnTo>
                    <a:lnTo>
                      <a:pt x="192" y="546"/>
                    </a:lnTo>
                    <a:lnTo>
                      <a:pt x="216" y="549"/>
                    </a:lnTo>
                    <a:lnTo>
                      <a:pt x="226" y="566"/>
                    </a:lnTo>
                    <a:lnTo>
                      <a:pt x="228" y="597"/>
                    </a:lnTo>
                    <a:lnTo>
                      <a:pt x="255" y="609"/>
                    </a:lnTo>
                    <a:lnTo>
                      <a:pt x="252" y="633"/>
                    </a:lnTo>
                    <a:lnTo>
                      <a:pt x="279" y="633"/>
                    </a:lnTo>
                    <a:lnTo>
                      <a:pt x="291" y="630"/>
                    </a:lnTo>
                    <a:lnTo>
                      <a:pt x="306" y="639"/>
                    </a:lnTo>
                    <a:lnTo>
                      <a:pt x="315" y="650"/>
                    </a:lnTo>
                    <a:lnTo>
                      <a:pt x="334" y="659"/>
                    </a:lnTo>
                    <a:lnTo>
                      <a:pt x="345" y="666"/>
                    </a:lnTo>
                    <a:lnTo>
                      <a:pt x="364" y="657"/>
                    </a:lnTo>
                    <a:lnTo>
                      <a:pt x="384" y="668"/>
                    </a:lnTo>
                    <a:lnTo>
                      <a:pt x="391" y="678"/>
                    </a:lnTo>
                    <a:lnTo>
                      <a:pt x="403" y="669"/>
                    </a:lnTo>
                    <a:lnTo>
                      <a:pt x="421" y="671"/>
                    </a:lnTo>
                    <a:lnTo>
                      <a:pt x="418" y="690"/>
                    </a:lnTo>
                    <a:lnTo>
                      <a:pt x="438" y="701"/>
                    </a:lnTo>
                    <a:lnTo>
                      <a:pt x="448" y="710"/>
                    </a:lnTo>
                    <a:lnTo>
                      <a:pt x="459" y="714"/>
                    </a:lnTo>
                    <a:lnTo>
                      <a:pt x="504" y="711"/>
                    </a:lnTo>
                    <a:lnTo>
                      <a:pt x="523" y="692"/>
                    </a:lnTo>
                    <a:lnTo>
                      <a:pt x="543" y="678"/>
                    </a:lnTo>
                    <a:lnTo>
                      <a:pt x="565" y="713"/>
                    </a:lnTo>
                    <a:lnTo>
                      <a:pt x="597" y="708"/>
                    </a:lnTo>
                    <a:lnTo>
                      <a:pt x="609" y="725"/>
                    </a:lnTo>
                    <a:lnTo>
                      <a:pt x="616" y="734"/>
                    </a:lnTo>
                    <a:lnTo>
                      <a:pt x="640" y="725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7" name="Freeform 33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601738" y="3375342"/>
                <a:ext cx="462436" cy="407447"/>
              </a:xfrm>
              <a:custGeom>
                <a:avLst/>
                <a:gdLst>
                  <a:gd name="T0" fmla="*/ 2147483647 w 373"/>
                  <a:gd name="T1" fmla="*/ 2147483647 h 345"/>
                  <a:gd name="T2" fmla="*/ 2147483647 w 373"/>
                  <a:gd name="T3" fmla="*/ 2147483647 h 345"/>
                  <a:gd name="T4" fmla="*/ 2147483647 w 373"/>
                  <a:gd name="T5" fmla="*/ 2147483647 h 345"/>
                  <a:gd name="T6" fmla="*/ 2147483647 w 373"/>
                  <a:gd name="T7" fmla="*/ 2147483647 h 345"/>
                  <a:gd name="T8" fmla="*/ 2147483647 w 373"/>
                  <a:gd name="T9" fmla="*/ 2147483647 h 345"/>
                  <a:gd name="T10" fmla="*/ 2147483647 w 373"/>
                  <a:gd name="T11" fmla="*/ 2147483647 h 345"/>
                  <a:gd name="T12" fmla="*/ 2147483647 w 373"/>
                  <a:gd name="T13" fmla="*/ 2147483647 h 345"/>
                  <a:gd name="T14" fmla="*/ 2147483647 w 373"/>
                  <a:gd name="T15" fmla="*/ 2147483647 h 345"/>
                  <a:gd name="T16" fmla="*/ 2147483647 w 373"/>
                  <a:gd name="T17" fmla="*/ 2147483647 h 345"/>
                  <a:gd name="T18" fmla="*/ 2147483647 w 373"/>
                  <a:gd name="T19" fmla="*/ 2147483647 h 345"/>
                  <a:gd name="T20" fmla="*/ 2147483647 w 373"/>
                  <a:gd name="T21" fmla="*/ 2147483647 h 345"/>
                  <a:gd name="T22" fmla="*/ 2147483647 w 373"/>
                  <a:gd name="T23" fmla="*/ 2147483647 h 345"/>
                  <a:gd name="T24" fmla="*/ 2147483647 w 373"/>
                  <a:gd name="T25" fmla="*/ 2147483647 h 345"/>
                  <a:gd name="T26" fmla="*/ 2147483647 w 373"/>
                  <a:gd name="T27" fmla="*/ 2147483647 h 345"/>
                  <a:gd name="T28" fmla="*/ 2147483647 w 373"/>
                  <a:gd name="T29" fmla="*/ 2147483647 h 345"/>
                  <a:gd name="T30" fmla="*/ 2147483647 w 373"/>
                  <a:gd name="T31" fmla="*/ 2147483647 h 345"/>
                  <a:gd name="T32" fmla="*/ 2147483647 w 373"/>
                  <a:gd name="T33" fmla="*/ 2147483647 h 345"/>
                  <a:gd name="T34" fmla="*/ 2147483647 w 373"/>
                  <a:gd name="T35" fmla="*/ 2147483647 h 345"/>
                  <a:gd name="T36" fmla="*/ 2147483647 w 373"/>
                  <a:gd name="T37" fmla="*/ 2147483647 h 345"/>
                  <a:gd name="T38" fmla="*/ 2147483647 w 373"/>
                  <a:gd name="T39" fmla="*/ 2147483647 h 345"/>
                  <a:gd name="T40" fmla="*/ 2147483647 w 373"/>
                  <a:gd name="T41" fmla="*/ 2147483647 h 345"/>
                  <a:gd name="T42" fmla="*/ 2147483647 w 373"/>
                  <a:gd name="T43" fmla="*/ 2147483647 h 345"/>
                  <a:gd name="T44" fmla="*/ 2147483647 w 373"/>
                  <a:gd name="T45" fmla="*/ 2147483647 h 345"/>
                  <a:gd name="T46" fmla="*/ 2147483647 w 373"/>
                  <a:gd name="T47" fmla="*/ 2147483647 h 345"/>
                  <a:gd name="T48" fmla="*/ 2147483647 w 373"/>
                  <a:gd name="T49" fmla="*/ 2147483647 h 345"/>
                  <a:gd name="T50" fmla="*/ 2147483647 w 373"/>
                  <a:gd name="T51" fmla="*/ 2147483647 h 345"/>
                  <a:gd name="T52" fmla="*/ 2147483647 w 373"/>
                  <a:gd name="T53" fmla="*/ 2147483647 h 345"/>
                  <a:gd name="T54" fmla="*/ 2147483647 w 373"/>
                  <a:gd name="T55" fmla="*/ 2147483647 h 345"/>
                  <a:gd name="T56" fmla="*/ 2147483647 w 373"/>
                  <a:gd name="T57" fmla="*/ 2147483647 h 345"/>
                  <a:gd name="T58" fmla="*/ 2147483647 w 373"/>
                  <a:gd name="T59" fmla="*/ 2147483647 h 345"/>
                  <a:gd name="T60" fmla="*/ 2147483647 w 373"/>
                  <a:gd name="T61" fmla="*/ 2147483647 h 345"/>
                  <a:gd name="T62" fmla="*/ 2147483647 w 373"/>
                  <a:gd name="T63" fmla="*/ 2147483647 h 345"/>
                  <a:gd name="T64" fmla="*/ 2147483647 w 373"/>
                  <a:gd name="T65" fmla="*/ 2147483647 h 345"/>
                  <a:gd name="T66" fmla="*/ 2147483647 w 373"/>
                  <a:gd name="T67" fmla="*/ 2147483647 h 345"/>
                  <a:gd name="T68" fmla="*/ 2147483647 w 373"/>
                  <a:gd name="T69" fmla="*/ 2147483647 h 345"/>
                  <a:gd name="T70" fmla="*/ 2147483647 w 373"/>
                  <a:gd name="T71" fmla="*/ 2147483647 h 345"/>
                  <a:gd name="T72" fmla="*/ 2147483647 w 373"/>
                  <a:gd name="T73" fmla="*/ 2147483647 h 345"/>
                  <a:gd name="T74" fmla="*/ 2147483647 w 373"/>
                  <a:gd name="T75" fmla="*/ 2147483647 h 345"/>
                  <a:gd name="T76" fmla="*/ 2147483647 w 373"/>
                  <a:gd name="T77" fmla="*/ 2147483647 h 345"/>
                  <a:gd name="T78" fmla="*/ 2147483647 w 373"/>
                  <a:gd name="T79" fmla="*/ 2147483647 h 345"/>
                  <a:gd name="T80" fmla="*/ 2147483647 w 373"/>
                  <a:gd name="T81" fmla="*/ 2147483647 h 345"/>
                  <a:gd name="T82" fmla="*/ 2147483647 w 373"/>
                  <a:gd name="T83" fmla="*/ 2147483647 h 345"/>
                  <a:gd name="T84" fmla="*/ 2147483647 w 373"/>
                  <a:gd name="T85" fmla="*/ 2147483647 h 345"/>
                  <a:gd name="T86" fmla="*/ 2147483647 w 373"/>
                  <a:gd name="T87" fmla="*/ 2147483647 h 345"/>
                  <a:gd name="T88" fmla="*/ 2147483647 w 373"/>
                  <a:gd name="T89" fmla="*/ 2147483647 h 345"/>
                  <a:gd name="T90" fmla="*/ 2147483647 w 373"/>
                  <a:gd name="T91" fmla="*/ 2147483647 h 345"/>
                  <a:gd name="T92" fmla="*/ 2147483647 w 373"/>
                  <a:gd name="T93" fmla="*/ 2147483647 h 345"/>
                  <a:gd name="T94" fmla="*/ 2147483647 w 373"/>
                  <a:gd name="T95" fmla="*/ 2147483647 h 345"/>
                  <a:gd name="T96" fmla="*/ 2147483647 w 373"/>
                  <a:gd name="T97" fmla="*/ 2147483647 h 345"/>
                  <a:gd name="T98" fmla="*/ 2147483647 w 373"/>
                  <a:gd name="T99" fmla="*/ 2147483647 h 345"/>
                  <a:gd name="T100" fmla="*/ 2147483647 w 373"/>
                  <a:gd name="T101" fmla="*/ 2147483647 h 345"/>
                  <a:gd name="T102" fmla="*/ 2147483647 w 373"/>
                  <a:gd name="T103" fmla="*/ 2147483647 h 345"/>
                  <a:gd name="T104" fmla="*/ 2147483647 w 373"/>
                  <a:gd name="T105" fmla="*/ 2147483647 h 345"/>
                  <a:gd name="T106" fmla="*/ 2147483647 w 373"/>
                  <a:gd name="T107" fmla="*/ 2147483647 h 345"/>
                  <a:gd name="T108" fmla="*/ 2147483647 w 373"/>
                  <a:gd name="T109" fmla="*/ 2147483647 h 345"/>
                  <a:gd name="T110" fmla="*/ 2147483647 w 373"/>
                  <a:gd name="T111" fmla="*/ 2147483647 h 345"/>
                  <a:gd name="T112" fmla="*/ 2147483647 w 373"/>
                  <a:gd name="T113" fmla="*/ 2147483647 h 345"/>
                  <a:gd name="T114" fmla="*/ 2147483647 w 373"/>
                  <a:gd name="T115" fmla="*/ 2147483647 h 345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73"/>
                  <a:gd name="T175" fmla="*/ 0 h 345"/>
                  <a:gd name="T176" fmla="*/ 373 w 373"/>
                  <a:gd name="T177" fmla="*/ 345 h 345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73" h="345">
                    <a:moveTo>
                      <a:pt x="202" y="18"/>
                    </a:moveTo>
                    <a:lnTo>
                      <a:pt x="197" y="21"/>
                    </a:lnTo>
                    <a:lnTo>
                      <a:pt x="184" y="13"/>
                    </a:lnTo>
                    <a:lnTo>
                      <a:pt x="187" y="28"/>
                    </a:lnTo>
                    <a:lnTo>
                      <a:pt x="187" y="31"/>
                    </a:lnTo>
                    <a:lnTo>
                      <a:pt x="186" y="36"/>
                    </a:lnTo>
                    <a:lnTo>
                      <a:pt x="184" y="40"/>
                    </a:lnTo>
                    <a:lnTo>
                      <a:pt x="182" y="43"/>
                    </a:lnTo>
                    <a:lnTo>
                      <a:pt x="176" y="47"/>
                    </a:lnTo>
                    <a:lnTo>
                      <a:pt x="173" y="52"/>
                    </a:lnTo>
                    <a:lnTo>
                      <a:pt x="168" y="54"/>
                    </a:lnTo>
                    <a:lnTo>
                      <a:pt x="174" y="57"/>
                    </a:lnTo>
                    <a:lnTo>
                      <a:pt x="175" y="59"/>
                    </a:lnTo>
                    <a:lnTo>
                      <a:pt x="176" y="64"/>
                    </a:lnTo>
                    <a:lnTo>
                      <a:pt x="175" y="68"/>
                    </a:lnTo>
                    <a:lnTo>
                      <a:pt x="177" y="71"/>
                    </a:lnTo>
                    <a:lnTo>
                      <a:pt x="182" y="71"/>
                    </a:lnTo>
                    <a:lnTo>
                      <a:pt x="184" y="75"/>
                    </a:lnTo>
                    <a:lnTo>
                      <a:pt x="187" y="80"/>
                    </a:lnTo>
                    <a:lnTo>
                      <a:pt x="183" y="84"/>
                    </a:lnTo>
                    <a:lnTo>
                      <a:pt x="179" y="91"/>
                    </a:lnTo>
                    <a:lnTo>
                      <a:pt x="177" y="93"/>
                    </a:lnTo>
                    <a:lnTo>
                      <a:pt x="172" y="95"/>
                    </a:lnTo>
                    <a:lnTo>
                      <a:pt x="165" y="96"/>
                    </a:lnTo>
                    <a:lnTo>
                      <a:pt x="161" y="99"/>
                    </a:lnTo>
                    <a:lnTo>
                      <a:pt x="157" y="104"/>
                    </a:lnTo>
                    <a:lnTo>
                      <a:pt x="158" y="108"/>
                    </a:lnTo>
                    <a:lnTo>
                      <a:pt x="158" y="112"/>
                    </a:lnTo>
                    <a:lnTo>
                      <a:pt x="157" y="118"/>
                    </a:lnTo>
                    <a:lnTo>
                      <a:pt x="157" y="122"/>
                    </a:lnTo>
                    <a:lnTo>
                      <a:pt x="160" y="126"/>
                    </a:lnTo>
                    <a:lnTo>
                      <a:pt x="159" y="131"/>
                    </a:lnTo>
                    <a:lnTo>
                      <a:pt x="159" y="134"/>
                    </a:lnTo>
                    <a:lnTo>
                      <a:pt x="158" y="139"/>
                    </a:lnTo>
                    <a:lnTo>
                      <a:pt x="162" y="143"/>
                    </a:lnTo>
                    <a:lnTo>
                      <a:pt x="167" y="142"/>
                    </a:lnTo>
                    <a:lnTo>
                      <a:pt x="171" y="145"/>
                    </a:lnTo>
                    <a:lnTo>
                      <a:pt x="172" y="148"/>
                    </a:lnTo>
                    <a:lnTo>
                      <a:pt x="166" y="150"/>
                    </a:lnTo>
                    <a:lnTo>
                      <a:pt x="159" y="151"/>
                    </a:lnTo>
                    <a:lnTo>
                      <a:pt x="152" y="152"/>
                    </a:lnTo>
                    <a:lnTo>
                      <a:pt x="148" y="153"/>
                    </a:lnTo>
                    <a:lnTo>
                      <a:pt x="143" y="153"/>
                    </a:lnTo>
                    <a:lnTo>
                      <a:pt x="139" y="154"/>
                    </a:lnTo>
                    <a:lnTo>
                      <a:pt x="133" y="155"/>
                    </a:lnTo>
                    <a:lnTo>
                      <a:pt x="126" y="156"/>
                    </a:lnTo>
                    <a:lnTo>
                      <a:pt x="122" y="156"/>
                    </a:lnTo>
                    <a:lnTo>
                      <a:pt x="117" y="157"/>
                    </a:lnTo>
                    <a:lnTo>
                      <a:pt x="112" y="156"/>
                    </a:lnTo>
                    <a:lnTo>
                      <a:pt x="107" y="156"/>
                    </a:lnTo>
                    <a:lnTo>
                      <a:pt x="103" y="157"/>
                    </a:lnTo>
                    <a:lnTo>
                      <a:pt x="93" y="161"/>
                    </a:lnTo>
                    <a:lnTo>
                      <a:pt x="88" y="160"/>
                    </a:lnTo>
                    <a:lnTo>
                      <a:pt x="81" y="158"/>
                    </a:lnTo>
                    <a:lnTo>
                      <a:pt x="78" y="157"/>
                    </a:lnTo>
                    <a:lnTo>
                      <a:pt x="80" y="152"/>
                    </a:lnTo>
                    <a:lnTo>
                      <a:pt x="75" y="153"/>
                    </a:lnTo>
                    <a:lnTo>
                      <a:pt x="71" y="153"/>
                    </a:lnTo>
                    <a:lnTo>
                      <a:pt x="66" y="154"/>
                    </a:lnTo>
                    <a:lnTo>
                      <a:pt x="66" y="159"/>
                    </a:lnTo>
                    <a:lnTo>
                      <a:pt x="62" y="156"/>
                    </a:lnTo>
                    <a:lnTo>
                      <a:pt x="58" y="160"/>
                    </a:lnTo>
                    <a:lnTo>
                      <a:pt x="54" y="162"/>
                    </a:lnTo>
                    <a:lnTo>
                      <a:pt x="54" y="165"/>
                    </a:lnTo>
                    <a:lnTo>
                      <a:pt x="54" y="171"/>
                    </a:lnTo>
                    <a:lnTo>
                      <a:pt x="54" y="174"/>
                    </a:lnTo>
                    <a:lnTo>
                      <a:pt x="52" y="179"/>
                    </a:lnTo>
                    <a:lnTo>
                      <a:pt x="51" y="183"/>
                    </a:lnTo>
                    <a:lnTo>
                      <a:pt x="49" y="186"/>
                    </a:lnTo>
                    <a:lnTo>
                      <a:pt x="48" y="192"/>
                    </a:lnTo>
                    <a:lnTo>
                      <a:pt x="48" y="196"/>
                    </a:lnTo>
                    <a:lnTo>
                      <a:pt x="49" y="200"/>
                    </a:lnTo>
                    <a:lnTo>
                      <a:pt x="46" y="204"/>
                    </a:lnTo>
                    <a:lnTo>
                      <a:pt x="43" y="212"/>
                    </a:lnTo>
                    <a:lnTo>
                      <a:pt x="39" y="215"/>
                    </a:lnTo>
                    <a:lnTo>
                      <a:pt x="35" y="216"/>
                    </a:lnTo>
                    <a:lnTo>
                      <a:pt x="35" y="220"/>
                    </a:lnTo>
                    <a:lnTo>
                      <a:pt x="34" y="225"/>
                    </a:lnTo>
                    <a:lnTo>
                      <a:pt x="34" y="229"/>
                    </a:lnTo>
                    <a:lnTo>
                      <a:pt x="37" y="232"/>
                    </a:lnTo>
                    <a:lnTo>
                      <a:pt x="38" y="237"/>
                    </a:lnTo>
                    <a:lnTo>
                      <a:pt x="36" y="241"/>
                    </a:lnTo>
                    <a:lnTo>
                      <a:pt x="34" y="246"/>
                    </a:lnTo>
                    <a:lnTo>
                      <a:pt x="30" y="248"/>
                    </a:lnTo>
                    <a:lnTo>
                      <a:pt x="25" y="250"/>
                    </a:lnTo>
                    <a:lnTo>
                      <a:pt x="22" y="253"/>
                    </a:lnTo>
                    <a:lnTo>
                      <a:pt x="15" y="257"/>
                    </a:lnTo>
                    <a:lnTo>
                      <a:pt x="11" y="259"/>
                    </a:lnTo>
                    <a:lnTo>
                      <a:pt x="7" y="262"/>
                    </a:lnTo>
                    <a:lnTo>
                      <a:pt x="3" y="268"/>
                    </a:lnTo>
                    <a:lnTo>
                      <a:pt x="1" y="273"/>
                    </a:lnTo>
                    <a:lnTo>
                      <a:pt x="2" y="277"/>
                    </a:lnTo>
                    <a:lnTo>
                      <a:pt x="0" y="281"/>
                    </a:lnTo>
                    <a:lnTo>
                      <a:pt x="3" y="285"/>
                    </a:lnTo>
                    <a:lnTo>
                      <a:pt x="8" y="289"/>
                    </a:lnTo>
                    <a:lnTo>
                      <a:pt x="11" y="292"/>
                    </a:lnTo>
                    <a:lnTo>
                      <a:pt x="16" y="294"/>
                    </a:lnTo>
                    <a:lnTo>
                      <a:pt x="20" y="293"/>
                    </a:lnTo>
                    <a:lnTo>
                      <a:pt x="22" y="297"/>
                    </a:lnTo>
                    <a:lnTo>
                      <a:pt x="23" y="301"/>
                    </a:lnTo>
                    <a:lnTo>
                      <a:pt x="28" y="302"/>
                    </a:lnTo>
                    <a:lnTo>
                      <a:pt x="32" y="304"/>
                    </a:lnTo>
                    <a:lnTo>
                      <a:pt x="38" y="306"/>
                    </a:lnTo>
                    <a:lnTo>
                      <a:pt x="42" y="307"/>
                    </a:lnTo>
                    <a:lnTo>
                      <a:pt x="47" y="309"/>
                    </a:lnTo>
                    <a:lnTo>
                      <a:pt x="51" y="308"/>
                    </a:lnTo>
                    <a:lnTo>
                      <a:pt x="56" y="308"/>
                    </a:lnTo>
                    <a:lnTo>
                      <a:pt x="61" y="310"/>
                    </a:lnTo>
                    <a:lnTo>
                      <a:pt x="66" y="312"/>
                    </a:lnTo>
                    <a:lnTo>
                      <a:pt x="68" y="316"/>
                    </a:lnTo>
                    <a:lnTo>
                      <a:pt x="67" y="320"/>
                    </a:lnTo>
                    <a:lnTo>
                      <a:pt x="71" y="322"/>
                    </a:lnTo>
                    <a:lnTo>
                      <a:pt x="77" y="321"/>
                    </a:lnTo>
                    <a:lnTo>
                      <a:pt x="82" y="322"/>
                    </a:lnTo>
                    <a:lnTo>
                      <a:pt x="87" y="324"/>
                    </a:lnTo>
                    <a:lnTo>
                      <a:pt x="92" y="323"/>
                    </a:lnTo>
                    <a:lnTo>
                      <a:pt x="87" y="327"/>
                    </a:lnTo>
                    <a:lnTo>
                      <a:pt x="83" y="329"/>
                    </a:lnTo>
                    <a:lnTo>
                      <a:pt x="78" y="331"/>
                    </a:lnTo>
                    <a:lnTo>
                      <a:pt x="84" y="332"/>
                    </a:lnTo>
                    <a:lnTo>
                      <a:pt x="86" y="337"/>
                    </a:lnTo>
                    <a:lnTo>
                      <a:pt x="87" y="341"/>
                    </a:lnTo>
                    <a:lnTo>
                      <a:pt x="91" y="340"/>
                    </a:lnTo>
                    <a:lnTo>
                      <a:pt x="94" y="344"/>
                    </a:lnTo>
                    <a:lnTo>
                      <a:pt x="99" y="345"/>
                    </a:lnTo>
                    <a:lnTo>
                      <a:pt x="104" y="344"/>
                    </a:lnTo>
                    <a:lnTo>
                      <a:pt x="107" y="342"/>
                    </a:lnTo>
                    <a:lnTo>
                      <a:pt x="112" y="343"/>
                    </a:lnTo>
                    <a:lnTo>
                      <a:pt x="116" y="343"/>
                    </a:lnTo>
                    <a:lnTo>
                      <a:pt x="118" y="338"/>
                    </a:lnTo>
                    <a:lnTo>
                      <a:pt x="120" y="334"/>
                    </a:lnTo>
                    <a:lnTo>
                      <a:pt x="124" y="332"/>
                    </a:lnTo>
                    <a:lnTo>
                      <a:pt x="129" y="331"/>
                    </a:lnTo>
                    <a:lnTo>
                      <a:pt x="130" y="326"/>
                    </a:lnTo>
                    <a:lnTo>
                      <a:pt x="128" y="323"/>
                    </a:lnTo>
                    <a:lnTo>
                      <a:pt x="127" y="318"/>
                    </a:lnTo>
                    <a:lnTo>
                      <a:pt x="124" y="315"/>
                    </a:lnTo>
                    <a:lnTo>
                      <a:pt x="121" y="311"/>
                    </a:lnTo>
                    <a:lnTo>
                      <a:pt x="121" y="307"/>
                    </a:lnTo>
                    <a:lnTo>
                      <a:pt x="126" y="306"/>
                    </a:lnTo>
                    <a:lnTo>
                      <a:pt x="130" y="306"/>
                    </a:lnTo>
                    <a:lnTo>
                      <a:pt x="135" y="305"/>
                    </a:lnTo>
                    <a:lnTo>
                      <a:pt x="139" y="304"/>
                    </a:lnTo>
                    <a:lnTo>
                      <a:pt x="142" y="308"/>
                    </a:lnTo>
                    <a:lnTo>
                      <a:pt x="148" y="309"/>
                    </a:lnTo>
                    <a:lnTo>
                      <a:pt x="153" y="309"/>
                    </a:lnTo>
                    <a:lnTo>
                      <a:pt x="160" y="308"/>
                    </a:lnTo>
                    <a:lnTo>
                      <a:pt x="164" y="305"/>
                    </a:lnTo>
                    <a:lnTo>
                      <a:pt x="169" y="304"/>
                    </a:lnTo>
                    <a:lnTo>
                      <a:pt x="170" y="300"/>
                    </a:lnTo>
                    <a:lnTo>
                      <a:pt x="165" y="296"/>
                    </a:lnTo>
                    <a:lnTo>
                      <a:pt x="164" y="293"/>
                    </a:lnTo>
                    <a:lnTo>
                      <a:pt x="169" y="290"/>
                    </a:lnTo>
                    <a:lnTo>
                      <a:pt x="173" y="288"/>
                    </a:lnTo>
                    <a:lnTo>
                      <a:pt x="177" y="284"/>
                    </a:lnTo>
                    <a:lnTo>
                      <a:pt x="179" y="280"/>
                    </a:lnTo>
                    <a:lnTo>
                      <a:pt x="183" y="278"/>
                    </a:lnTo>
                    <a:lnTo>
                      <a:pt x="189" y="272"/>
                    </a:lnTo>
                    <a:lnTo>
                      <a:pt x="193" y="270"/>
                    </a:lnTo>
                    <a:lnTo>
                      <a:pt x="197" y="267"/>
                    </a:lnTo>
                    <a:lnTo>
                      <a:pt x="201" y="271"/>
                    </a:lnTo>
                    <a:lnTo>
                      <a:pt x="201" y="276"/>
                    </a:lnTo>
                    <a:lnTo>
                      <a:pt x="204" y="275"/>
                    </a:lnTo>
                    <a:lnTo>
                      <a:pt x="209" y="276"/>
                    </a:lnTo>
                    <a:lnTo>
                      <a:pt x="213" y="274"/>
                    </a:lnTo>
                    <a:lnTo>
                      <a:pt x="218" y="274"/>
                    </a:lnTo>
                    <a:lnTo>
                      <a:pt x="222" y="273"/>
                    </a:lnTo>
                    <a:lnTo>
                      <a:pt x="226" y="267"/>
                    </a:lnTo>
                    <a:lnTo>
                      <a:pt x="226" y="263"/>
                    </a:lnTo>
                    <a:lnTo>
                      <a:pt x="222" y="260"/>
                    </a:lnTo>
                    <a:lnTo>
                      <a:pt x="222" y="256"/>
                    </a:lnTo>
                    <a:lnTo>
                      <a:pt x="224" y="251"/>
                    </a:lnTo>
                    <a:lnTo>
                      <a:pt x="228" y="248"/>
                    </a:lnTo>
                    <a:lnTo>
                      <a:pt x="233" y="246"/>
                    </a:lnTo>
                    <a:lnTo>
                      <a:pt x="236" y="244"/>
                    </a:lnTo>
                    <a:lnTo>
                      <a:pt x="241" y="243"/>
                    </a:lnTo>
                    <a:lnTo>
                      <a:pt x="245" y="243"/>
                    </a:lnTo>
                    <a:lnTo>
                      <a:pt x="250" y="242"/>
                    </a:lnTo>
                    <a:lnTo>
                      <a:pt x="254" y="239"/>
                    </a:lnTo>
                    <a:lnTo>
                      <a:pt x="258" y="236"/>
                    </a:lnTo>
                    <a:lnTo>
                      <a:pt x="262" y="233"/>
                    </a:lnTo>
                    <a:lnTo>
                      <a:pt x="267" y="231"/>
                    </a:lnTo>
                    <a:lnTo>
                      <a:pt x="271" y="230"/>
                    </a:lnTo>
                    <a:lnTo>
                      <a:pt x="275" y="228"/>
                    </a:lnTo>
                    <a:lnTo>
                      <a:pt x="279" y="225"/>
                    </a:lnTo>
                    <a:lnTo>
                      <a:pt x="279" y="221"/>
                    </a:lnTo>
                    <a:lnTo>
                      <a:pt x="276" y="216"/>
                    </a:lnTo>
                    <a:lnTo>
                      <a:pt x="272" y="217"/>
                    </a:lnTo>
                    <a:lnTo>
                      <a:pt x="269" y="214"/>
                    </a:lnTo>
                    <a:lnTo>
                      <a:pt x="268" y="207"/>
                    </a:lnTo>
                    <a:lnTo>
                      <a:pt x="267" y="204"/>
                    </a:lnTo>
                    <a:lnTo>
                      <a:pt x="272" y="201"/>
                    </a:lnTo>
                    <a:lnTo>
                      <a:pt x="276" y="198"/>
                    </a:lnTo>
                    <a:lnTo>
                      <a:pt x="280" y="196"/>
                    </a:lnTo>
                    <a:lnTo>
                      <a:pt x="282" y="191"/>
                    </a:lnTo>
                    <a:lnTo>
                      <a:pt x="279" y="188"/>
                    </a:lnTo>
                    <a:lnTo>
                      <a:pt x="277" y="183"/>
                    </a:lnTo>
                    <a:lnTo>
                      <a:pt x="271" y="181"/>
                    </a:lnTo>
                    <a:lnTo>
                      <a:pt x="271" y="177"/>
                    </a:lnTo>
                    <a:lnTo>
                      <a:pt x="270" y="172"/>
                    </a:lnTo>
                    <a:lnTo>
                      <a:pt x="270" y="169"/>
                    </a:lnTo>
                    <a:lnTo>
                      <a:pt x="267" y="164"/>
                    </a:lnTo>
                    <a:lnTo>
                      <a:pt x="262" y="163"/>
                    </a:lnTo>
                    <a:lnTo>
                      <a:pt x="259" y="158"/>
                    </a:lnTo>
                    <a:lnTo>
                      <a:pt x="264" y="154"/>
                    </a:lnTo>
                    <a:lnTo>
                      <a:pt x="268" y="154"/>
                    </a:lnTo>
                    <a:lnTo>
                      <a:pt x="273" y="153"/>
                    </a:lnTo>
                    <a:lnTo>
                      <a:pt x="277" y="153"/>
                    </a:lnTo>
                    <a:lnTo>
                      <a:pt x="281" y="150"/>
                    </a:lnTo>
                    <a:lnTo>
                      <a:pt x="285" y="148"/>
                    </a:lnTo>
                    <a:lnTo>
                      <a:pt x="289" y="144"/>
                    </a:lnTo>
                    <a:lnTo>
                      <a:pt x="293" y="141"/>
                    </a:lnTo>
                    <a:lnTo>
                      <a:pt x="298" y="140"/>
                    </a:lnTo>
                    <a:lnTo>
                      <a:pt x="302" y="139"/>
                    </a:lnTo>
                    <a:lnTo>
                      <a:pt x="303" y="134"/>
                    </a:lnTo>
                    <a:lnTo>
                      <a:pt x="308" y="133"/>
                    </a:lnTo>
                    <a:lnTo>
                      <a:pt x="313" y="131"/>
                    </a:lnTo>
                    <a:lnTo>
                      <a:pt x="316" y="126"/>
                    </a:lnTo>
                    <a:lnTo>
                      <a:pt x="319" y="125"/>
                    </a:lnTo>
                    <a:lnTo>
                      <a:pt x="323" y="119"/>
                    </a:lnTo>
                    <a:lnTo>
                      <a:pt x="327" y="114"/>
                    </a:lnTo>
                    <a:lnTo>
                      <a:pt x="331" y="111"/>
                    </a:lnTo>
                    <a:lnTo>
                      <a:pt x="331" y="108"/>
                    </a:lnTo>
                    <a:lnTo>
                      <a:pt x="335" y="106"/>
                    </a:lnTo>
                    <a:lnTo>
                      <a:pt x="337" y="100"/>
                    </a:lnTo>
                    <a:lnTo>
                      <a:pt x="341" y="97"/>
                    </a:lnTo>
                    <a:lnTo>
                      <a:pt x="343" y="91"/>
                    </a:lnTo>
                    <a:lnTo>
                      <a:pt x="344" y="87"/>
                    </a:lnTo>
                    <a:lnTo>
                      <a:pt x="346" y="83"/>
                    </a:lnTo>
                    <a:lnTo>
                      <a:pt x="350" y="80"/>
                    </a:lnTo>
                    <a:lnTo>
                      <a:pt x="350" y="76"/>
                    </a:lnTo>
                    <a:lnTo>
                      <a:pt x="354" y="73"/>
                    </a:lnTo>
                    <a:lnTo>
                      <a:pt x="355" y="69"/>
                    </a:lnTo>
                    <a:lnTo>
                      <a:pt x="357" y="64"/>
                    </a:lnTo>
                    <a:lnTo>
                      <a:pt x="359" y="60"/>
                    </a:lnTo>
                    <a:lnTo>
                      <a:pt x="358" y="57"/>
                    </a:lnTo>
                    <a:lnTo>
                      <a:pt x="356" y="52"/>
                    </a:lnTo>
                    <a:lnTo>
                      <a:pt x="360" y="50"/>
                    </a:lnTo>
                    <a:lnTo>
                      <a:pt x="364" y="49"/>
                    </a:lnTo>
                    <a:lnTo>
                      <a:pt x="368" y="46"/>
                    </a:lnTo>
                    <a:lnTo>
                      <a:pt x="370" y="42"/>
                    </a:lnTo>
                    <a:lnTo>
                      <a:pt x="372" y="38"/>
                    </a:lnTo>
                    <a:lnTo>
                      <a:pt x="373" y="33"/>
                    </a:lnTo>
                    <a:lnTo>
                      <a:pt x="373" y="30"/>
                    </a:lnTo>
                    <a:lnTo>
                      <a:pt x="368" y="27"/>
                    </a:lnTo>
                    <a:lnTo>
                      <a:pt x="364" y="31"/>
                    </a:lnTo>
                    <a:lnTo>
                      <a:pt x="359" y="33"/>
                    </a:lnTo>
                    <a:lnTo>
                      <a:pt x="356" y="35"/>
                    </a:lnTo>
                    <a:lnTo>
                      <a:pt x="350" y="34"/>
                    </a:lnTo>
                    <a:lnTo>
                      <a:pt x="348" y="30"/>
                    </a:lnTo>
                    <a:lnTo>
                      <a:pt x="344" y="31"/>
                    </a:lnTo>
                    <a:lnTo>
                      <a:pt x="339" y="29"/>
                    </a:lnTo>
                    <a:lnTo>
                      <a:pt x="335" y="30"/>
                    </a:lnTo>
                    <a:lnTo>
                      <a:pt x="329" y="29"/>
                    </a:lnTo>
                    <a:lnTo>
                      <a:pt x="324" y="27"/>
                    </a:lnTo>
                    <a:lnTo>
                      <a:pt x="320" y="25"/>
                    </a:lnTo>
                    <a:lnTo>
                      <a:pt x="314" y="22"/>
                    </a:lnTo>
                    <a:lnTo>
                      <a:pt x="312" y="19"/>
                    </a:lnTo>
                    <a:lnTo>
                      <a:pt x="308" y="19"/>
                    </a:lnTo>
                    <a:lnTo>
                      <a:pt x="304" y="20"/>
                    </a:lnTo>
                    <a:lnTo>
                      <a:pt x="300" y="22"/>
                    </a:lnTo>
                    <a:lnTo>
                      <a:pt x="298" y="18"/>
                    </a:lnTo>
                    <a:lnTo>
                      <a:pt x="292" y="16"/>
                    </a:lnTo>
                    <a:lnTo>
                      <a:pt x="288" y="17"/>
                    </a:lnTo>
                    <a:lnTo>
                      <a:pt x="285" y="14"/>
                    </a:lnTo>
                    <a:lnTo>
                      <a:pt x="278" y="12"/>
                    </a:lnTo>
                    <a:lnTo>
                      <a:pt x="275" y="9"/>
                    </a:lnTo>
                    <a:lnTo>
                      <a:pt x="277" y="5"/>
                    </a:lnTo>
                    <a:lnTo>
                      <a:pt x="276" y="0"/>
                    </a:lnTo>
                    <a:lnTo>
                      <a:pt x="272" y="3"/>
                    </a:lnTo>
                    <a:lnTo>
                      <a:pt x="268" y="7"/>
                    </a:lnTo>
                    <a:lnTo>
                      <a:pt x="266" y="10"/>
                    </a:lnTo>
                    <a:lnTo>
                      <a:pt x="262" y="10"/>
                    </a:lnTo>
                    <a:lnTo>
                      <a:pt x="258" y="13"/>
                    </a:lnTo>
                    <a:lnTo>
                      <a:pt x="254" y="15"/>
                    </a:lnTo>
                    <a:lnTo>
                      <a:pt x="252" y="21"/>
                    </a:lnTo>
                    <a:lnTo>
                      <a:pt x="250" y="24"/>
                    </a:lnTo>
                    <a:lnTo>
                      <a:pt x="246" y="25"/>
                    </a:lnTo>
                    <a:lnTo>
                      <a:pt x="246" y="22"/>
                    </a:lnTo>
                    <a:lnTo>
                      <a:pt x="242" y="17"/>
                    </a:lnTo>
                    <a:lnTo>
                      <a:pt x="238" y="16"/>
                    </a:lnTo>
                    <a:lnTo>
                      <a:pt x="233" y="16"/>
                    </a:lnTo>
                    <a:lnTo>
                      <a:pt x="229" y="17"/>
                    </a:lnTo>
                    <a:lnTo>
                      <a:pt x="224" y="19"/>
                    </a:lnTo>
                    <a:lnTo>
                      <a:pt x="221" y="25"/>
                    </a:lnTo>
                    <a:lnTo>
                      <a:pt x="216" y="26"/>
                    </a:lnTo>
                    <a:lnTo>
                      <a:pt x="215" y="21"/>
                    </a:lnTo>
                    <a:lnTo>
                      <a:pt x="213" y="17"/>
                    </a:lnTo>
                    <a:lnTo>
                      <a:pt x="208" y="18"/>
                    </a:lnTo>
                    <a:lnTo>
                      <a:pt x="202" y="20"/>
                    </a:lnTo>
                    <a:lnTo>
                      <a:pt x="197" y="21"/>
                    </a:lnTo>
                    <a:lnTo>
                      <a:pt x="193" y="22"/>
                    </a:lnTo>
                    <a:lnTo>
                      <a:pt x="189" y="27"/>
                    </a:lnTo>
                    <a:lnTo>
                      <a:pt x="185" y="28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8" name="Freeform 37"/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369322" y="4357874"/>
                <a:ext cx="208771" cy="288706"/>
              </a:xfrm>
              <a:custGeom>
                <a:avLst/>
                <a:gdLst>
                  <a:gd name="T0" fmla="*/ 2147483647 w 170"/>
                  <a:gd name="T1" fmla="*/ 2147483647 h 241"/>
                  <a:gd name="T2" fmla="*/ 2147483647 w 170"/>
                  <a:gd name="T3" fmla="*/ 2147483647 h 241"/>
                  <a:gd name="T4" fmla="*/ 2147483647 w 170"/>
                  <a:gd name="T5" fmla="*/ 2147483647 h 241"/>
                  <a:gd name="T6" fmla="*/ 2147483647 w 170"/>
                  <a:gd name="T7" fmla="*/ 2147483647 h 241"/>
                  <a:gd name="T8" fmla="*/ 2147483647 w 170"/>
                  <a:gd name="T9" fmla="*/ 2147483647 h 241"/>
                  <a:gd name="T10" fmla="*/ 2147483647 w 170"/>
                  <a:gd name="T11" fmla="*/ 2147483647 h 241"/>
                  <a:gd name="T12" fmla="*/ 2147483647 w 170"/>
                  <a:gd name="T13" fmla="*/ 2147483647 h 241"/>
                  <a:gd name="T14" fmla="*/ 2147483647 w 170"/>
                  <a:gd name="T15" fmla="*/ 2147483647 h 241"/>
                  <a:gd name="T16" fmla="*/ 2147483647 w 170"/>
                  <a:gd name="T17" fmla="*/ 2147483647 h 241"/>
                  <a:gd name="T18" fmla="*/ 2147483647 w 170"/>
                  <a:gd name="T19" fmla="*/ 2147483647 h 241"/>
                  <a:gd name="T20" fmla="*/ 2147483647 w 170"/>
                  <a:gd name="T21" fmla="*/ 2147483647 h 241"/>
                  <a:gd name="T22" fmla="*/ 2147483647 w 170"/>
                  <a:gd name="T23" fmla="*/ 2147483647 h 241"/>
                  <a:gd name="T24" fmla="*/ 2147483647 w 170"/>
                  <a:gd name="T25" fmla="*/ 2147483647 h 241"/>
                  <a:gd name="T26" fmla="*/ 2147483647 w 170"/>
                  <a:gd name="T27" fmla="*/ 2147483647 h 241"/>
                  <a:gd name="T28" fmla="*/ 2147483647 w 170"/>
                  <a:gd name="T29" fmla="*/ 2147483647 h 241"/>
                  <a:gd name="T30" fmla="*/ 0 w 170"/>
                  <a:gd name="T31" fmla="*/ 2147483647 h 241"/>
                  <a:gd name="T32" fmla="*/ 2147483647 w 170"/>
                  <a:gd name="T33" fmla="*/ 2147483647 h 241"/>
                  <a:gd name="T34" fmla="*/ 2147483647 w 170"/>
                  <a:gd name="T35" fmla="*/ 2147483647 h 241"/>
                  <a:gd name="T36" fmla="*/ 2147483647 w 170"/>
                  <a:gd name="T37" fmla="*/ 2147483647 h 241"/>
                  <a:gd name="T38" fmla="*/ 2147483647 w 170"/>
                  <a:gd name="T39" fmla="*/ 2147483647 h 241"/>
                  <a:gd name="T40" fmla="*/ 2147483647 w 170"/>
                  <a:gd name="T41" fmla="*/ 2147483647 h 241"/>
                  <a:gd name="T42" fmla="*/ 2147483647 w 170"/>
                  <a:gd name="T43" fmla="*/ 2147483647 h 241"/>
                  <a:gd name="T44" fmla="*/ 2147483647 w 170"/>
                  <a:gd name="T45" fmla="*/ 2147483647 h 241"/>
                  <a:gd name="T46" fmla="*/ 2147483647 w 170"/>
                  <a:gd name="T47" fmla="*/ 2147483647 h 241"/>
                  <a:gd name="T48" fmla="*/ 2147483647 w 170"/>
                  <a:gd name="T49" fmla="*/ 2147483647 h 241"/>
                  <a:gd name="T50" fmla="*/ 2147483647 w 170"/>
                  <a:gd name="T51" fmla="*/ 2147483647 h 241"/>
                  <a:gd name="T52" fmla="*/ 2147483647 w 170"/>
                  <a:gd name="T53" fmla="*/ 2147483647 h 241"/>
                  <a:gd name="T54" fmla="*/ 2147483647 w 170"/>
                  <a:gd name="T55" fmla="*/ 2147483647 h 241"/>
                  <a:gd name="T56" fmla="*/ 2147483647 w 170"/>
                  <a:gd name="T57" fmla="*/ 2147483647 h 241"/>
                  <a:gd name="T58" fmla="*/ 2147483647 w 170"/>
                  <a:gd name="T59" fmla="*/ 2147483647 h 241"/>
                  <a:gd name="T60" fmla="*/ 2147483647 w 170"/>
                  <a:gd name="T61" fmla="*/ 2147483647 h 241"/>
                  <a:gd name="T62" fmla="*/ 2147483647 w 170"/>
                  <a:gd name="T63" fmla="*/ 2147483647 h 241"/>
                  <a:gd name="T64" fmla="*/ 2147483647 w 170"/>
                  <a:gd name="T65" fmla="*/ 2147483647 h 241"/>
                  <a:gd name="T66" fmla="*/ 2147483647 w 170"/>
                  <a:gd name="T67" fmla="*/ 2147483647 h 241"/>
                  <a:gd name="T68" fmla="*/ 2147483647 w 170"/>
                  <a:gd name="T69" fmla="*/ 2147483647 h 241"/>
                  <a:gd name="T70" fmla="*/ 2147483647 w 170"/>
                  <a:gd name="T71" fmla="*/ 2147483647 h 241"/>
                  <a:gd name="T72" fmla="*/ 2147483647 w 170"/>
                  <a:gd name="T73" fmla="*/ 2147483647 h 241"/>
                  <a:gd name="T74" fmla="*/ 2147483647 w 170"/>
                  <a:gd name="T75" fmla="*/ 2147483647 h 241"/>
                  <a:gd name="T76" fmla="*/ 2147483647 w 170"/>
                  <a:gd name="T77" fmla="*/ 2147483647 h 241"/>
                  <a:gd name="T78" fmla="*/ 2147483647 w 170"/>
                  <a:gd name="T79" fmla="*/ 2147483647 h 241"/>
                  <a:gd name="T80" fmla="*/ 2147483647 w 170"/>
                  <a:gd name="T81" fmla="*/ 2147483647 h 241"/>
                  <a:gd name="T82" fmla="*/ 2147483647 w 170"/>
                  <a:gd name="T83" fmla="*/ 2147483647 h 241"/>
                  <a:gd name="T84" fmla="*/ 2147483647 w 170"/>
                  <a:gd name="T85" fmla="*/ 2147483647 h 241"/>
                  <a:gd name="T86" fmla="*/ 2147483647 w 170"/>
                  <a:gd name="T87" fmla="*/ 2147483647 h 241"/>
                  <a:gd name="T88" fmla="*/ 2147483647 w 170"/>
                  <a:gd name="T89" fmla="*/ 2147483647 h 241"/>
                  <a:gd name="T90" fmla="*/ 2147483647 w 170"/>
                  <a:gd name="T91" fmla="*/ 2147483647 h 241"/>
                  <a:gd name="T92" fmla="*/ 2147483647 w 170"/>
                  <a:gd name="T93" fmla="*/ 2147483647 h 241"/>
                  <a:gd name="T94" fmla="*/ 2147483647 w 170"/>
                  <a:gd name="T95" fmla="*/ 2147483647 h 241"/>
                  <a:gd name="T96" fmla="*/ 2147483647 w 170"/>
                  <a:gd name="T97" fmla="*/ 2147483647 h 241"/>
                  <a:gd name="T98" fmla="*/ 2147483647 w 170"/>
                  <a:gd name="T99" fmla="*/ 2147483647 h 241"/>
                  <a:gd name="T100" fmla="*/ 2147483647 w 170"/>
                  <a:gd name="T101" fmla="*/ 2147483647 h 241"/>
                  <a:gd name="T102" fmla="*/ 2147483647 w 170"/>
                  <a:gd name="T103" fmla="*/ 2147483647 h 241"/>
                  <a:gd name="T104" fmla="*/ 2147483647 w 170"/>
                  <a:gd name="T105" fmla="*/ 2147483647 h 24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70"/>
                  <a:gd name="T160" fmla="*/ 0 h 241"/>
                  <a:gd name="T161" fmla="*/ 170 w 170"/>
                  <a:gd name="T162" fmla="*/ 241 h 24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70" h="241">
                    <a:moveTo>
                      <a:pt x="137" y="22"/>
                    </a:moveTo>
                    <a:lnTo>
                      <a:pt x="132" y="23"/>
                    </a:lnTo>
                    <a:lnTo>
                      <a:pt x="129" y="26"/>
                    </a:lnTo>
                    <a:lnTo>
                      <a:pt x="125" y="26"/>
                    </a:lnTo>
                    <a:lnTo>
                      <a:pt x="128" y="26"/>
                    </a:lnTo>
                    <a:lnTo>
                      <a:pt x="112" y="31"/>
                    </a:lnTo>
                    <a:lnTo>
                      <a:pt x="114" y="35"/>
                    </a:lnTo>
                    <a:lnTo>
                      <a:pt x="118" y="38"/>
                    </a:lnTo>
                    <a:lnTo>
                      <a:pt x="120" y="43"/>
                    </a:lnTo>
                    <a:lnTo>
                      <a:pt x="121" y="47"/>
                    </a:lnTo>
                    <a:lnTo>
                      <a:pt x="119" y="51"/>
                    </a:lnTo>
                    <a:lnTo>
                      <a:pt x="117" y="55"/>
                    </a:lnTo>
                    <a:lnTo>
                      <a:pt x="113" y="56"/>
                    </a:lnTo>
                    <a:lnTo>
                      <a:pt x="108" y="57"/>
                    </a:lnTo>
                    <a:lnTo>
                      <a:pt x="104" y="55"/>
                    </a:lnTo>
                    <a:lnTo>
                      <a:pt x="99" y="58"/>
                    </a:lnTo>
                    <a:lnTo>
                      <a:pt x="95" y="60"/>
                    </a:lnTo>
                    <a:lnTo>
                      <a:pt x="91" y="64"/>
                    </a:lnTo>
                    <a:lnTo>
                      <a:pt x="87" y="66"/>
                    </a:lnTo>
                    <a:lnTo>
                      <a:pt x="86" y="70"/>
                    </a:lnTo>
                    <a:lnTo>
                      <a:pt x="81" y="73"/>
                    </a:lnTo>
                    <a:lnTo>
                      <a:pt x="82" y="77"/>
                    </a:lnTo>
                    <a:lnTo>
                      <a:pt x="80" y="80"/>
                    </a:lnTo>
                    <a:lnTo>
                      <a:pt x="79" y="86"/>
                    </a:lnTo>
                    <a:lnTo>
                      <a:pt x="74" y="90"/>
                    </a:lnTo>
                    <a:lnTo>
                      <a:pt x="73" y="95"/>
                    </a:lnTo>
                    <a:lnTo>
                      <a:pt x="70" y="99"/>
                    </a:lnTo>
                    <a:lnTo>
                      <a:pt x="74" y="103"/>
                    </a:lnTo>
                    <a:lnTo>
                      <a:pt x="69" y="104"/>
                    </a:lnTo>
                    <a:lnTo>
                      <a:pt x="65" y="105"/>
                    </a:lnTo>
                    <a:lnTo>
                      <a:pt x="60" y="105"/>
                    </a:lnTo>
                    <a:lnTo>
                      <a:pt x="53" y="104"/>
                    </a:lnTo>
                    <a:lnTo>
                      <a:pt x="48" y="100"/>
                    </a:lnTo>
                    <a:lnTo>
                      <a:pt x="43" y="99"/>
                    </a:lnTo>
                    <a:lnTo>
                      <a:pt x="40" y="101"/>
                    </a:lnTo>
                    <a:lnTo>
                      <a:pt x="41" y="106"/>
                    </a:lnTo>
                    <a:lnTo>
                      <a:pt x="36" y="109"/>
                    </a:lnTo>
                    <a:lnTo>
                      <a:pt x="32" y="109"/>
                    </a:lnTo>
                    <a:lnTo>
                      <a:pt x="27" y="110"/>
                    </a:lnTo>
                    <a:lnTo>
                      <a:pt x="25" y="105"/>
                    </a:lnTo>
                    <a:lnTo>
                      <a:pt x="18" y="104"/>
                    </a:lnTo>
                    <a:lnTo>
                      <a:pt x="15" y="101"/>
                    </a:lnTo>
                    <a:lnTo>
                      <a:pt x="11" y="103"/>
                    </a:lnTo>
                    <a:lnTo>
                      <a:pt x="12" y="107"/>
                    </a:lnTo>
                    <a:lnTo>
                      <a:pt x="7" y="110"/>
                    </a:lnTo>
                    <a:lnTo>
                      <a:pt x="6" y="115"/>
                    </a:lnTo>
                    <a:lnTo>
                      <a:pt x="1" y="116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3" y="129"/>
                    </a:lnTo>
                    <a:lnTo>
                      <a:pt x="8" y="131"/>
                    </a:lnTo>
                    <a:lnTo>
                      <a:pt x="12" y="132"/>
                    </a:lnTo>
                    <a:lnTo>
                      <a:pt x="13" y="137"/>
                    </a:lnTo>
                    <a:lnTo>
                      <a:pt x="11" y="140"/>
                    </a:lnTo>
                    <a:lnTo>
                      <a:pt x="10" y="144"/>
                    </a:lnTo>
                    <a:lnTo>
                      <a:pt x="11" y="149"/>
                    </a:lnTo>
                    <a:lnTo>
                      <a:pt x="11" y="152"/>
                    </a:lnTo>
                    <a:lnTo>
                      <a:pt x="15" y="152"/>
                    </a:lnTo>
                    <a:lnTo>
                      <a:pt x="21" y="156"/>
                    </a:lnTo>
                    <a:lnTo>
                      <a:pt x="23" y="160"/>
                    </a:lnTo>
                    <a:lnTo>
                      <a:pt x="26" y="164"/>
                    </a:lnTo>
                    <a:lnTo>
                      <a:pt x="29" y="167"/>
                    </a:lnTo>
                    <a:lnTo>
                      <a:pt x="30" y="172"/>
                    </a:lnTo>
                    <a:lnTo>
                      <a:pt x="34" y="173"/>
                    </a:lnTo>
                    <a:lnTo>
                      <a:pt x="36" y="176"/>
                    </a:lnTo>
                    <a:lnTo>
                      <a:pt x="37" y="181"/>
                    </a:lnTo>
                    <a:lnTo>
                      <a:pt x="38" y="185"/>
                    </a:lnTo>
                    <a:lnTo>
                      <a:pt x="38" y="189"/>
                    </a:lnTo>
                    <a:lnTo>
                      <a:pt x="39" y="193"/>
                    </a:lnTo>
                    <a:lnTo>
                      <a:pt x="39" y="198"/>
                    </a:lnTo>
                    <a:lnTo>
                      <a:pt x="40" y="203"/>
                    </a:lnTo>
                    <a:lnTo>
                      <a:pt x="41" y="208"/>
                    </a:lnTo>
                    <a:lnTo>
                      <a:pt x="41" y="212"/>
                    </a:lnTo>
                    <a:lnTo>
                      <a:pt x="42" y="216"/>
                    </a:lnTo>
                    <a:lnTo>
                      <a:pt x="42" y="220"/>
                    </a:lnTo>
                    <a:lnTo>
                      <a:pt x="43" y="225"/>
                    </a:lnTo>
                    <a:lnTo>
                      <a:pt x="43" y="228"/>
                    </a:lnTo>
                    <a:lnTo>
                      <a:pt x="44" y="233"/>
                    </a:lnTo>
                    <a:lnTo>
                      <a:pt x="45" y="237"/>
                    </a:lnTo>
                    <a:lnTo>
                      <a:pt x="50" y="237"/>
                    </a:lnTo>
                    <a:lnTo>
                      <a:pt x="54" y="236"/>
                    </a:lnTo>
                    <a:lnTo>
                      <a:pt x="59" y="241"/>
                    </a:lnTo>
                    <a:lnTo>
                      <a:pt x="62" y="238"/>
                    </a:lnTo>
                    <a:lnTo>
                      <a:pt x="67" y="238"/>
                    </a:lnTo>
                    <a:lnTo>
                      <a:pt x="71" y="237"/>
                    </a:lnTo>
                    <a:lnTo>
                      <a:pt x="76" y="238"/>
                    </a:lnTo>
                    <a:lnTo>
                      <a:pt x="80" y="238"/>
                    </a:lnTo>
                    <a:lnTo>
                      <a:pt x="85" y="237"/>
                    </a:lnTo>
                    <a:lnTo>
                      <a:pt x="89" y="235"/>
                    </a:lnTo>
                    <a:lnTo>
                      <a:pt x="94" y="234"/>
                    </a:lnTo>
                    <a:lnTo>
                      <a:pt x="99" y="233"/>
                    </a:lnTo>
                    <a:lnTo>
                      <a:pt x="102" y="230"/>
                    </a:lnTo>
                    <a:lnTo>
                      <a:pt x="107" y="228"/>
                    </a:lnTo>
                    <a:lnTo>
                      <a:pt x="113" y="227"/>
                    </a:lnTo>
                    <a:lnTo>
                      <a:pt x="120" y="226"/>
                    </a:lnTo>
                    <a:lnTo>
                      <a:pt x="125" y="226"/>
                    </a:lnTo>
                    <a:lnTo>
                      <a:pt x="129" y="223"/>
                    </a:lnTo>
                    <a:lnTo>
                      <a:pt x="130" y="218"/>
                    </a:lnTo>
                    <a:lnTo>
                      <a:pt x="127" y="214"/>
                    </a:lnTo>
                    <a:lnTo>
                      <a:pt x="127" y="211"/>
                    </a:lnTo>
                    <a:lnTo>
                      <a:pt x="126" y="206"/>
                    </a:lnTo>
                    <a:lnTo>
                      <a:pt x="126" y="202"/>
                    </a:lnTo>
                    <a:lnTo>
                      <a:pt x="125" y="197"/>
                    </a:lnTo>
                    <a:lnTo>
                      <a:pt x="124" y="192"/>
                    </a:lnTo>
                    <a:lnTo>
                      <a:pt x="129" y="191"/>
                    </a:lnTo>
                    <a:lnTo>
                      <a:pt x="133" y="188"/>
                    </a:lnTo>
                    <a:lnTo>
                      <a:pt x="132" y="185"/>
                    </a:lnTo>
                    <a:lnTo>
                      <a:pt x="132" y="180"/>
                    </a:lnTo>
                    <a:lnTo>
                      <a:pt x="129" y="177"/>
                    </a:lnTo>
                    <a:lnTo>
                      <a:pt x="127" y="173"/>
                    </a:lnTo>
                    <a:lnTo>
                      <a:pt x="126" y="169"/>
                    </a:lnTo>
                    <a:lnTo>
                      <a:pt x="128" y="164"/>
                    </a:lnTo>
                    <a:lnTo>
                      <a:pt x="127" y="161"/>
                    </a:lnTo>
                    <a:lnTo>
                      <a:pt x="129" y="157"/>
                    </a:lnTo>
                    <a:lnTo>
                      <a:pt x="130" y="151"/>
                    </a:lnTo>
                    <a:lnTo>
                      <a:pt x="133" y="148"/>
                    </a:lnTo>
                    <a:lnTo>
                      <a:pt x="134" y="141"/>
                    </a:lnTo>
                    <a:lnTo>
                      <a:pt x="133" y="136"/>
                    </a:lnTo>
                    <a:lnTo>
                      <a:pt x="131" y="133"/>
                    </a:lnTo>
                    <a:lnTo>
                      <a:pt x="127" y="129"/>
                    </a:lnTo>
                    <a:lnTo>
                      <a:pt x="124" y="125"/>
                    </a:lnTo>
                    <a:lnTo>
                      <a:pt x="122" y="122"/>
                    </a:lnTo>
                    <a:lnTo>
                      <a:pt x="119" y="118"/>
                    </a:lnTo>
                    <a:lnTo>
                      <a:pt x="123" y="113"/>
                    </a:lnTo>
                    <a:lnTo>
                      <a:pt x="124" y="109"/>
                    </a:lnTo>
                    <a:lnTo>
                      <a:pt x="129" y="106"/>
                    </a:lnTo>
                    <a:lnTo>
                      <a:pt x="130" y="101"/>
                    </a:lnTo>
                    <a:lnTo>
                      <a:pt x="135" y="98"/>
                    </a:lnTo>
                    <a:lnTo>
                      <a:pt x="138" y="97"/>
                    </a:lnTo>
                    <a:lnTo>
                      <a:pt x="142" y="94"/>
                    </a:lnTo>
                    <a:lnTo>
                      <a:pt x="146" y="92"/>
                    </a:lnTo>
                    <a:lnTo>
                      <a:pt x="151" y="88"/>
                    </a:lnTo>
                    <a:lnTo>
                      <a:pt x="154" y="86"/>
                    </a:lnTo>
                    <a:lnTo>
                      <a:pt x="159" y="83"/>
                    </a:lnTo>
                    <a:lnTo>
                      <a:pt x="163" y="81"/>
                    </a:lnTo>
                    <a:lnTo>
                      <a:pt x="162" y="76"/>
                    </a:lnTo>
                    <a:lnTo>
                      <a:pt x="162" y="73"/>
                    </a:lnTo>
                    <a:lnTo>
                      <a:pt x="161" y="69"/>
                    </a:lnTo>
                    <a:lnTo>
                      <a:pt x="163" y="62"/>
                    </a:lnTo>
                    <a:lnTo>
                      <a:pt x="167" y="59"/>
                    </a:lnTo>
                    <a:lnTo>
                      <a:pt x="168" y="55"/>
                    </a:lnTo>
                    <a:lnTo>
                      <a:pt x="166" y="51"/>
                    </a:lnTo>
                    <a:lnTo>
                      <a:pt x="165" y="47"/>
                    </a:lnTo>
                    <a:lnTo>
                      <a:pt x="165" y="44"/>
                    </a:lnTo>
                    <a:lnTo>
                      <a:pt x="164" y="39"/>
                    </a:lnTo>
                    <a:lnTo>
                      <a:pt x="169" y="36"/>
                    </a:lnTo>
                    <a:lnTo>
                      <a:pt x="168" y="31"/>
                    </a:lnTo>
                    <a:lnTo>
                      <a:pt x="165" y="29"/>
                    </a:lnTo>
                    <a:lnTo>
                      <a:pt x="160" y="24"/>
                    </a:lnTo>
                    <a:lnTo>
                      <a:pt x="158" y="21"/>
                    </a:lnTo>
                    <a:lnTo>
                      <a:pt x="154" y="17"/>
                    </a:lnTo>
                    <a:lnTo>
                      <a:pt x="153" y="11"/>
                    </a:lnTo>
                    <a:lnTo>
                      <a:pt x="158" y="6"/>
                    </a:lnTo>
                    <a:lnTo>
                      <a:pt x="159" y="2"/>
                    </a:lnTo>
                    <a:lnTo>
                      <a:pt x="164" y="0"/>
                    </a:lnTo>
                    <a:lnTo>
                      <a:pt x="156" y="7"/>
                    </a:lnTo>
                    <a:lnTo>
                      <a:pt x="155" y="7"/>
                    </a:lnTo>
                    <a:lnTo>
                      <a:pt x="170" y="1"/>
                    </a:lnTo>
                    <a:lnTo>
                      <a:pt x="146" y="14"/>
                    </a:lnTo>
                    <a:lnTo>
                      <a:pt x="141" y="20"/>
                    </a:lnTo>
                    <a:lnTo>
                      <a:pt x="155" y="17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9" name="Freeform 38"/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1452382" y="4306652"/>
                <a:ext cx="127955" cy="83818"/>
              </a:xfrm>
              <a:custGeom>
                <a:avLst/>
                <a:gdLst>
                  <a:gd name="T0" fmla="*/ 2147483647 w 104"/>
                  <a:gd name="T1" fmla="*/ 2147483647 h 70"/>
                  <a:gd name="T2" fmla="*/ 2147483647 w 104"/>
                  <a:gd name="T3" fmla="*/ 2147483647 h 70"/>
                  <a:gd name="T4" fmla="*/ 0 w 104"/>
                  <a:gd name="T5" fmla="*/ 2147483647 h 70"/>
                  <a:gd name="T6" fmla="*/ 2147483647 w 104"/>
                  <a:gd name="T7" fmla="*/ 2147483647 h 70"/>
                  <a:gd name="T8" fmla="*/ 2147483647 w 104"/>
                  <a:gd name="T9" fmla="*/ 2147483647 h 70"/>
                  <a:gd name="T10" fmla="*/ 2147483647 w 104"/>
                  <a:gd name="T11" fmla="*/ 0 h 70"/>
                  <a:gd name="T12" fmla="*/ 2147483647 w 104"/>
                  <a:gd name="T13" fmla="*/ 2147483647 h 70"/>
                  <a:gd name="T14" fmla="*/ 2147483647 w 104"/>
                  <a:gd name="T15" fmla="*/ 2147483647 h 70"/>
                  <a:gd name="T16" fmla="*/ 2147483647 w 104"/>
                  <a:gd name="T17" fmla="*/ 2147483647 h 70"/>
                  <a:gd name="T18" fmla="*/ 2147483647 w 104"/>
                  <a:gd name="T19" fmla="*/ 2147483647 h 70"/>
                  <a:gd name="T20" fmla="*/ 2147483647 w 104"/>
                  <a:gd name="T21" fmla="*/ 2147483647 h 70"/>
                  <a:gd name="T22" fmla="*/ 2147483647 w 104"/>
                  <a:gd name="T23" fmla="*/ 2147483647 h 70"/>
                  <a:gd name="T24" fmla="*/ 2147483647 w 104"/>
                  <a:gd name="T25" fmla="*/ 2147483647 h 70"/>
                  <a:gd name="T26" fmla="*/ 2147483647 w 104"/>
                  <a:gd name="T27" fmla="*/ 2147483647 h 70"/>
                  <a:gd name="T28" fmla="*/ 2147483647 w 104"/>
                  <a:gd name="T29" fmla="*/ 2147483647 h 70"/>
                  <a:gd name="T30" fmla="*/ 2147483647 w 104"/>
                  <a:gd name="T31" fmla="*/ 2147483647 h 70"/>
                  <a:gd name="T32" fmla="*/ 2147483647 w 104"/>
                  <a:gd name="T33" fmla="*/ 2147483647 h 70"/>
                  <a:gd name="T34" fmla="*/ 2147483647 w 104"/>
                  <a:gd name="T35" fmla="*/ 2147483647 h 7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04"/>
                  <a:gd name="T55" fmla="*/ 0 h 70"/>
                  <a:gd name="T56" fmla="*/ 104 w 104"/>
                  <a:gd name="T57" fmla="*/ 70 h 70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04" h="70">
                    <a:moveTo>
                      <a:pt x="8" y="48"/>
                    </a:moveTo>
                    <a:lnTo>
                      <a:pt x="6" y="34"/>
                    </a:lnTo>
                    <a:lnTo>
                      <a:pt x="0" y="24"/>
                    </a:lnTo>
                    <a:lnTo>
                      <a:pt x="15" y="19"/>
                    </a:lnTo>
                    <a:lnTo>
                      <a:pt x="26" y="7"/>
                    </a:lnTo>
                    <a:lnTo>
                      <a:pt x="56" y="0"/>
                    </a:lnTo>
                    <a:lnTo>
                      <a:pt x="72" y="3"/>
                    </a:lnTo>
                    <a:lnTo>
                      <a:pt x="84" y="9"/>
                    </a:lnTo>
                    <a:lnTo>
                      <a:pt x="93" y="25"/>
                    </a:lnTo>
                    <a:lnTo>
                      <a:pt x="104" y="36"/>
                    </a:lnTo>
                    <a:lnTo>
                      <a:pt x="92" y="52"/>
                    </a:lnTo>
                    <a:lnTo>
                      <a:pt x="77" y="61"/>
                    </a:lnTo>
                    <a:lnTo>
                      <a:pt x="62" y="64"/>
                    </a:lnTo>
                    <a:lnTo>
                      <a:pt x="47" y="70"/>
                    </a:lnTo>
                    <a:lnTo>
                      <a:pt x="36" y="70"/>
                    </a:lnTo>
                    <a:lnTo>
                      <a:pt x="24" y="69"/>
                    </a:lnTo>
                    <a:lnTo>
                      <a:pt x="18" y="55"/>
                    </a:lnTo>
                    <a:lnTo>
                      <a:pt x="8" y="48"/>
                    </a:lnTo>
                    <a:close/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0" name="Freeform 39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599492" y="3345074"/>
                <a:ext cx="478151" cy="435388"/>
              </a:xfrm>
              <a:custGeom>
                <a:avLst/>
                <a:gdLst>
                  <a:gd name="T0" fmla="*/ 2147483647 w 386"/>
                  <a:gd name="T1" fmla="*/ 2147483647 h 366"/>
                  <a:gd name="T2" fmla="*/ 2147483647 w 386"/>
                  <a:gd name="T3" fmla="*/ 2147483647 h 366"/>
                  <a:gd name="T4" fmla="*/ 2147483647 w 386"/>
                  <a:gd name="T5" fmla="*/ 2147483647 h 366"/>
                  <a:gd name="T6" fmla="*/ 2147483647 w 386"/>
                  <a:gd name="T7" fmla="*/ 2147483647 h 366"/>
                  <a:gd name="T8" fmla="*/ 2147483647 w 386"/>
                  <a:gd name="T9" fmla="*/ 2147483647 h 366"/>
                  <a:gd name="T10" fmla="*/ 2147483647 w 386"/>
                  <a:gd name="T11" fmla="*/ 2147483647 h 366"/>
                  <a:gd name="T12" fmla="*/ 2147483647 w 386"/>
                  <a:gd name="T13" fmla="*/ 2147483647 h 366"/>
                  <a:gd name="T14" fmla="*/ 2147483647 w 386"/>
                  <a:gd name="T15" fmla="*/ 2147483647 h 366"/>
                  <a:gd name="T16" fmla="*/ 2147483647 w 386"/>
                  <a:gd name="T17" fmla="*/ 2147483647 h 366"/>
                  <a:gd name="T18" fmla="*/ 2147483647 w 386"/>
                  <a:gd name="T19" fmla="*/ 2147483647 h 366"/>
                  <a:gd name="T20" fmla="*/ 2147483647 w 386"/>
                  <a:gd name="T21" fmla="*/ 2147483647 h 366"/>
                  <a:gd name="T22" fmla="*/ 2147483647 w 386"/>
                  <a:gd name="T23" fmla="*/ 2147483647 h 366"/>
                  <a:gd name="T24" fmla="*/ 2147483647 w 386"/>
                  <a:gd name="T25" fmla="*/ 2147483647 h 366"/>
                  <a:gd name="T26" fmla="*/ 2147483647 w 386"/>
                  <a:gd name="T27" fmla="*/ 2147483647 h 366"/>
                  <a:gd name="T28" fmla="*/ 2147483647 w 386"/>
                  <a:gd name="T29" fmla="*/ 2147483647 h 366"/>
                  <a:gd name="T30" fmla="*/ 2147483647 w 386"/>
                  <a:gd name="T31" fmla="*/ 2147483647 h 366"/>
                  <a:gd name="T32" fmla="*/ 2147483647 w 386"/>
                  <a:gd name="T33" fmla="*/ 2147483647 h 366"/>
                  <a:gd name="T34" fmla="*/ 2147483647 w 386"/>
                  <a:gd name="T35" fmla="*/ 2147483647 h 366"/>
                  <a:gd name="T36" fmla="*/ 2147483647 w 386"/>
                  <a:gd name="T37" fmla="*/ 2147483647 h 366"/>
                  <a:gd name="T38" fmla="*/ 2147483647 w 386"/>
                  <a:gd name="T39" fmla="*/ 2147483647 h 366"/>
                  <a:gd name="T40" fmla="*/ 2147483647 w 386"/>
                  <a:gd name="T41" fmla="*/ 2147483647 h 366"/>
                  <a:gd name="T42" fmla="*/ 2147483647 w 386"/>
                  <a:gd name="T43" fmla="*/ 2147483647 h 366"/>
                  <a:gd name="T44" fmla="*/ 2147483647 w 386"/>
                  <a:gd name="T45" fmla="*/ 2147483647 h 366"/>
                  <a:gd name="T46" fmla="*/ 2147483647 w 386"/>
                  <a:gd name="T47" fmla="*/ 2147483647 h 366"/>
                  <a:gd name="T48" fmla="*/ 0 w 386"/>
                  <a:gd name="T49" fmla="*/ 2147483647 h 366"/>
                  <a:gd name="T50" fmla="*/ 2147483647 w 386"/>
                  <a:gd name="T51" fmla="*/ 2147483647 h 366"/>
                  <a:gd name="T52" fmla="*/ 2147483647 w 386"/>
                  <a:gd name="T53" fmla="*/ 2147483647 h 366"/>
                  <a:gd name="T54" fmla="*/ 2147483647 w 386"/>
                  <a:gd name="T55" fmla="*/ 2147483647 h 366"/>
                  <a:gd name="T56" fmla="*/ 2147483647 w 386"/>
                  <a:gd name="T57" fmla="*/ 2147483647 h 366"/>
                  <a:gd name="T58" fmla="*/ 2147483647 w 386"/>
                  <a:gd name="T59" fmla="*/ 2147483647 h 366"/>
                  <a:gd name="T60" fmla="*/ 2147483647 w 386"/>
                  <a:gd name="T61" fmla="*/ 2147483647 h 366"/>
                  <a:gd name="T62" fmla="*/ 2147483647 w 386"/>
                  <a:gd name="T63" fmla="*/ 2147483647 h 36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386"/>
                  <a:gd name="T97" fmla="*/ 0 h 366"/>
                  <a:gd name="T98" fmla="*/ 386 w 386"/>
                  <a:gd name="T99" fmla="*/ 366 h 36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386" h="366">
                    <a:moveTo>
                      <a:pt x="83" y="39"/>
                    </a:moveTo>
                    <a:lnTo>
                      <a:pt x="74" y="15"/>
                    </a:lnTo>
                    <a:lnTo>
                      <a:pt x="87" y="0"/>
                    </a:lnTo>
                    <a:lnTo>
                      <a:pt x="108" y="9"/>
                    </a:lnTo>
                    <a:lnTo>
                      <a:pt x="128" y="9"/>
                    </a:lnTo>
                    <a:lnTo>
                      <a:pt x="144" y="5"/>
                    </a:lnTo>
                    <a:lnTo>
                      <a:pt x="158" y="27"/>
                    </a:lnTo>
                    <a:lnTo>
                      <a:pt x="173" y="30"/>
                    </a:lnTo>
                    <a:lnTo>
                      <a:pt x="185" y="33"/>
                    </a:lnTo>
                    <a:lnTo>
                      <a:pt x="206" y="42"/>
                    </a:lnTo>
                    <a:lnTo>
                      <a:pt x="221" y="44"/>
                    </a:lnTo>
                    <a:lnTo>
                      <a:pt x="243" y="41"/>
                    </a:lnTo>
                    <a:lnTo>
                      <a:pt x="255" y="47"/>
                    </a:lnTo>
                    <a:lnTo>
                      <a:pt x="267" y="35"/>
                    </a:lnTo>
                    <a:lnTo>
                      <a:pt x="279" y="18"/>
                    </a:lnTo>
                    <a:lnTo>
                      <a:pt x="290" y="39"/>
                    </a:lnTo>
                    <a:lnTo>
                      <a:pt x="308" y="42"/>
                    </a:lnTo>
                    <a:lnTo>
                      <a:pt x="321" y="42"/>
                    </a:lnTo>
                    <a:lnTo>
                      <a:pt x="341" y="50"/>
                    </a:lnTo>
                    <a:lnTo>
                      <a:pt x="366" y="51"/>
                    </a:lnTo>
                    <a:lnTo>
                      <a:pt x="386" y="41"/>
                    </a:lnTo>
                    <a:lnTo>
                      <a:pt x="375" y="57"/>
                    </a:lnTo>
                    <a:lnTo>
                      <a:pt x="357" y="78"/>
                    </a:lnTo>
                    <a:lnTo>
                      <a:pt x="350" y="87"/>
                    </a:lnTo>
                    <a:lnTo>
                      <a:pt x="350" y="102"/>
                    </a:lnTo>
                    <a:lnTo>
                      <a:pt x="342" y="122"/>
                    </a:lnTo>
                    <a:lnTo>
                      <a:pt x="320" y="140"/>
                    </a:lnTo>
                    <a:lnTo>
                      <a:pt x="291" y="173"/>
                    </a:lnTo>
                    <a:lnTo>
                      <a:pt x="264" y="183"/>
                    </a:lnTo>
                    <a:lnTo>
                      <a:pt x="270" y="209"/>
                    </a:lnTo>
                    <a:lnTo>
                      <a:pt x="275" y="236"/>
                    </a:lnTo>
                    <a:lnTo>
                      <a:pt x="276" y="258"/>
                    </a:lnTo>
                    <a:lnTo>
                      <a:pt x="246" y="267"/>
                    </a:lnTo>
                    <a:lnTo>
                      <a:pt x="227" y="282"/>
                    </a:lnTo>
                    <a:lnTo>
                      <a:pt x="224" y="302"/>
                    </a:lnTo>
                    <a:lnTo>
                      <a:pt x="207" y="306"/>
                    </a:lnTo>
                    <a:lnTo>
                      <a:pt x="195" y="296"/>
                    </a:lnTo>
                    <a:lnTo>
                      <a:pt x="173" y="303"/>
                    </a:lnTo>
                    <a:lnTo>
                      <a:pt x="162" y="320"/>
                    </a:lnTo>
                    <a:lnTo>
                      <a:pt x="153" y="329"/>
                    </a:lnTo>
                    <a:lnTo>
                      <a:pt x="126" y="326"/>
                    </a:lnTo>
                    <a:lnTo>
                      <a:pt x="125" y="347"/>
                    </a:lnTo>
                    <a:lnTo>
                      <a:pt x="116" y="362"/>
                    </a:lnTo>
                    <a:lnTo>
                      <a:pt x="101" y="366"/>
                    </a:lnTo>
                    <a:lnTo>
                      <a:pt x="84" y="356"/>
                    </a:lnTo>
                    <a:lnTo>
                      <a:pt x="89" y="344"/>
                    </a:lnTo>
                    <a:lnTo>
                      <a:pt x="63" y="339"/>
                    </a:lnTo>
                    <a:lnTo>
                      <a:pt x="33" y="330"/>
                    </a:lnTo>
                    <a:lnTo>
                      <a:pt x="12" y="317"/>
                    </a:lnTo>
                    <a:lnTo>
                      <a:pt x="0" y="291"/>
                    </a:lnTo>
                    <a:lnTo>
                      <a:pt x="23" y="275"/>
                    </a:lnTo>
                    <a:lnTo>
                      <a:pt x="42" y="260"/>
                    </a:lnTo>
                    <a:lnTo>
                      <a:pt x="39" y="246"/>
                    </a:lnTo>
                    <a:lnTo>
                      <a:pt x="56" y="224"/>
                    </a:lnTo>
                    <a:lnTo>
                      <a:pt x="56" y="188"/>
                    </a:lnTo>
                    <a:cubicBezTo>
                      <a:pt x="68" y="170"/>
                      <a:pt x="59" y="174"/>
                      <a:pt x="80" y="174"/>
                    </a:cubicBezTo>
                    <a:lnTo>
                      <a:pt x="77" y="143"/>
                    </a:lnTo>
                    <a:lnTo>
                      <a:pt x="80" y="129"/>
                    </a:lnTo>
                    <a:lnTo>
                      <a:pt x="71" y="111"/>
                    </a:lnTo>
                    <a:lnTo>
                      <a:pt x="98" y="101"/>
                    </a:lnTo>
                    <a:lnTo>
                      <a:pt x="120" y="86"/>
                    </a:lnTo>
                    <a:lnTo>
                      <a:pt x="116" y="60"/>
                    </a:lnTo>
                    <a:lnTo>
                      <a:pt x="105" y="45"/>
                    </a:lnTo>
                    <a:lnTo>
                      <a:pt x="83" y="39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1" name="Freeform 40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1050555" y="3927143"/>
                <a:ext cx="300808" cy="311989"/>
              </a:xfrm>
              <a:custGeom>
                <a:avLst/>
                <a:gdLst>
                  <a:gd name="T0" fmla="*/ 2147483647 w 243"/>
                  <a:gd name="T1" fmla="*/ 2147483647 h 264"/>
                  <a:gd name="T2" fmla="*/ 2147483647 w 243"/>
                  <a:gd name="T3" fmla="*/ 2147483647 h 264"/>
                  <a:gd name="T4" fmla="*/ 2147483647 w 243"/>
                  <a:gd name="T5" fmla="*/ 2147483647 h 264"/>
                  <a:gd name="T6" fmla="*/ 2147483647 w 243"/>
                  <a:gd name="T7" fmla="*/ 2147483647 h 264"/>
                  <a:gd name="T8" fmla="*/ 2147483647 w 243"/>
                  <a:gd name="T9" fmla="*/ 2147483647 h 264"/>
                  <a:gd name="T10" fmla="*/ 2147483647 w 243"/>
                  <a:gd name="T11" fmla="*/ 2147483647 h 264"/>
                  <a:gd name="T12" fmla="*/ 2147483647 w 243"/>
                  <a:gd name="T13" fmla="*/ 2147483647 h 264"/>
                  <a:gd name="T14" fmla="*/ 2147483647 w 243"/>
                  <a:gd name="T15" fmla="*/ 2147483647 h 264"/>
                  <a:gd name="T16" fmla="*/ 2147483647 w 243"/>
                  <a:gd name="T17" fmla="*/ 2147483647 h 264"/>
                  <a:gd name="T18" fmla="*/ 2147483647 w 243"/>
                  <a:gd name="T19" fmla="*/ 2147483647 h 264"/>
                  <a:gd name="T20" fmla="*/ 2147483647 w 243"/>
                  <a:gd name="T21" fmla="*/ 2147483647 h 264"/>
                  <a:gd name="T22" fmla="*/ 2147483647 w 243"/>
                  <a:gd name="T23" fmla="*/ 2147483647 h 264"/>
                  <a:gd name="T24" fmla="*/ 2147483647 w 243"/>
                  <a:gd name="T25" fmla="*/ 2147483647 h 264"/>
                  <a:gd name="T26" fmla="*/ 2147483647 w 243"/>
                  <a:gd name="T27" fmla="*/ 2147483647 h 264"/>
                  <a:gd name="T28" fmla="*/ 2147483647 w 243"/>
                  <a:gd name="T29" fmla="*/ 2147483647 h 264"/>
                  <a:gd name="T30" fmla="*/ 2147483647 w 243"/>
                  <a:gd name="T31" fmla="*/ 2147483647 h 264"/>
                  <a:gd name="T32" fmla="*/ 2147483647 w 243"/>
                  <a:gd name="T33" fmla="*/ 2147483647 h 264"/>
                  <a:gd name="T34" fmla="*/ 2147483647 w 243"/>
                  <a:gd name="T35" fmla="*/ 2147483647 h 264"/>
                  <a:gd name="T36" fmla="*/ 2147483647 w 243"/>
                  <a:gd name="T37" fmla="*/ 2147483647 h 264"/>
                  <a:gd name="T38" fmla="*/ 2147483647 w 243"/>
                  <a:gd name="T39" fmla="*/ 2147483647 h 264"/>
                  <a:gd name="T40" fmla="*/ 2147483647 w 243"/>
                  <a:gd name="T41" fmla="*/ 2147483647 h 264"/>
                  <a:gd name="T42" fmla="*/ 2147483647 w 243"/>
                  <a:gd name="T43" fmla="*/ 2147483647 h 264"/>
                  <a:gd name="T44" fmla="*/ 2147483647 w 243"/>
                  <a:gd name="T45" fmla="*/ 2147483647 h 264"/>
                  <a:gd name="T46" fmla="*/ 2147483647 w 243"/>
                  <a:gd name="T47" fmla="*/ 2147483647 h 264"/>
                  <a:gd name="T48" fmla="*/ 2147483647 w 243"/>
                  <a:gd name="T49" fmla="*/ 2147483647 h 264"/>
                  <a:gd name="T50" fmla="*/ 2147483647 w 243"/>
                  <a:gd name="T51" fmla="*/ 2147483647 h 264"/>
                  <a:gd name="T52" fmla="*/ 2147483647 w 243"/>
                  <a:gd name="T53" fmla="*/ 2147483647 h 264"/>
                  <a:gd name="T54" fmla="*/ 2147483647 w 243"/>
                  <a:gd name="T55" fmla="*/ 2147483647 h 264"/>
                  <a:gd name="T56" fmla="*/ 2147483647 w 243"/>
                  <a:gd name="T57" fmla="*/ 2147483647 h 264"/>
                  <a:gd name="T58" fmla="*/ 2147483647 w 243"/>
                  <a:gd name="T59" fmla="*/ 2147483647 h 264"/>
                  <a:gd name="T60" fmla="*/ 2147483647 w 243"/>
                  <a:gd name="T61" fmla="*/ 2147483647 h 264"/>
                  <a:gd name="T62" fmla="*/ 2147483647 w 243"/>
                  <a:gd name="T63" fmla="*/ 2147483647 h 264"/>
                  <a:gd name="T64" fmla="*/ 2147483647 w 243"/>
                  <a:gd name="T65" fmla="*/ 2147483647 h 264"/>
                  <a:gd name="T66" fmla="*/ 2147483647 w 243"/>
                  <a:gd name="T67" fmla="*/ 2147483647 h 264"/>
                  <a:gd name="T68" fmla="*/ 2147483647 w 243"/>
                  <a:gd name="T69" fmla="*/ 2147483647 h 264"/>
                  <a:gd name="T70" fmla="*/ 2147483647 w 243"/>
                  <a:gd name="T71" fmla="*/ 2147483647 h 264"/>
                  <a:gd name="T72" fmla="*/ 2147483647 w 243"/>
                  <a:gd name="T73" fmla="*/ 2147483647 h 264"/>
                  <a:gd name="T74" fmla="*/ 2147483647 w 243"/>
                  <a:gd name="T75" fmla="*/ 2147483647 h 264"/>
                  <a:gd name="T76" fmla="*/ 2147483647 w 243"/>
                  <a:gd name="T77" fmla="*/ 2147483647 h 264"/>
                  <a:gd name="T78" fmla="*/ 2147483647 w 243"/>
                  <a:gd name="T79" fmla="*/ 2147483647 h 264"/>
                  <a:gd name="T80" fmla="*/ 2147483647 w 243"/>
                  <a:gd name="T81" fmla="*/ 2147483647 h 264"/>
                  <a:gd name="T82" fmla="*/ 2147483647 w 243"/>
                  <a:gd name="T83" fmla="*/ 2147483647 h 264"/>
                  <a:gd name="T84" fmla="*/ 2147483647 w 243"/>
                  <a:gd name="T85" fmla="*/ 2147483647 h 264"/>
                  <a:gd name="T86" fmla="*/ 2147483647 w 243"/>
                  <a:gd name="T87" fmla="*/ 2147483647 h 264"/>
                  <a:gd name="T88" fmla="*/ 2147483647 w 243"/>
                  <a:gd name="T89" fmla="*/ 2147483647 h 264"/>
                  <a:gd name="T90" fmla="*/ 2147483647 w 243"/>
                  <a:gd name="T91" fmla="*/ 2147483647 h 264"/>
                  <a:gd name="T92" fmla="*/ 2147483647 w 243"/>
                  <a:gd name="T93" fmla="*/ 2147483647 h 264"/>
                  <a:gd name="T94" fmla="*/ 2147483647 w 243"/>
                  <a:gd name="T95" fmla="*/ 2147483647 h 264"/>
                  <a:gd name="T96" fmla="*/ 2147483647 w 243"/>
                  <a:gd name="T97" fmla="*/ 2147483647 h 264"/>
                  <a:gd name="T98" fmla="*/ 2147483647 w 243"/>
                  <a:gd name="T99" fmla="*/ 2147483647 h 264"/>
                  <a:gd name="T100" fmla="*/ 2147483647 w 243"/>
                  <a:gd name="T101" fmla="*/ 2147483647 h 264"/>
                  <a:gd name="T102" fmla="*/ 2147483647 w 243"/>
                  <a:gd name="T103" fmla="*/ 2147483647 h 264"/>
                  <a:gd name="T104" fmla="*/ 2147483647 w 243"/>
                  <a:gd name="T105" fmla="*/ 2147483647 h 264"/>
                  <a:gd name="T106" fmla="*/ 2147483647 w 243"/>
                  <a:gd name="T107" fmla="*/ 2147483647 h 264"/>
                  <a:gd name="T108" fmla="*/ 2147483647 w 243"/>
                  <a:gd name="T109" fmla="*/ 2147483647 h 264"/>
                  <a:gd name="T110" fmla="*/ 2147483647 w 243"/>
                  <a:gd name="T111" fmla="*/ 2147483647 h 264"/>
                  <a:gd name="T112" fmla="*/ 2147483647 w 243"/>
                  <a:gd name="T113" fmla="*/ 2147483647 h 264"/>
                  <a:gd name="T114" fmla="*/ 2147483647 w 243"/>
                  <a:gd name="T115" fmla="*/ 2147483647 h 264"/>
                  <a:gd name="T116" fmla="*/ 2147483647 w 243"/>
                  <a:gd name="T117" fmla="*/ 2147483647 h 264"/>
                  <a:gd name="T118" fmla="*/ 2147483647 w 243"/>
                  <a:gd name="T119" fmla="*/ 2147483647 h 264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43"/>
                  <a:gd name="T181" fmla="*/ 0 h 264"/>
                  <a:gd name="T182" fmla="*/ 243 w 243"/>
                  <a:gd name="T183" fmla="*/ 264 h 264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43" h="264">
                    <a:moveTo>
                      <a:pt x="179" y="31"/>
                    </a:moveTo>
                    <a:lnTo>
                      <a:pt x="178" y="27"/>
                    </a:lnTo>
                    <a:lnTo>
                      <a:pt x="178" y="23"/>
                    </a:lnTo>
                    <a:lnTo>
                      <a:pt x="177" y="19"/>
                    </a:lnTo>
                    <a:lnTo>
                      <a:pt x="175" y="14"/>
                    </a:lnTo>
                    <a:lnTo>
                      <a:pt x="171" y="15"/>
                    </a:lnTo>
                    <a:lnTo>
                      <a:pt x="166" y="15"/>
                    </a:lnTo>
                    <a:lnTo>
                      <a:pt x="161" y="14"/>
                    </a:lnTo>
                    <a:lnTo>
                      <a:pt x="156" y="12"/>
                    </a:lnTo>
                    <a:lnTo>
                      <a:pt x="153" y="7"/>
                    </a:lnTo>
                    <a:lnTo>
                      <a:pt x="148" y="8"/>
                    </a:lnTo>
                    <a:lnTo>
                      <a:pt x="144" y="6"/>
                    </a:lnTo>
                    <a:lnTo>
                      <a:pt x="139" y="7"/>
                    </a:lnTo>
                    <a:lnTo>
                      <a:pt x="137" y="4"/>
                    </a:lnTo>
                    <a:lnTo>
                      <a:pt x="131" y="0"/>
                    </a:lnTo>
                    <a:lnTo>
                      <a:pt x="128" y="5"/>
                    </a:lnTo>
                    <a:lnTo>
                      <a:pt x="128" y="8"/>
                    </a:lnTo>
                    <a:lnTo>
                      <a:pt x="129" y="12"/>
                    </a:lnTo>
                    <a:lnTo>
                      <a:pt x="132" y="17"/>
                    </a:lnTo>
                    <a:lnTo>
                      <a:pt x="132" y="20"/>
                    </a:lnTo>
                    <a:lnTo>
                      <a:pt x="135" y="25"/>
                    </a:lnTo>
                    <a:lnTo>
                      <a:pt x="135" y="29"/>
                    </a:lnTo>
                    <a:lnTo>
                      <a:pt x="134" y="33"/>
                    </a:lnTo>
                    <a:lnTo>
                      <a:pt x="134" y="37"/>
                    </a:lnTo>
                    <a:lnTo>
                      <a:pt x="135" y="43"/>
                    </a:lnTo>
                    <a:lnTo>
                      <a:pt x="136" y="47"/>
                    </a:lnTo>
                    <a:lnTo>
                      <a:pt x="136" y="52"/>
                    </a:lnTo>
                    <a:lnTo>
                      <a:pt x="137" y="55"/>
                    </a:lnTo>
                    <a:lnTo>
                      <a:pt x="133" y="55"/>
                    </a:lnTo>
                    <a:lnTo>
                      <a:pt x="125" y="53"/>
                    </a:lnTo>
                    <a:lnTo>
                      <a:pt x="123" y="48"/>
                    </a:lnTo>
                    <a:lnTo>
                      <a:pt x="117" y="47"/>
                    </a:lnTo>
                    <a:lnTo>
                      <a:pt x="117" y="44"/>
                    </a:lnTo>
                    <a:lnTo>
                      <a:pt x="116" y="39"/>
                    </a:lnTo>
                    <a:lnTo>
                      <a:pt x="113" y="40"/>
                    </a:lnTo>
                    <a:lnTo>
                      <a:pt x="108" y="40"/>
                    </a:lnTo>
                    <a:lnTo>
                      <a:pt x="105" y="43"/>
                    </a:lnTo>
                    <a:lnTo>
                      <a:pt x="100" y="43"/>
                    </a:lnTo>
                    <a:lnTo>
                      <a:pt x="96" y="44"/>
                    </a:lnTo>
                    <a:lnTo>
                      <a:pt x="91" y="45"/>
                    </a:lnTo>
                    <a:lnTo>
                      <a:pt x="87" y="43"/>
                    </a:lnTo>
                    <a:lnTo>
                      <a:pt x="82" y="46"/>
                    </a:lnTo>
                    <a:lnTo>
                      <a:pt x="78" y="49"/>
                    </a:lnTo>
                    <a:lnTo>
                      <a:pt x="79" y="52"/>
                    </a:lnTo>
                    <a:lnTo>
                      <a:pt x="74" y="53"/>
                    </a:lnTo>
                    <a:lnTo>
                      <a:pt x="71" y="50"/>
                    </a:lnTo>
                    <a:lnTo>
                      <a:pt x="67" y="52"/>
                    </a:lnTo>
                    <a:lnTo>
                      <a:pt x="65" y="56"/>
                    </a:lnTo>
                    <a:lnTo>
                      <a:pt x="64" y="61"/>
                    </a:lnTo>
                    <a:lnTo>
                      <a:pt x="64" y="64"/>
                    </a:lnTo>
                    <a:lnTo>
                      <a:pt x="63" y="70"/>
                    </a:lnTo>
                    <a:lnTo>
                      <a:pt x="61" y="74"/>
                    </a:lnTo>
                    <a:lnTo>
                      <a:pt x="57" y="75"/>
                    </a:lnTo>
                    <a:lnTo>
                      <a:pt x="52" y="75"/>
                    </a:lnTo>
                    <a:lnTo>
                      <a:pt x="51" y="71"/>
                    </a:lnTo>
                    <a:lnTo>
                      <a:pt x="50" y="66"/>
                    </a:lnTo>
                    <a:lnTo>
                      <a:pt x="50" y="63"/>
                    </a:lnTo>
                    <a:lnTo>
                      <a:pt x="47" y="59"/>
                    </a:lnTo>
                    <a:lnTo>
                      <a:pt x="43" y="57"/>
                    </a:lnTo>
                    <a:lnTo>
                      <a:pt x="39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1" y="47"/>
                    </a:lnTo>
                    <a:lnTo>
                      <a:pt x="28" y="41"/>
                    </a:lnTo>
                    <a:lnTo>
                      <a:pt x="27" y="37"/>
                    </a:lnTo>
                    <a:lnTo>
                      <a:pt x="23" y="35"/>
                    </a:lnTo>
                    <a:lnTo>
                      <a:pt x="18" y="33"/>
                    </a:lnTo>
                    <a:lnTo>
                      <a:pt x="14" y="34"/>
                    </a:lnTo>
                    <a:lnTo>
                      <a:pt x="9" y="35"/>
                    </a:lnTo>
                    <a:lnTo>
                      <a:pt x="5" y="35"/>
                    </a:lnTo>
                    <a:lnTo>
                      <a:pt x="0" y="38"/>
                    </a:lnTo>
                    <a:lnTo>
                      <a:pt x="1" y="43"/>
                    </a:lnTo>
                    <a:lnTo>
                      <a:pt x="1" y="47"/>
                    </a:lnTo>
                    <a:lnTo>
                      <a:pt x="4" y="50"/>
                    </a:lnTo>
                    <a:lnTo>
                      <a:pt x="7" y="54"/>
                    </a:lnTo>
                    <a:lnTo>
                      <a:pt x="8" y="59"/>
                    </a:lnTo>
                    <a:lnTo>
                      <a:pt x="8" y="62"/>
                    </a:lnTo>
                    <a:lnTo>
                      <a:pt x="9" y="67"/>
                    </a:lnTo>
                    <a:lnTo>
                      <a:pt x="10" y="71"/>
                    </a:lnTo>
                    <a:lnTo>
                      <a:pt x="10" y="74"/>
                    </a:lnTo>
                    <a:lnTo>
                      <a:pt x="11" y="81"/>
                    </a:lnTo>
                    <a:lnTo>
                      <a:pt x="12" y="85"/>
                    </a:lnTo>
                    <a:lnTo>
                      <a:pt x="12" y="89"/>
                    </a:lnTo>
                    <a:lnTo>
                      <a:pt x="13" y="94"/>
                    </a:lnTo>
                    <a:lnTo>
                      <a:pt x="13" y="97"/>
                    </a:lnTo>
                    <a:lnTo>
                      <a:pt x="16" y="100"/>
                    </a:lnTo>
                    <a:lnTo>
                      <a:pt x="16" y="105"/>
                    </a:lnTo>
                    <a:lnTo>
                      <a:pt x="20" y="105"/>
                    </a:lnTo>
                    <a:lnTo>
                      <a:pt x="26" y="106"/>
                    </a:lnTo>
                    <a:lnTo>
                      <a:pt x="29" y="105"/>
                    </a:lnTo>
                    <a:lnTo>
                      <a:pt x="28" y="110"/>
                    </a:lnTo>
                    <a:lnTo>
                      <a:pt x="29" y="114"/>
                    </a:lnTo>
                    <a:lnTo>
                      <a:pt x="29" y="119"/>
                    </a:lnTo>
                    <a:lnTo>
                      <a:pt x="32" y="123"/>
                    </a:lnTo>
                    <a:lnTo>
                      <a:pt x="33" y="128"/>
                    </a:lnTo>
                    <a:lnTo>
                      <a:pt x="31" y="131"/>
                    </a:lnTo>
                    <a:lnTo>
                      <a:pt x="27" y="131"/>
                    </a:lnTo>
                    <a:lnTo>
                      <a:pt x="22" y="130"/>
                    </a:lnTo>
                    <a:lnTo>
                      <a:pt x="20" y="133"/>
                    </a:lnTo>
                    <a:lnTo>
                      <a:pt x="21" y="138"/>
                    </a:lnTo>
                    <a:lnTo>
                      <a:pt x="28" y="137"/>
                    </a:lnTo>
                    <a:lnTo>
                      <a:pt x="32" y="136"/>
                    </a:lnTo>
                    <a:lnTo>
                      <a:pt x="37" y="138"/>
                    </a:lnTo>
                    <a:lnTo>
                      <a:pt x="37" y="142"/>
                    </a:lnTo>
                    <a:lnTo>
                      <a:pt x="38" y="146"/>
                    </a:lnTo>
                    <a:lnTo>
                      <a:pt x="40" y="149"/>
                    </a:lnTo>
                    <a:lnTo>
                      <a:pt x="43" y="154"/>
                    </a:lnTo>
                    <a:lnTo>
                      <a:pt x="39" y="156"/>
                    </a:lnTo>
                    <a:lnTo>
                      <a:pt x="40" y="160"/>
                    </a:lnTo>
                    <a:lnTo>
                      <a:pt x="40" y="164"/>
                    </a:lnTo>
                    <a:lnTo>
                      <a:pt x="43" y="167"/>
                    </a:lnTo>
                    <a:lnTo>
                      <a:pt x="43" y="172"/>
                    </a:lnTo>
                    <a:lnTo>
                      <a:pt x="44" y="176"/>
                    </a:lnTo>
                    <a:lnTo>
                      <a:pt x="45" y="180"/>
                    </a:lnTo>
                    <a:lnTo>
                      <a:pt x="45" y="184"/>
                    </a:lnTo>
                    <a:lnTo>
                      <a:pt x="46" y="189"/>
                    </a:lnTo>
                    <a:lnTo>
                      <a:pt x="46" y="194"/>
                    </a:lnTo>
                    <a:lnTo>
                      <a:pt x="47" y="199"/>
                    </a:lnTo>
                    <a:lnTo>
                      <a:pt x="46" y="202"/>
                    </a:lnTo>
                    <a:lnTo>
                      <a:pt x="46" y="207"/>
                    </a:lnTo>
                    <a:lnTo>
                      <a:pt x="47" y="211"/>
                    </a:lnTo>
                    <a:lnTo>
                      <a:pt x="47" y="214"/>
                    </a:lnTo>
                    <a:lnTo>
                      <a:pt x="48" y="219"/>
                    </a:lnTo>
                    <a:lnTo>
                      <a:pt x="48" y="223"/>
                    </a:lnTo>
                    <a:lnTo>
                      <a:pt x="49" y="227"/>
                    </a:lnTo>
                    <a:lnTo>
                      <a:pt x="49" y="231"/>
                    </a:lnTo>
                    <a:lnTo>
                      <a:pt x="50" y="236"/>
                    </a:lnTo>
                    <a:lnTo>
                      <a:pt x="52" y="239"/>
                    </a:lnTo>
                    <a:lnTo>
                      <a:pt x="57" y="240"/>
                    </a:lnTo>
                    <a:lnTo>
                      <a:pt x="62" y="239"/>
                    </a:lnTo>
                    <a:lnTo>
                      <a:pt x="65" y="236"/>
                    </a:lnTo>
                    <a:lnTo>
                      <a:pt x="69" y="236"/>
                    </a:lnTo>
                    <a:lnTo>
                      <a:pt x="74" y="238"/>
                    </a:lnTo>
                    <a:lnTo>
                      <a:pt x="74" y="243"/>
                    </a:lnTo>
                    <a:lnTo>
                      <a:pt x="78" y="246"/>
                    </a:lnTo>
                    <a:lnTo>
                      <a:pt x="82" y="250"/>
                    </a:lnTo>
                    <a:lnTo>
                      <a:pt x="87" y="251"/>
                    </a:lnTo>
                    <a:lnTo>
                      <a:pt x="92" y="252"/>
                    </a:lnTo>
                    <a:lnTo>
                      <a:pt x="97" y="255"/>
                    </a:lnTo>
                    <a:lnTo>
                      <a:pt x="101" y="251"/>
                    </a:lnTo>
                    <a:lnTo>
                      <a:pt x="102" y="247"/>
                    </a:lnTo>
                    <a:lnTo>
                      <a:pt x="107" y="246"/>
                    </a:lnTo>
                    <a:lnTo>
                      <a:pt x="111" y="244"/>
                    </a:lnTo>
                    <a:lnTo>
                      <a:pt x="116" y="243"/>
                    </a:lnTo>
                    <a:lnTo>
                      <a:pt x="120" y="243"/>
                    </a:lnTo>
                    <a:lnTo>
                      <a:pt x="125" y="244"/>
                    </a:lnTo>
                    <a:lnTo>
                      <a:pt x="126" y="240"/>
                    </a:lnTo>
                    <a:lnTo>
                      <a:pt x="128" y="235"/>
                    </a:lnTo>
                    <a:lnTo>
                      <a:pt x="127" y="231"/>
                    </a:lnTo>
                    <a:lnTo>
                      <a:pt x="132" y="228"/>
                    </a:lnTo>
                    <a:lnTo>
                      <a:pt x="134" y="233"/>
                    </a:lnTo>
                    <a:lnTo>
                      <a:pt x="137" y="236"/>
                    </a:lnTo>
                    <a:lnTo>
                      <a:pt x="137" y="240"/>
                    </a:lnTo>
                    <a:lnTo>
                      <a:pt x="138" y="244"/>
                    </a:lnTo>
                    <a:lnTo>
                      <a:pt x="142" y="249"/>
                    </a:lnTo>
                    <a:lnTo>
                      <a:pt x="144" y="251"/>
                    </a:lnTo>
                    <a:lnTo>
                      <a:pt x="145" y="255"/>
                    </a:lnTo>
                    <a:lnTo>
                      <a:pt x="150" y="255"/>
                    </a:lnTo>
                    <a:lnTo>
                      <a:pt x="156" y="254"/>
                    </a:lnTo>
                    <a:lnTo>
                      <a:pt x="162" y="256"/>
                    </a:lnTo>
                    <a:lnTo>
                      <a:pt x="166" y="258"/>
                    </a:lnTo>
                    <a:lnTo>
                      <a:pt x="171" y="259"/>
                    </a:lnTo>
                    <a:lnTo>
                      <a:pt x="176" y="262"/>
                    </a:lnTo>
                    <a:lnTo>
                      <a:pt x="181" y="264"/>
                    </a:lnTo>
                    <a:lnTo>
                      <a:pt x="182" y="258"/>
                    </a:lnTo>
                    <a:lnTo>
                      <a:pt x="188" y="254"/>
                    </a:lnTo>
                    <a:lnTo>
                      <a:pt x="193" y="256"/>
                    </a:lnTo>
                    <a:lnTo>
                      <a:pt x="190" y="245"/>
                    </a:lnTo>
                    <a:lnTo>
                      <a:pt x="185" y="242"/>
                    </a:lnTo>
                    <a:lnTo>
                      <a:pt x="190" y="245"/>
                    </a:lnTo>
                    <a:lnTo>
                      <a:pt x="180" y="239"/>
                    </a:lnTo>
                    <a:lnTo>
                      <a:pt x="184" y="236"/>
                    </a:lnTo>
                    <a:lnTo>
                      <a:pt x="188" y="235"/>
                    </a:lnTo>
                    <a:lnTo>
                      <a:pt x="190" y="229"/>
                    </a:lnTo>
                    <a:lnTo>
                      <a:pt x="190" y="225"/>
                    </a:lnTo>
                    <a:lnTo>
                      <a:pt x="184" y="221"/>
                    </a:lnTo>
                    <a:lnTo>
                      <a:pt x="182" y="218"/>
                    </a:lnTo>
                    <a:lnTo>
                      <a:pt x="185" y="213"/>
                    </a:lnTo>
                    <a:lnTo>
                      <a:pt x="190" y="212"/>
                    </a:lnTo>
                    <a:lnTo>
                      <a:pt x="194" y="211"/>
                    </a:lnTo>
                    <a:lnTo>
                      <a:pt x="199" y="211"/>
                    </a:lnTo>
                    <a:lnTo>
                      <a:pt x="202" y="206"/>
                    </a:lnTo>
                    <a:lnTo>
                      <a:pt x="202" y="202"/>
                    </a:lnTo>
                    <a:lnTo>
                      <a:pt x="204" y="198"/>
                    </a:lnTo>
                    <a:lnTo>
                      <a:pt x="206" y="193"/>
                    </a:lnTo>
                    <a:lnTo>
                      <a:pt x="203" y="190"/>
                    </a:lnTo>
                    <a:lnTo>
                      <a:pt x="203" y="186"/>
                    </a:lnTo>
                    <a:lnTo>
                      <a:pt x="202" y="181"/>
                    </a:lnTo>
                    <a:lnTo>
                      <a:pt x="202" y="178"/>
                    </a:lnTo>
                    <a:lnTo>
                      <a:pt x="201" y="173"/>
                    </a:lnTo>
                    <a:lnTo>
                      <a:pt x="203" y="170"/>
                    </a:lnTo>
                    <a:lnTo>
                      <a:pt x="204" y="165"/>
                    </a:lnTo>
                    <a:lnTo>
                      <a:pt x="200" y="163"/>
                    </a:lnTo>
                    <a:lnTo>
                      <a:pt x="194" y="162"/>
                    </a:lnTo>
                    <a:lnTo>
                      <a:pt x="194" y="158"/>
                    </a:lnTo>
                    <a:lnTo>
                      <a:pt x="199" y="155"/>
                    </a:lnTo>
                    <a:lnTo>
                      <a:pt x="200" y="151"/>
                    </a:lnTo>
                    <a:lnTo>
                      <a:pt x="199" y="146"/>
                    </a:lnTo>
                    <a:lnTo>
                      <a:pt x="203" y="146"/>
                    </a:lnTo>
                    <a:lnTo>
                      <a:pt x="209" y="145"/>
                    </a:lnTo>
                    <a:lnTo>
                      <a:pt x="214" y="143"/>
                    </a:lnTo>
                    <a:lnTo>
                      <a:pt x="218" y="143"/>
                    </a:lnTo>
                    <a:lnTo>
                      <a:pt x="220" y="145"/>
                    </a:lnTo>
                    <a:lnTo>
                      <a:pt x="225" y="145"/>
                    </a:lnTo>
                    <a:lnTo>
                      <a:pt x="230" y="147"/>
                    </a:lnTo>
                    <a:lnTo>
                      <a:pt x="235" y="146"/>
                    </a:lnTo>
                    <a:lnTo>
                      <a:pt x="238" y="143"/>
                    </a:lnTo>
                    <a:lnTo>
                      <a:pt x="243" y="139"/>
                    </a:lnTo>
                    <a:lnTo>
                      <a:pt x="240" y="136"/>
                    </a:lnTo>
                    <a:lnTo>
                      <a:pt x="240" y="131"/>
                    </a:lnTo>
                    <a:lnTo>
                      <a:pt x="239" y="125"/>
                    </a:lnTo>
                    <a:lnTo>
                      <a:pt x="238" y="121"/>
                    </a:lnTo>
                    <a:lnTo>
                      <a:pt x="235" y="116"/>
                    </a:lnTo>
                    <a:lnTo>
                      <a:pt x="232" y="113"/>
                    </a:lnTo>
                    <a:lnTo>
                      <a:pt x="230" y="110"/>
                    </a:lnTo>
                    <a:lnTo>
                      <a:pt x="224" y="107"/>
                    </a:lnTo>
                    <a:lnTo>
                      <a:pt x="224" y="104"/>
                    </a:lnTo>
                    <a:lnTo>
                      <a:pt x="221" y="100"/>
                    </a:lnTo>
                    <a:lnTo>
                      <a:pt x="221" y="96"/>
                    </a:lnTo>
                    <a:lnTo>
                      <a:pt x="220" y="93"/>
                    </a:lnTo>
                    <a:lnTo>
                      <a:pt x="220" y="88"/>
                    </a:lnTo>
                    <a:lnTo>
                      <a:pt x="219" y="84"/>
                    </a:lnTo>
                    <a:lnTo>
                      <a:pt x="221" y="80"/>
                    </a:lnTo>
                    <a:lnTo>
                      <a:pt x="223" y="75"/>
                    </a:lnTo>
                    <a:lnTo>
                      <a:pt x="223" y="70"/>
                    </a:lnTo>
                    <a:lnTo>
                      <a:pt x="224" y="67"/>
                    </a:lnTo>
                    <a:lnTo>
                      <a:pt x="223" y="62"/>
                    </a:lnTo>
                    <a:lnTo>
                      <a:pt x="223" y="58"/>
                    </a:lnTo>
                    <a:lnTo>
                      <a:pt x="218" y="57"/>
                    </a:lnTo>
                    <a:lnTo>
                      <a:pt x="215" y="53"/>
                    </a:lnTo>
                    <a:lnTo>
                      <a:pt x="211" y="52"/>
                    </a:lnTo>
                    <a:lnTo>
                      <a:pt x="207" y="47"/>
                    </a:lnTo>
                    <a:lnTo>
                      <a:pt x="203" y="48"/>
                    </a:lnTo>
                    <a:lnTo>
                      <a:pt x="198" y="46"/>
                    </a:lnTo>
                    <a:lnTo>
                      <a:pt x="194" y="46"/>
                    </a:lnTo>
                    <a:lnTo>
                      <a:pt x="190" y="45"/>
                    </a:lnTo>
                    <a:lnTo>
                      <a:pt x="185" y="40"/>
                    </a:lnTo>
                    <a:lnTo>
                      <a:pt x="180" y="39"/>
                    </a:lnTo>
                    <a:lnTo>
                      <a:pt x="178" y="36"/>
                    </a:lnTo>
                    <a:lnTo>
                      <a:pt x="177" y="31"/>
                    </a:lnTo>
                    <a:lnTo>
                      <a:pt x="179" y="31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2" name="Freeform 41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1515237" y="3778133"/>
                <a:ext cx="424273" cy="302676"/>
              </a:xfrm>
              <a:custGeom>
                <a:avLst/>
                <a:gdLst>
                  <a:gd name="T0" fmla="*/ 2147483647 w 342"/>
                  <a:gd name="T1" fmla="*/ 2147483647 h 256"/>
                  <a:gd name="T2" fmla="*/ 2147483647 w 342"/>
                  <a:gd name="T3" fmla="*/ 2147483647 h 256"/>
                  <a:gd name="T4" fmla="*/ 2147483647 w 342"/>
                  <a:gd name="T5" fmla="*/ 2147483647 h 256"/>
                  <a:gd name="T6" fmla="*/ 2147483647 w 342"/>
                  <a:gd name="T7" fmla="*/ 2147483647 h 256"/>
                  <a:gd name="T8" fmla="*/ 2147483647 w 342"/>
                  <a:gd name="T9" fmla="*/ 2147483647 h 256"/>
                  <a:gd name="T10" fmla="*/ 2147483647 w 342"/>
                  <a:gd name="T11" fmla="*/ 2147483647 h 256"/>
                  <a:gd name="T12" fmla="*/ 2147483647 w 342"/>
                  <a:gd name="T13" fmla="*/ 2147483647 h 256"/>
                  <a:gd name="T14" fmla="*/ 2147483647 w 342"/>
                  <a:gd name="T15" fmla="*/ 2147483647 h 256"/>
                  <a:gd name="T16" fmla="*/ 2147483647 w 342"/>
                  <a:gd name="T17" fmla="*/ 2147483647 h 256"/>
                  <a:gd name="T18" fmla="*/ 2147483647 w 342"/>
                  <a:gd name="T19" fmla="*/ 2147483647 h 256"/>
                  <a:gd name="T20" fmla="*/ 2147483647 w 342"/>
                  <a:gd name="T21" fmla="*/ 2147483647 h 256"/>
                  <a:gd name="T22" fmla="*/ 2147483647 w 342"/>
                  <a:gd name="T23" fmla="*/ 2147483647 h 256"/>
                  <a:gd name="T24" fmla="*/ 2147483647 w 342"/>
                  <a:gd name="T25" fmla="*/ 2147483647 h 256"/>
                  <a:gd name="T26" fmla="*/ 2147483647 w 342"/>
                  <a:gd name="T27" fmla="*/ 2147483647 h 256"/>
                  <a:gd name="T28" fmla="*/ 2147483647 w 342"/>
                  <a:gd name="T29" fmla="*/ 2147483647 h 256"/>
                  <a:gd name="T30" fmla="*/ 2147483647 w 342"/>
                  <a:gd name="T31" fmla="*/ 2147483647 h 256"/>
                  <a:gd name="T32" fmla="*/ 2147483647 w 342"/>
                  <a:gd name="T33" fmla="*/ 2147483647 h 256"/>
                  <a:gd name="T34" fmla="*/ 2147483647 w 342"/>
                  <a:gd name="T35" fmla="*/ 2147483647 h 256"/>
                  <a:gd name="T36" fmla="*/ 2147483647 w 342"/>
                  <a:gd name="T37" fmla="*/ 2147483647 h 256"/>
                  <a:gd name="T38" fmla="*/ 2147483647 w 342"/>
                  <a:gd name="T39" fmla="*/ 2147483647 h 256"/>
                  <a:gd name="T40" fmla="*/ 2147483647 w 342"/>
                  <a:gd name="T41" fmla="*/ 2147483647 h 256"/>
                  <a:gd name="T42" fmla="*/ 2147483647 w 342"/>
                  <a:gd name="T43" fmla="*/ 2147483647 h 256"/>
                  <a:gd name="T44" fmla="*/ 2147483647 w 342"/>
                  <a:gd name="T45" fmla="*/ 2147483647 h 256"/>
                  <a:gd name="T46" fmla="*/ 2147483647 w 342"/>
                  <a:gd name="T47" fmla="*/ 2147483647 h 256"/>
                  <a:gd name="T48" fmla="*/ 2147483647 w 342"/>
                  <a:gd name="T49" fmla="*/ 2147483647 h 256"/>
                  <a:gd name="T50" fmla="*/ 2147483647 w 342"/>
                  <a:gd name="T51" fmla="*/ 2147483647 h 256"/>
                  <a:gd name="T52" fmla="*/ 2147483647 w 342"/>
                  <a:gd name="T53" fmla="*/ 2147483647 h 256"/>
                  <a:gd name="T54" fmla="*/ 2147483647 w 342"/>
                  <a:gd name="T55" fmla="*/ 2147483647 h 256"/>
                  <a:gd name="T56" fmla="*/ 2147483647 w 342"/>
                  <a:gd name="T57" fmla="*/ 2147483647 h 256"/>
                  <a:gd name="T58" fmla="*/ 2147483647 w 342"/>
                  <a:gd name="T59" fmla="*/ 2147483647 h 256"/>
                  <a:gd name="T60" fmla="*/ 2147483647 w 342"/>
                  <a:gd name="T61" fmla="*/ 2147483647 h 256"/>
                  <a:gd name="T62" fmla="*/ 2147483647 w 342"/>
                  <a:gd name="T63" fmla="*/ 2147483647 h 256"/>
                  <a:gd name="T64" fmla="*/ 2147483647 w 342"/>
                  <a:gd name="T65" fmla="*/ 2147483647 h 256"/>
                  <a:gd name="T66" fmla="*/ 2147483647 w 342"/>
                  <a:gd name="T67" fmla="*/ 2147483647 h 256"/>
                  <a:gd name="T68" fmla="*/ 2147483647 w 342"/>
                  <a:gd name="T69" fmla="*/ 2147483647 h 256"/>
                  <a:gd name="T70" fmla="*/ 2147483647 w 342"/>
                  <a:gd name="T71" fmla="*/ 2147483647 h 256"/>
                  <a:gd name="T72" fmla="*/ 2147483647 w 342"/>
                  <a:gd name="T73" fmla="*/ 2147483647 h 256"/>
                  <a:gd name="T74" fmla="*/ 2147483647 w 342"/>
                  <a:gd name="T75" fmla="*/ 2147483647 h 256"/>
                  <a:gd name="T76" fmla="*/ 2147483647 w 342"/>
                  <a:gd name="T77" fmla="*/ 2147483647 h 256"/>
                  <a:gd name="T78" fmla="*/ 2147483647 w 342"/>
                  <a:gd name="T79" fmla="*/ 2147483647 h 256"/>
                  <a:gd name="T80" fmla="*/ 2147483647 w 342"/>
                  <a:gd name="T81" fmla="*/ 2147483647 h 256"/>
                  <a:gd name="T82" fmla="*/ 2147483647 w 342"/>
                  <a:gd name="T83" fmla="*/ 2147483647 h 256"/>
                  <a:gd name="T84" fmla="*/ 2147483647 w 342"/>
                  <a:gd name="T85" fmla="*/ 2147483647 h 256"/>
                  <a:gd name="T86" fmla="*/ 2147483647 w 342"/>
                  <a:gd name="T87" fmla="*/ 2147483647 h 256"/>
                  <a:gd name="T88" fmla="*/ 2147483647 w 342"/>
                  <a:gd name="T89" fmla="*/ 2147483647 h 256"/>
                  <a:gd name="T90" fmla="*/ 2147483647 w 342"/>
                  <a:gd name="T91" fmla="*/ 2147483647 h 256"/>
                  <a:gd name="T92" fmla="*/ 2147483647 w 342"/>
                  <a:gd name="T93" fmla="*/ 2147483647 h 256"/>
                  <a:gd name="T94" fmla="*/ 2147483647 w 342"/>
                  <a:gd name="T95" fmla="*/ 2147483647 h 256"/>
                  <a:gd name="T96" fmla="*/ 2147483647 w 342"/>
                  <a:gd name="T97" fmla="*/ 2147483647 h 256"/>
                  <a:gd name="T98" fmla="*/ 2147483647 w 342"/>
                  <a:gd name="T99" fmla="*/ 2147483647 h 256"/>
                  <a:gd name="T100" fmla="*/ 2147483647 w 342"/>
                  <a:gd name="T101" fmla="*/ 2147483647 h 256"/>
                  <a:gd name="T102" fmla="*/ 2147483647 w 342"/>
                  <a:gd name="T103" fmla="*/ 2147483647 h 256"/>
                  <a:gd name="T104" fmla="*/ 2147483647 w 342"/>
                  <a:gd name="T105" fmla="*/ 2147483647 h 25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42"/>
                  <a:gd name="T160" fmla="*/ 0 h 256"/>
                  <a:gd name="T161" fmla="*/ 342 w 342"/>
                  <a:gd name="T162" fmla="*/ 256 h 25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42" h="256">
                    <a:moveTo>
                      <a:pt x="199" y="10"/>
                    </a:moveTo>
                    <a:lnTo>
                      <a:pt x="194" y="9"/>
                    </a:lnTo>
                    <a:lnTo>
                      <a:pt x="190" y="8"/>
                    </a:lnTo>
                    <a:lnTo>
                      <a:pt x="186" y="9"/>
                    </a:lnTo>
                    <a:lnTo>
                      <a:pt x="181" y="7"/>
                    </a:lnTo>
                    <a:lnTo>
                      <a:pt x="177" y="5"/>
                    </a:lnTo>
                    <a:lnTo>
                      <a:pt x="172" y="4"/>
                    </a:lnTo>
                    <a:lnTo>
                      <a:pt x="167" y="2"/>
                    </a:lnTo>
                    <a:lnTo>
                      <a:pt x="162" y="1"/>
                    </a:lnTo>
                    <a:lnTo>
                      <a:pt x="157" y="2"/>
                    </a:lnTo>
                    <a:lnTo>
                      <a:pt x="153" y="2"/>
                    </a:lnTo>
                    <a:lnTo>
                      <a:pt x="148" y="3"/>
                    </a:lnTo>
                    <a:lnTo>
                      <a:pt x="144" y="2"/>
                    </a:lnTo>
                    <a:lnTo>
                      <a:pt x="139" y="3"/>
                    </a:lnTo>
                    <a:lnTo>
                      <a:pt x="135" y="4"/>
                    </a:lnTo>
                    <a:lnTo>
                      <a:pt x="130" y="1"/>
                    </a:lnTo>
                    <a:lnTo>
                      <a:pt x="126" y="2"/>
                    </a:lnTo>
                    <a:lnTo>
                      <a:pt x="121" y="0"/>
                    </a:lnTo>
                    <a:lnTo>
                      <a:pt x="117" y="3"/>
                    </a:lnTo>
                    <a:lnTo>
                      <a:pt x="113" y="8"/>
                    </a:lnTo>
                    <a:lnTo>
                      <a:pt x="111" y="12"/>
                    </a:lnTo>
                    <a:lnTo>
                      <a:pt x="112" y="17"/>
                    </a:lnTo>
                    <a:lnTo>
                      <a:pt x="110" y="20"/>
                    </a:lnTo>
                    <a:lnTo>
                      <a:pt x="107" y="23"/>
                    </a:lnTo>
                    <a:lnTo>
                      <a:pt x="103" y="23"/>
                    </a:lnTo>
                    <a:lnTo>
                      <a:pt x="98" y="24"/>
                    </a:lnTo>
                    <a:lnTo>
                      <a:pt x="94" y="27"/>
                    </a:lnTo>
                    <a:lnTo>
                      <a:pt x="89" y="30"/>
                    </a:lnTo>
                    <a:lnTo>
                      <a:pt x="86" y="34"/>
                    </a:lnTo>
                    <a:lnTo>
                      <a:pt x="81" y="37"/>
                    </a:lnTo>
                    <a:lnTo>
                      <a:pt x="80" y="41"/>
                    </a:lnTo>
                    <a:lnTo>
                      <a:pt x="80" y="46"/>
                    </a:lnTo>
                    <a:lnTo>
                      <a:pt x="86" y="47"/>
                    </a:lnTo>
                    <a:lnTo>
                      <a:pt x="86" y="51"/>
                    </a:lnTo>
                    <a:lnTo>
                      <a:pt x="89" y="55"/>
                    </a:lnTo>
                    <a:lnTo>
                      <a:pt x="89" y="58"/>
                    </a:lnTo>
                    <a:lnTo>
                      <a:pt x="90" y="63"/>
                    </a:lnTo>
                    <a:lnTo>
                      <a:pt x="92" y="67"/>
                    </a:lnTo>
                    <a:lnTo>
                      <a:pt x="93" y="71"/>
                    </a:lnTo>
                    <a:lnTo>
                      <a:pt x="93" y="75"/>
                    </a:lnTo>
                    <a:lnTo>
                      <a:pt x="94" y="80"/>
                    </a:lnTo>
                    <a:lnTo>
                      <a:pt x="94" y="83"/>
                    </a:lnTo>
                    <a:lnTo>
                      <a:pt x="93" y="88"/>
                    </a:lnTo>
                    <a:lnTo>
                      <a:pt x="88" y="91"/>
                    </a:lnTo>
                    <a:lnTo>
                      <a:pt x="87" y="94"/>
                    </a:lnTo>
                    <a:lnTo>
                      <a:pt x="82" y="94"/>
                    </a:lnTo>
                    <a:lnTo>
                      <a:pt x="78" y="95"/>
                    </a:lnTo>
                    <a:lnTo>
                      <a:pt x="73" y="98"/>
                    </a:lnTo>
                    <a:lnTo>
                      <a:pt x="70" y="101"/>
                    </a:lnTo>
                    <a:lnTo>
                      <a:pt x="70" y="105"/>
                    </a:lnTo>
                    <a:lnTo>
                      <a:pt x="66" y="108"/>
                    </a:lnTo>
                    <a:lnTo>
                      <a:pt x="64" y="112"/>
                    </a:lnTo>
                    <a:lnTo>
                      <a:pt x="67" y="116"/>
                    </a:lnTo>
                    <a:lnTo>
                      <a:pt x="70" y="119"/>
                    </a:lnTo>
                    <a:lnTo>
                      <a:pt x="73" y="123"/>
                    </a:lnTo>
                    <a:lnTo>
                      <a:pt x="71" y="128"/>
                    </a:lnTo>
                    <a:lnTo>
                      <a:pt x="69" y="134"/>
                    </a:lnTo>
                    <a:lnTo>
                      <a:pt x="70" y="138"/>
                    </a:lnTo>
                    <a:lnTo>
                      <a:pt x="70" y="143"/>
                    </a:lnTo>
                    <a:lnTo>
                      <a:pt x="71" y="146"/>
                    </a:lnTo>
                    <a:lnTo>
                      <a:pt x="69" y="151"/>
                    </a:lnTo>
                    <a:lnTo>
                      <a:pt x="66" y="154"/>
                    </a:lnTo>
                    <a:lnTo>
                      <a:pt x="61" y="156"/>
                    </a:lnTo>
                    <a:lnTo>
                      <a:pt x="57" y="156"/>
                    </a:lnTo>
                    <a:lnTo>
                      <a:pt x="52" y="159"/>
                    </a:lnTo>
                    <a:lnTo>
                      <a:pt x="48" y="160"/>
                    </a:lnTo>
                    <a:lnTo>
                      <a:pt x="43" y="158"/>
                    </a:lnTo>
                    <a:lnTo>
                      <a:pt x="40" y="158"/>
                    </a:lnTo>
                    <a:lnTo>
                      <a:pt x="35" y="158"/>
                    </a:lnTo>
                    <a:lnTo>
                      <a:pt x="31" y="156"/>
                    </a:lnTo>
                    <a:lnTo>
                      <a:pt x="26" y="157"/>
                    </a:lnTo>
                    <a:lnTo>
                      <a:pt x="22" y="157"/>
                    </a:lnTo>
                    <a:lnTo>
                      <a:pt x="17" y="158"/>
                    </a:lnTo>
                    <a:lnTo>
                      <a:pt x="13" y="161"/>
                    </a:lnTo>
                    <a:lnTo>
                      <a:pt x="14" y="164"/>
                    </a:lnTo>
                    <a:lnTo>
                      <a:pt x="9" y="167"/>
                    </a:lnTo>
                    <a:lnTo>
                      <a:pt x="5" y="167"/>
                    </a:lnTo>
                    <a:lnTo>
                      <a:pt x="0" y="171"/>
                    </a:lnTo>
                    <a:lnTo>
                      <a:pt x="1" y="175"/>
                    </a:lnTo>
                    <a:lnTo>
                      <a:pt x="3" y="178"/>
                    </a:lnTo>
                    <a:lnTo>
                      <a:pt x="8" y="177"/>
                    </a:lnTo>
                    <a:lnTo>
                      <a:pt x="13" y="179"/>
                    </a:lnTo>
                    <a:lnTo>
                      <a:pt x="18" y="181"/>
                    </a:lnTo>
                    <a:lnTo>
                      <a:pt x="21" y="185"/>
                    </a:lnTo>
                    <a:lnTo>
                      <a:pt x="21" y="188"/>
                    </a:lnTo>
                    <a:lnTo>
                      <a:pt x="23" y="192"/>
                    </a:lnTo>
                    <a:lnTo>
                      <a:pt x="22" y="198"/>
                    </a:lnTo>
                    <a:lnTo>
                      <a:pt x="23" y="203"/>
                    </a:lnTo>
                    <a:lnTo>
                      <a:pt x="19" y="206"/>
                    </a:lnTo>
                    <a:lnTo>
                      <a:pt x="17" y="209"/>
                    </a:lnTo>
                    <a:lnTo>
                      <a:pt x="15" y="214"/>
                    </a:lnTo>
                    <a:lnTo>
                      <a:pt x="16" y="218"/>
                    </a:lnTo>
                    <a:lnTo>
                      <a:pt x="21" y="221"/>
                    </a:lnTo>
                    <a:lnTo>
                      <a:pt x="24" y="223"/>
                    </a:lnTo>
                    <a:lnTo>
                      <a:pt x="26" y="227"/>
                    </a:lnTo>
                    <a:lnTo>
                      <a:pt x="27" y="231"/>
                    </a:lnTo>
                    <a:lnTo>
                      <a:pt x="23" y="234"/>
                    </a:lnTo>
                    <a:lnTo>
                      <a:pt x="18" y="236"/>
                    </a:lnTo>
                    <a:lnTo>
                      <a:pt x="24" y="239"/>
                    </a:lnTo>
                    <a:lnTo>
                      <a:pt x="28" y="238"/>
                    </a:lnTo>
                    <a:lnTo>
                      <a:pt x="33" y="239"/>
                    </a:lnTo>
                    <a:lnTo>
                      <a:pt x="35" y="242"/>
                    </a:lnTo>
                    <a:lnTo>
                      <a:pt x="38" y="247"/>
                    </a:lnTo>
                    <a:lnTo>
                      <a:pt x="43" y="248"/>
                    </a:lnTo>
                    <a:lnTo>
                      <a:pt x="46" y="253"/>
                    </a:lnTo>
                    <a:lnTo>
                      <a:pt x="46" y="256"/>
                    </a:lnTo>
                    <a:lnTo>
                      <a:pt x="46" y="253"/>
                    </a:lnTo>
                    <a:lnTo>
                      <a:pt x="49" y="247"/>
                    </a:lnTo>
                    <a:lnTo>
                      <a:pt x="51" y="243"/>
                    </a:lnTo>
                    <a:lnTo>
                      <a:pt x="54" y="242"/>
                    </a:lnTo>
                    <a:lnTo>
                      <a:pt x="59" y="242"/>
                    </a:lnTo>
                    <a:lnTo>
                      <a:pt x="63" y="238"/>
                    </a:lnTo>
                    <a:lnTo>
                      <a:pt x="68" y="241"/>
                    </a:lnTo>
                    <a:lnTo>
                      <a:pt x="72" y="240"/>
                    </a:lnTo>
                    <a:lnTo>
                      <a:pt x="77" y="239"/>
                    </a:lnTo>
                    <a:lnTo>
                      <a:pt x="81" y="239"/>
                    </a:lnTo>
                    <a:lnTo>
                      <a:pt x="86" y="238"/>
                    </a:lnTo>
                    <a:lnTo>
                      <a:pt x="90" y="240"/>
                    </a:lnTo>
                    <a:lnTo>
                      <a:pt x="95" y="239"/>
                    </a:lnTo>
                    <a:lnTo>
                      <a:pt x="99" y="238"/>
                    </a:lnTo>
                    <a:lnTo>
                      <a:pt x="101" y="233"/>
                    </a:lnTo>
                    <a:lnTo>
                      <a:pt x="105" y="232"/>
                    </a:lnTo>
                    <a:lnTo>
                      <a:pt x="107" y="227"/>
                    </a:lnTo>
                    <a:lnTo>
                      <a:pt x="106" y="222"/>
                    </a:lnTo>
                    <a:lnTo>
                      <a:pt x="111" y="220"/>
                    </a:lnTo>
                    <a:lnTo>
                      <a:pt x="113" y="223"/>
                    </a:lnTo>
                    <a:lnTo>
                      <a:pt x="114" y="228"/>
                    </a:lnTo>
                    <a:lnTo>
                      <a:pt x="114" y="231"/>
                    </a:lnTo>
                    <a:lnTo>
                      <a:pt x="115" y="236"/>
                    </a:lnTo>
                    <a:lnTo>
                      <a:pt x="116" y="240"/>
                    </a:lnTo>
                    <a:lnTo>
                      <a:pt x="114" y="244"/>
                    </a:lnTo>
                    <a:lnTo>
                      <a:pt x="118" y="246"/>
                    </a:lnTo>
                    <a:lnTo>
                      <a:pt x="124" y="247"/>
                    </a:lnTo>
                    <a:lnTo>
                      <a:pt x="128" y="247"/>
                    </a:lnTo>
                    <a:lnTo>
                      <a:pt x="132" y="244"/>
                    </a:lnTo>
                    <a:lnTo>
                      <a:pt x="136" y="241"/>
                    </a:lnTo>
                    <a:lnTo>
                      <a:pt x="140" y="240"/>
                    </a:lnTo>
                    <a:lnTo>
                      <a:pt x="144" y="240"/>
                    </a:lnTo>
                    <a:lnTo>
                      <a:pt x="148" y="236"/>
                    </a:lnTo>
                    <a:lnTo>
                      <a:pt x="148" y="232"/>
                    </a:lnTo>
                    <a:lnTo>
                      <a:pt x="152" y="231"/>
                    </a:lnTo>
                    <a:lnTo>
                      <a:pt x="157" y="233"/>
                    </a:lnTo>
                    <a:lnTo>
                      <a:pt x="161" y="232"/>
                    </a:lnTo>
                    <a:lnTo>
                      <a:pt x="166" y="233"/>
                    </a:lnTo>
                    <a:lnTo>
                      <a:pt x="171" y="236"/>
                    </a:lnTo>
                    <a:lnTo>
                      <a:pt x="176" y="236"/>
                    </a:lnTo>
                    <a:lnTo>
                      <a:pt x="180" y="236"/>
                    </a:lnTo>
                    <a:lnTo>
                      <a:pt x="185" y="235"/>
                    </a:lnTo>
                    <a:lnTo>
                      <a:pt x="189" y="236"/>
                    </a:lnTo>
                    <a:lnTo>
                      <a:pt x="194" y="236"/>
                    </a:lnTo>
                    <a:lnTo>
                      <a:pt x="198" y="233"/>
                    </a:lnTo>
                    <a:lnTo>
                      <a:pt x="200" y="229"/>
                    </a:lnTo>
                    <a:lnTo>
                      <a:pt x="204" y="228"/>
                    </a:lnTo>
                    <a:lnTo>
                      <a:pt x="209" y="228"/>
                    </a:lnTo>
                    <a:lnTo>
                      <a:pt x="213" y="227"/>
                    </a:lnTo>
                    <a:lnTo>
                      <a:pt x="218" y="227"/>
                    </a:lnTo>
                    <a:lnTo>
                      <a:pt x="220" y="230"/>
                    </a:lnTo>
                    <a:lnTo>
                      <a:pt x="217" y="235"/>
                    </a:lnTo>
                    <a:lnTo>
                      <a:pt x="218" y="240"/>
                    </a:lnTo>
                    <a:lnTo>
                      <a:pt x="221" y="239"/>
                    </a:lnTo>
                    <a:lnTo>
                      <a:pt x="224" y="237"/>
                    </a:lnTo>
                    <a:lnTo>
                      <a:pt x="225" y="240"/>
                    </a:lnTo>
                    <a:lnTo>
                      <a:pt x="224" y="244"/>
                    </a:lnTo>
                    <a:lnTo>
                      <a:pt x="225" y="249"/>
                    </a:lnTo>
                    <a:lnTo>
                      <a:pt x="226" y="252"/>
                    </a:lnTo>
                    <a:lnTo>
                      <a:pt x="230" y="256"/>
                    </a:lnTo>
                    <a:lnTo>
                      <a:pt x="234" y="254"/>
                    </a:lnTo>
                    <a:lnTo>
                      <a:pt x="236" y="249"/>
                    </a:lnTo>
                    <a:lnTo>
                      <a:pt x="237" y="245"/>
                    </a:lnTo>
                    <a:lnTo>
                      <a:pt x="241" y="245"/>
                    </a:lnTo>
                    <a:lnTo>
                      <a:pt x="244" y="239"/>
                    </a:lnTo>
                    <a:lnTo>
                      <a:pt x="248" y="241"/>
                    </a:lnTo>
                    <a:lnTo>
                      <a:pt x="253" y="240"/>
                    </a:lnTo>
                    <a:lnTo>
                      <a:pt x="257" y="239"/>
                    </a:lnTo>
                    <a:lnTo>
                      <a:pt x="262" y="239"/>
                    </a:lnTo>
                    <a:lnTo>
                      <a:pt x="266" y="238"/>
                    </a:lnTo>
                    <a:lnTo>
                      <a:pt x="270" y="236"/>
                    </a:lnTo>
                    <a:lnTo>
                      <a:pt x="272" y="232"/>
                    </a:lnTo>
                    <a:lnTo>
                      <a:pt x="271" y="227"/>
                    </a:lnTo>
                    <a:lnTo>
                      <a:pt x="266" y="224"/>
                    </a:lnTo>
                    <a:lnTo>
                      <a:pt x="265" y="220"/>
                    </a:lnTo>
                    <a:lnTo>
                      <a:pt x="265" y="216"/>
                    </a:lnTo>
                    <a:lnTo>
                      <a:pt x="267" y="211"/>
                    </a:lnTo>
                    <a:lnTo>
                      <a:pt x="271" y="209"/>
                    </a:lnTo>
                    <a:lnTo>
                      <a:pt x="272" y="205"/>
                    </a:lnTo>
                    <a:lnTo>
                      <a:pt x="277" y="204"/>
                    </a:lnTo>
                    <a:lnTo>
                      <a:pt x="282" y="206"/>
                    </a:lnTo>
                    <a:lnTo>
                      <a:pt x="286" y="203"/>
                    </a:lnTo>
                    <a:lnTo>
                      <a:pt x="288" y="198"/>
                    </a:lnTo>
                    <a:lnTo>
                      <a:pt x="292" y="195"/>
                    </a:lnTo>
                    <a:lnTo>
                      <a:pt x="296" y="191"/>
                    </a:lnTo>
                    <a:lnTo>
                      <a:pt x="301" y="190"/>
                    </a:lnTo>
                    <a:lnTo>
                      <a:pt x="304" y="193"/>
                    </a:lnTo>
                    <a:lnTo>
                      <a:pt x="306" y="195"/>
                    </a:lnTo>
                    <a:lnTo>
                      <a:pt x="311" y="195"/>
                    </a:lnTo>
                    <a:lnTo>
                      <a:pt x="316" y="192"/>
                    </a:lnTo>
                    <a:lnTo>
                      <a:pt x="320" y="192"/>
                    </a:lnTo>
                    <a:lnTo>
                      <a:pt x="325" y="190"/>
                    </a:lnTo>
                    <a:lnTo>
                      <a:pt x="329" y="189"/>
                    </a:lnTo>
                    <a:lnTo>
                      <a:pt x="333" y="186"/>
                    </a:lnTo>
                    <a:lnTo>
                      <a:pt x="335" y="182"/>
                    </a:lnTo>
                    <a:lnTo>
                      <a:pt x="334" y="179"/>
                    </a:lnTo>
                    <a:lnTo>
                      <a:pt x="332" y="174"/>
                    </a:lnTo>
                    <a:lnTo>
                      <a:pt x="335" y="171"/>
                    </a:lnTo>
                    <a:lnTo>
                      <a:pt x="340" y="171"/>
                    </a:lnTo>
                    <a:lnTo>
                      <a:pt x="342" y="165"/>
                    </a:lnTo>
                    <a:lnTo>
                      <a:pt x="341" y="162"/>
                    </a:lnTo>
                    <a:lnTo>
                      <a:pt x="339" y="158"/>
                    </a:lnTo>
                    <a:lnTo>
                      <a:pt x="338" y="154"/>
                    </a:lnTo>
                    <a:lnTo>
                      <a:pt x="335" y="150"/>
                    </a:lnTo>
                    <a:lnTo>
                      <a:pt x="332" y="147"/>
                    </a:lnTo>
                    <a:lnTo>
                      <a:pt x="329" y="141"/>
                    </a:lnTo>
                    <a:lnTo>
                      <a:pt x="329" y="137"/>
                    </a:lnTo>
                    <a:lnTo>
                      <a:pt x="323" y="135"/>
                    </a:lnTo>
                    <a:lnTo>
                      <a:pt x="319" y="135"/>
                    </a:lnTo>
                    <a:lnTo>
                      <a:pt x="315" y="139"/>
                    </a:lnTo>
                    <a:lnTo>
                      <a:pt x="311" y="136"/>
                    </a:lnTo>
                    <a:lnTo>
                      <a:pt x="306" y="137"/>
                    </a:lnTo>
                    <a:lnTo>
                      <a:pt x="301" y="136"/>
                    </a:lnTo>
                    <a:lnTo>
                      <a:pt x="298" y="133"/>
                    </a:lnTo>
                    <a:lnTo>
                      <a:pt x="297" y="126"/>
                    </a:lnTo>
                    <a:lnTo>
                      <a:pt x="297" y="123"/>
                    </a:lnTo>
                    <a:lnTo>
                      <a:pt x="293" y="120"/>
                    </a:lnTo>
                    <a:lnTo>
                      <a:pt x="289" y="117"/>
                    </a:lnTo>
                    <a:lnTo>
                      <a:pt x="284" y="118"/>
                    </a:lnTo>
                    <a:lnTo>
                      <a:pt x="280" y="118"/>
                    </a:lnTo>
                    <a:lnTo>
                      <a:pt x="275" y="117"/>
                    </a:lnTo>
                    <a:lnTo>
                      <a:pt x="270" y="118"/>
                    </a:lnTo>
                    <a:lnTo>
                      <a:pt x="266" y="117"/>
                    </a:lnTo>
                    <a:lnTo>
                      <a:pt x="265" y="112"/>
                    </a:lnTo>
                    <a:lnTo>
                      <a:pt x="264" y="107"/>
                    </a:lnTo>
                    <a:lnTo>
                      <a:pt x="268" y="105"/>
                    </a:lnTo>
                    <a:lnTo>
                      <a:pt x="273" y="103"/>
                    </a:lnTo>
                    <a:lnTo>
                      <a:pt x="277" y="98"/>
                    </a:lnTo>
                    <a:lnTo>
                      <a:pt x="279" y="93"/>
                    </a:lnTo>
                    <a:lnTo>
                      <a:pt x="280" y="90"/>
                    </a:lnTo>
                    <a:lnTo>
                      <a:pt x="285" y="86"/>
                    </a:lnTo>
                    <a:lnTo>
                      <a:pt x="286" y="82"/>
                    </a:lnTo>
                    <a:lnTo>
                      <a:pt x="286" y="78"/>
                    </a:lnTo>
                    <a:lnTo>
                      <a:pt x="287" y="70"/>
                    </a:lnTo>
                    <a:lnTo>
                      <a:pt x="281" y="62"/>
                    </a:lnTo>
                    <a:lnTo>
                      <a:pt x="283" y="67"/>
                    </a:lnTo>
                    <a:lnTo>
                      <a:pt x="277" y="52"/>
                    </a:lnTo>
                    <a:lnTo>
                      <a:pt x="272" y="61"/>
                    </a:lnTo>
                    <a:lnTo>
                      <a:pt x="269" y="57"/>
                    </a:lnTo>
                    <a:lnTo>
                      <a:pt x="265" y="57"/>
                    </a:lnTo>
                    <a:lnTo>
                      <a:pt x="261" y="52"/>
                    </a:lnTo>
                    <a:lnTo>
                      <a:pt x="257" y="51"/>
                    </a:lnTo>
                    <a:lnTo>
                      <a:pt x="252" y="51"/>
                    </a:lnTo>
                    <a:lnTo>
                      <a:pt x="247" y="50"/>
                    </a:lnTo>
                    <a:lnTo>
                      <a:pt x="243" y="51"/>
                    </a:lnTo>
                    <a:lnTo>
                      <a:pt x="239" y="51"/>
                    </a:lnTo>
                    <a:lnTo>
                      <a:pt x="236" y="47"/>
                    </a:lnTo>
                    <a:lnTo>
                      <a:pt x="233" y="44"/>
                    </a:lnTo>
                    <a:lnTo>
                      <a:pt x="232" y="39"/>
                    </a:lnTo>
                    <a:lnTo>
                      <a:pt x="228" y="39"/>
                    </a:lnTo>
                    <a:lnTo>
                      <a:pt x="223" y="40"/>
                    </a:lnTo>
                    <a:lnTo>
                      <a:pt x="219" y="41"/>
                    </a:lnTo>
                    <a:lnTo>
                      <a:pt x="214" y="41"/>
                    </a:lnTo>
                    <a:lnTo>
                      <a:pt x="210" y="41"/>
                    </a:lnTo>
                    <a:lnTo>
                      <a:pt x="209" y="36"/>
                    </a:lnTo>
                    <a:lnTo>
                      <a:pt x="207" y="32"/>
                    </a:lnTo>
                    <a:lnTo>
                      <a:pt x="206" y="29"/>
                    </a:lnTo>
                    <a:lnTo>
                      <a:pt x="201" y="30"/>
                    </a:lnTo>
                    <a:lnTo>
                      <a:pt x="201" y="25"/>
                    </a:lnTo>
                    <a:lnTo>
                      <a:pt x="200" y="21"/>
                    </a:lnTo>
                    <a:lnTo>
                      <a:pt x="199" y="1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3" name="Freeform 42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1275039" y="3817715"/>
                <a:ext cx="359174" cy="337599"/>
              </a:xfrm>
              <a:custGeom>
                <a:avLst/>
                <a:gdLst>
                  <a:gd name="T0" fmla="*/ 2147483647 w 291"/>
                  <a:gd name="T1" fmla="*/ 2147483647 h 286"/>
                  <a:gd name="T2" fmla="*/ 2147483647 w 291"/>
                  <a:gd name="T3" fmla="*/ 2147483647 h 286"/>
                  <a:gd name="T4" fmla="*/ 2147483647 w 291"/>
                  <a:gd name="T5" fmla="*/ 2147483647 h 286"/>
                  <a:gd name="T6" fmla="*/ 2147483647 w 291"/>
                  <a:gd name="T7" fmla="*/ 2147483647 h 286"/>
                  <a:gd name="T8" fmla="*/ 2147483647 w 291"/>
                  <a:gd name="T9" fmla="*/ 2147483647 h 286"/>
                  <a:gd name="T10" fmla="*/ 2147483647 w 291"/>
                  <a:gd name="T11" fmla="*/ 2147483647 h 286"/>
                  <a:gd name="T12" fmla="*/ 2147483647 w 291"/>
                  <a:gd name="T13" fmla="*/ 2147483647 h 286"/>
                  <a:gd name="T14" fmla="*/ 2147483647 w 291"/>
                  <a:gd name="T15" fmla="*/ 2147483647 h 286"/>
                  <a:gd name="T16" fmla="*/ 2147483647 w 291"/>
                  <a:gd name="T17" fmla="*/ 2147483647 h 286"/>
                  <a:gd name="T18" fmla="*/ 2147483647 w 291"/>
                  <a:gd name="T19" fmla="*/ 2147483647 h 286"/>
                  <a:gd name="T20" fmla="*/ 2147483647 w 291"/>
                  <a:gd name="T21" fmla="*/ 2147483647 h 286"/>
                  <a:gd name="T22" fmla="*/ 2147483647 w 291"/>
                  <a:gd name="T23" fmla="*/ 0 h 286"/>
                  <a:gd name="T24" fmla="*/ 2147483647 w 291"/>
                  <a:gd name="T25" fmla="*/ 2147483647 h 286"/>
                  <a:gd name="T26" fmla="*/ 2147483647 w 291"/>
                  <a:gd name="T27" fmla="*/ 2147483647 h 286"/>
                  <a:gd name="T28" fmla="*/ 2147483647 w 291"/>
                  <a:gd name="T29" fmla="*/ 2147483647 h 286"/>
                  <a:gd name="T30" fmla="*/ 2147483647 w 291"/>
                  <a:gd name="T31" fmla="*/ 2147483647 h 286"/>
                  <a:gd name="T32" fmla="*/ 2147483647 w 291"/>
                  <a:gd name="T33" fmla="*/ 2147483647 h 286"/>
                  <a:gd name="T34" fmla="*/ 2147483647 w 291"/>
                  <a:gd name="T35" fmla="*/ 2147483647 h 286"/>
                  <a:gd name="T36" fmla="*/ 2147483647 w 291"/>
                  <a:gd name="T37" fmla="*/ 2147483647 h 286"/>
                  <a:gd name="T38" fmla="*/ 2147483647 w 291"/>
                  <a:gd name="T39" fmla="*/ 2147483647 h 286"/>
                  <a:gd name="T40" fmla="*/ 2147483647 w 291"/>
                  <a:gd name="T41" fmla="*/ 2147483647 h 286"/>
                  <a:gd name="T42" fmla="*/ 2147483647 w 291"/>
                  <a:gd name="T43" fmla="*/ 2147483647 h 286"/>
                  <a:gd name="T44" fmla="*/ 2147483647 w 291"/>
                  <a:gd name="T45" fmla="*/ 2147483647 h 286"/>
                  <a:gd name="T46" fmla="*/ 2147483647 w 291"/>
                  <a:gd name="T47" fmla="*/ 2147483647 h 286"/>
                  <a:gd name="T48" fmla="*/ 0 w 291"/>
                  <a:gd name="T49" fmla="*/ 2147483647 h 286"/>
                  <a:gd name="T50" fmla="*/ 2147483647 w 291"/>
                  <a:gd name="T51" fmla="*/ 2147483647 h 286"/>
                  <a:gd name="T52" fmla="*/ 2147483647 w 291"/>
                  <a:gd name="T53" fmla="*/ 2147483647 h 286"/>
                  <a:gd name="T54" fmla="*/ 2147483647 w 291"/>
                  <a:gd name="T55" fmla="*/ 2147483647 h 286"/>
                  <a:gd name="T56" fmla="*/ 2147483647 w 291"/>
                  <a:gd name="T57" fmla="*/ 2147483647 h 286"/>
                  <a:gd name="T58" fmla="*/ 2147483647 w 291"/>
                  <a:gd name="T59" fmla="*/ 2147483647 h 286"/>
                  <a:gd name="T60" fmla="*/ 2147483647 w 291"/>
                  <a:gd name="T61" fmla="*/ 2147483647 h 286"/>
                  <a:gd name="T62" fmla="*/ 2147483647 w 291"/>
                  <a:gd name="T63" fmla="*/ 2147483647 h 286"/>
                  <a:gd name="T64" fmla="*/ 2147483647 w 291"/>
                  <a:gd name="T65" fmla="*/ 2147483647 h 286"/>
                  <a:gd name="T66" fmla="*/ 2147483647 w 291"/>
                  <a:gd name="T67" fmla="*/ 2147483647 h 286"/>
                  <a:gd name="T68" fmla="*/ 2147483647 w 291"/>
                  <a:gd name="T69" fmla="*/ 2147483647 h 286"/>
                  <a:gd name="T70" fmla="*/ 2147483647 w 291"/>
                  <a:gd name="T71" fmla="*/ 2147483647 h 286"/>
                  <a:gd name="T72" fmla="*/ 2147483647 w 291"/>
                  <a:gd name="T73" fmla="*/ 2147483647 h 286"/>
                  <a:gd name="T74" fmla="*/ 2147483647 w 291"/>
                  <a:gd name="T75" fmla="*/ 2147483647 h 286"/>
                  <a:gd name="T76" fmla="*/ 2147483647 w 291"/>
                  <a:gd name="T77" fmla="*/ 2147483647 h 286"/>
                  <a:gd name="T78" fmla="*/ 2147483647 w 291"/>
                  <a:gd name="T79" fmla="*/ 2147483647 h 286"/>
                  <a:gd name="T80" fmla="*/ 2147483647 w 291"/>
                  <a:gd name="T81" fmla="*/ 2147483647 h 286"/>
                  <a:gd name="T82" fmla="*/ 2147483647 w 291"/>
                  <a:gd name="T83" fmla="*/ 2147483647 h 286"/>
                  <a:gd name="T84" fmla="*/ 2147483647 w 291"/>
                  <a:gd name="T85" fmla="*/ 2147483647 h 286"/>
                  <a:gd name="T86" fmla="*/ 2147483647 w 291"/>
                  <a:gd name="T87" fmla="*/ 2147483647 h 286"/>
                  <a:gd name="T88" fmla="*/ 2147483647 w 291"/>
                  <a:gd name="T89" fmla="*/ 2147483647 h 286"/>
                  <a:gd name="T90" fmla="*/ 2147483647 w 291"/>
                  <a:gd name="T91" fmla="*/ 2147483647 h 286"/>
                  <a:gd name="T92" fmla="*/ 2147483647 w 291"/>
                  <a:gd name="T93" fmla="*/ 2147483647 h 286"/>
                  <a:gd name="T94" fmla="*/ 2147483647 w 291"/>
                  <a:gd name="T95" fmla="*/ 2147483647 h 286"/>
                  <a:gd name="T96" fmla="*/ 2147483647 w 291"/>
                  <a:gd name="T97" fmla="*/ 2147483647 h 286"/>
                  <a:gd name="T98" fmla="*/ 2147483647 w 291"/>
                  <a:gd name="T99" fmla="*/ 2147483647 h 286"/>
                  <a:gd name="T100" fmla="*/ 2147483647 w 291"/>
                  <a:gd name="T101" fmla="*/ 2147483647 h 286"/>
                  <a:gd name="T102" fmla="*/ 2147483647 w 291"/>
                  <a:gd name="T103" fmla="*/ 2147483647 h 286"/>
                  <a:gd name="T104" fmla="*/ 2147483647 w 291"/>
                  <a:gd name="T105" fmla="*/ 2147483647 h 286"/>
                  <a:gd name="T106" fmla="*/ 2147483647 w 291"/>
                  <a:gd name="T107" fmla="*/ 2147483647 h 286"/>
                  <a:gd name="T108" fmla="*/ 2147483647 w 291"/>
                  <a:gd name="T109" fmla="*/ 2147483647 h 286"/>
                  <a:gd name="T110" fmla="*/ 2147483647 w 291"/>
                  <a:gd name="T111" fmla="*/ 2147483647 h 286"/>
                  <a:gd name="T112" fmla="*/ 2147483647 w 291"/>
                  <a:gd name="T113" fmla="*/ 2147483647 h 286"/>
                  <a:gd name="T114" fmla="*/ 2147483647 w 291"/>
                  <a:gd name="T115" fmla="*/ 2147483647 h 28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91"/>
                  <a:gd name="T175" fmla="*/ 0 h 286"/>
                  <a:gd name="T176" fmla="*/ 291 w 291"/>
                  <a:gd name="T177" fmla="*/ 286 h 28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91" h="286">
                    <a:moveTo>
                      <a:pt x="211" y="141"/>
                    </a:moveTo>
                    <a:lnTo>
                      <a:pt x="209" y="138"/>
                    </a:lnTo>
                    <a:lnTo>
                      <a:pt x="204" y="136"/>
                    </a:lnTo>
                    <a:lnTo>
                      <a:pt x="201" y="132"/>
                    </a:lnTo>
                    <a:lnTo>
                      <a:pt x="200" y="129"/>
                    </a:lnTo>
                    <a:lnTo>
                      <a:pt x="203" y="124"/>
                    </a:lnTo>
                    <a:lnTo>
                      <a:pt x="207" y="123"/>
                    </a:lnTo>
                    <a:lnTo>
                      <a:pt x="212" y="123"/>
                    </a:lnTo>
                    <a:lnTo>
                      <a:pt x="216" y="122"/>
                    </a:lnTo>
                    <a:lnTo>
                      <a:pt x="221" y="122"/>
                    </a:lnTo>
                    <a:lnTo>
                      <a:pt x="225" y="121"/>
                    </a:lnTo>
                    <a:lnTo>
                      <a:pt x="230" y="120"/>
                    </a:lnTo>
                    <a:lnTo>
                      <a:pt x="234" y="120"/>
                    </a:lnTo>
                    <a:lnTo>
                      <a:pt x="238" y="117"/>
                    </a:lnTo>
                    <a:lnTo>
                      <a:pt x="242" y="117"/>
                    </a:lnTo>
                    <a:lnTo>
                      <a:pt x="247" y="116"/>
                    </a:lnTo>
                    <a:lnTo>
                      <a:pt x="251" y="115"/>
                    </a:lnTo>
                    <a:lnTo>
                      <a:pt x="255" y="117"/>
                    </a:lnTo>
                    <a:lnTo>
                      <a:pt x="259" y="116"/>
                    </a:lnTo>
                    <a:lnTo>
                      <a:pt x="264" y="112"/>
                    </a:lnTo>
                    <a:lnTo>
                      <a:pt x="265" y="108"/>
                    </a:lnTo>
                    <a:lnTo>
                      <a:pt x="267" y="103"/>
                    </a:lnTo>
                    <a:lnTo>
                      <a:pt x="266" y="98"/>
                    </a:lnTo>
                    <a:lnTo>
                      <a:pt x="266" y="95"/>
                    </a:lnTo>
                    <a:lnTo>
                      <a:pt x="263" y="91"/>
                    </a:lnTo>
                    <a:lnTo>
                      <a:pt x="262" y="87"/>
                    </a:lnTo>
                    <a:lnTo>
                      <a:pt x="260" y="83"/>
                    </a:lnTo>
                    <a:lnTo>
                      <a:pt x="261" y="79"/>
                    </a:lnTo>
                    <a:lnTo>
                      <a:pt x="263" y="74"/>
                    </a:lnTo>
                    <a:lnTo>
                      <a:pt x="269" y="70"/>
                    </a:lnTo>
                    <a:lnTo>
                      <a:pt x="274" y="67"/>
                    </a:lnTo>
                    <a:lnTo>
                      <a:pt x="277" y="60"/>
                    </a:lnTo>
                    <a:lnTo>
                      <a:pt x="282" y="59"/>
                    </a:lnTo>
                    <a:lnTo>
                      <a:pt x="283" y="55"/>
                    </a:lnTo>
                    <a:lnTo>
                      <a:pt x="285" y="50"/>
                    </a:lnTo>
                    <a:lnTo>
                      <a:pt x="286" y="45"/>
                    </a:lnTo>
                    <a:lnTo>
                      <a:pt x="291" y="44"/>
                    </a:lnTo>
                    <a:lnTo>
                      <a:pt x="290" y="40"/>
                    </a:lnTo>
                    <a:lnTo>
                      <a:pt x="290" y="35"/>
                    </a:lnTo>
                    <a:lnTo>
                      <a:pt x="289" y="30"/>
                    </a:lnTo>
                    <a:lnTo>
                      <a:pt x="283" y="25"/>
                    </a:lnTo>
                    <a:lnTo>
                      <a:pt x="281" y="22"/>
                    </a:lnTo>
                    <a:lnTo>
                      <a:pt x="278" y="18"/>
                    </a:lnTo>
                    <a:lnTo>
                      <a:pt x="276" y="14"/>
                    </a:lnTo>
                    <a:lnTo>
                      <a:pt x="275" y="9"/>
                    </a:lnTo>
                    <a:lnTo>
                      <a:pt x="270" y="10"/>
                    </a:lnTo>
                    <a:lnTo>
                      <a:pt x="266" y="11"/>
                    </a:lnTo>
                    <a:lnTo>
                      <a:pt x="259" y="11"/>
                    </a:lnTo>
                    <a:lnTo>
                      <a:pt x="254" y="11"/>
                    </a:lnTo>
                    <a:lnTo>
                      <a:pt x="247" y="12"/>
                    </a:lnTo>
                    <a:lnTo>
                      <a:pt x="243" y="13"/>
                    </a:lnTo>
                    <a:lnTo>
                      <a:pt x="238" y="13"/>
                    </a:lnTo>
                    <a:lnTo>
                      <a:pt x="235" y="14"/>
                    </a:lnTo>
                    <a:lnTo>
                      <a:pt x="231" y="14"/>
                    </a:lnTo>
                    <a:lnTo>
                      <a:pt x="226" y="15"/>
                    </a:lnTo>
                    <a:lnTo>
                      <a:pt x="222" y="13"/>
                    </a:lnTo>
                    <a:lnTo>
                      <a:pt x="219" y="9"/>
                    </a:lnTo>
                    <a:lnTo>
                      <a:pt x="216" y="5"/>
                    </a:lnTo>
                    <a:lnTo>
                      <a:pt x="214" y="1"/>
                    </a:lnTo>
                    <a:lnTo>
                      <a:pt x="208" y="0"/>
                    </a:lnTo>
                    <a:lnTo>
                      <a:pt x="204" y="1"/>
                    </a:lnTo>
                    <a:lnTo>
                      <a:pt x="200" y="3"/>
                    </a:lnTo>
                    <a:lnTo>
                      <a:pt x="196" y="7"/>
                    </a:lnTo>
                    <a:lnTo>
                      <a:pt x="196" y="10"/>
                    </a:lnTo>
                    <a:lnTo>
                      <a:pt x="194" y="14"/>
                    </a:lnTo>
                    <a:lnTo>
                      <a:pt x="190" y="18"/>
                    </a:lnTo>
                    <a:lnTo>
                      <a:pt x="186" y="18"/>
                    </a:lnTo>
                    <a:lnTo>
                      <a:pt x="182" y="19"/>
                    </a:lnTo>
                    <a:lnTo>
                      <a:pt x="176" y="17"/>
                    </a:lnTo>
                    <a:lnTo>
                      <a:pt x="172" y="17"/>
                    </a:lnTo>
                    <a:lnTo>
                      <a:pt x="167" y="18"/>
                    </a:lnTo>
                    <a:lnTo>
                      <a:pt x="164" y="21"/>
                    </a:lnTo>
                    <a:lnTo>
                      <a:pt x="159" y="22"/>
                    </a:lnTo>
                    <a:lnTo>
                      <a:pt x="155" y="22"/>
                    </a:lnTo>
                    <a:lnTo>
                      <a:pt x="150" y="25"/>
                    </a:lnTo>
                    <a:lnTo>
                      <a:pt x="151" y="28"/>
                    </a:lnTo>
                    <a:lnTo>
                      <a:pt x="156" y="30"/>
                    </a:lnTo>
                    <a:lnTo>
                      <a:pt x="151" y="33"/>
                    </a:lnTo>
                    <a:lnTo>
                      <a:pt x="147" y="34"/>
                    </a:lnTo>
                    <a:lnTo>
                      <a:pt x="142" y="34"/>
                    </a:lnTo>
                    <a:lnTo>
                      <a:pt x="139" y="35"/>
                    </a:lnTo>
                    <a:lnTo>
                      <a:pt x="135" y="37"/>
                    </a:lnTo>
                    <a:lnTo>
                      <a:pt x="131" y="40"/>
                    </a:lnTo>
                    <a:lnTo>
                      <a:pt x="129" y="44"/>
                    </a:lnTo>
                    <a:lnTo>
                      <a:pt x="130" y="48"/>
                    </a:lnTo>
                    <a:lnTo>
                      <a:pt x="131" y="53"/>
                    </a:lnTo>
                    <a:lnTo>
                      <a:pt x="131" y="56"/>
                    </a:lnTo>
                    <a:lnTo>
                      <a:pt x="126" y="59"/>
                    </a:lnTo>
                    <a:lnTo>
                      <a:pt x="125" y="64"/>
                    </a:lnTo>
                    <a:lnTo>
                      <a:pt x="120" y="66"/>
                    </a:lnTo>
                    <a:lnTo>
                      <a:pt x="117" y="71"/>
                    </a:lnTo>
                    <a:lnTo>
                      <a:pt x="113" y="76"/>
                    </a:lnTo>
                    <a:lnTo>
                      <a:pt x="109" y="78"/>
                    </a:lnTo>
                    <a:lnTo>
                      <a:pt x="104" y="82"/>
                    </a:lnTo>
                    <a:lnTo>
                      <a:pt x="100" y="83"/>
                    </a:lnTo>
                    <a:lnTo>
                      <a:pt x="95" y="84"/>
                    </a:lnTo>
                    <a:lnTo>
                      <a:pt x="94" y="88"/>
                    </a:lnTo>
                    <a:lnTo>
                      <a:pt x="89" y="87"/>
                    </a:lnTo>
                    <a:lnTo>
                      <a:pt x="88" y="84"/>
                    </a:lnTo>
                    <a:lnTo>
                      <a:pt x="84" y="79"/>
                    </a:lnTo>
                    <a:lnTo>
                      <a:pt x="79" y="78"/>
                    </a:lnTo>
                    <a:lnTo>
                      <a:pt x="76" y="73"/>
                    </a:lnTo>
                    <a:lnTo>
                      <a:pt x="72" y="73"/>
                    </a:lnTo>
                    <a:lnTo>
                      <a:pt x="68" y="69"/>
                    </a:lnTo>
                    <a:lnTo>
                      <a:pt x="64" y="67"/>
                    </a:lnTo>
                    <a:lnTo>
                      <a:pt x="63" y="63"/>
                    </a:lnTo>
                    <a:lnTo>
                      <a:pt x="63" y="60"/>
                    </a:lnTo>
                    <a:lnTo>
                      <a:pt x="60" y="55"/>
                    </a:lnTo>
                    <a:lnTo>
                      <a:pt x="55" y="56"/>
                    </a:lnTo>
                    <a:lnTo>
                      <a:pt x="51" y="55"/>
                    </a:lnTo>
                    <a:lnTo>
                      <a:pt x="46" y="55"/>
                    </a:lnTo>
                    <a:lnTo>
                      <a:pt x="43" y="56"/>
                    </a:lnTo>
                    <a:lnTo>
                      <a:pt x="38" y="56"/>
                    </a:lnTo>
                    <a:lnTo>
                      <a:pt x="34" y="55"/>
                    </a:lnTo>
                    <a:lnTo>
                      <a:pt x="29" y="54"/>
                    </a:lnTo>
                    <a:lnTo>
                      <a:pt x="26" y="50"/>
                    </a:lnTo>
                    <a:lnTo>
                      <a:pt x="21" y="51"/>
                    </a:lnTo>
                    <a:lnTo>
                      <a:pt x="17" y="51"/>
                    </a:lnTo>
                    <a:lnTo>
                      <a:pt x="16" y="55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5" y="65"/>
                    </a:lnTo>
                    <a:lnTo>
                      <a:pt x="1" y="65"/>
                    </a:lnTo>
                    <a:lnTo>
                      <a:pt x="0" y="71"/>
                    </a:lnTo>
                    <a:lnTo>
                      <a:pt x="0" y="74"/>
                    </a:lnTo>
                    <a:lnTo>
                      <a:pt x="1" y="79"/>
                    </a:lnTo>
                    <a:lnTo>
                      <a:pt x="5" y="80"/>
                    </a:lnTo>
                    <a:lnTo>
                      <a:pt x="8" y="83"/>
                    </a:lnTo>
                    <a:lnTo>
                      <a:pt x="12" y="82"/>
                    </a:lnTo>
                    <a:lnTo>
                      <a:pt x="15" y="87"/>
                    </a:lnTo>
                    <a:lnTo>
                      <a:pt x="16" y="91"/>
                    </a:lnTo>
                    <a:lnTo>
                      <a:pt x="21" y="93"/>
                    </a:lnTo>
                    <a:lnTo>
                      <a:pt x="25" y="93"/>
                    </a:lnTo>
                    <a:lnTo>
                      <a:pt x="30" y="93"/>
                    </a:lnTo>
                    <a:lnTo>
                      <a:pt x="34" y="92"/>
                    </a:lnTo>
                    <a:lnTo>
                      <a:pt x="40" y="96"/>
                    </a:lnTo>
                    <a:lnTo>
                      <a:pt x="44" y="98"/>
                    </a:lnTo>
                    <a:lnTo>
                      <a:pt x="49" y="101"/>
                    </a:lnTo>
                    <a:lnTo>
                      <a:pt x="50" y="104"/>
                    </a:lnTo>
                    <a:lnTo>
                      <a:pt x="47" y="110"/>
                    </a:lnTo>
                    <a:lnTo>
                      <a:pt x="44" y="110"/>
                    </a:lnTo>
                    <a:lnTo>
                      <a:pt x="39" y="111"/>
                    </a:lnTo>
                    <a:lnTo>
                      <a:pt x="35" y="111"/>
                    </a:lnTo>
                    <a:lnTo>
                      <a:pt x="30" y="112"/>
                    </a:lnTo>
                    <a:lnTo>
                      <a:pt x="26" y="113"/>
                    </a:lnTo>
                    <a:lnTo>
                      <a:pt x="20" y="111"/>
                    </a:lnTo>
                    <a:lnTo>
                      <a:pt x="16" y="109"/>
                    </a:lnTo>
                    <a:lnTo>
                      <a:pt x="11" y="107"/>
                    </a:lnTo>
                    <a:lnTo>
                      <a:pt x="7" y="107"/>
                    </a:lnTo>
                    <a:lnTo>
                      <a:pt x="2" y="106"/>
                    </a:lnTo>
                    <a:lnTo>
                      <a:pt x="0" y="109"/>
                    </a:lnTo>
                    <a:lnTo>
                      <a:pt x="1" y="114"/>
                    </a:lnTo>
                    <a:lnTo>
                      <a:pt x="1" y="118"/>
                    </a:lnTo>
                    <a:lnTo>
                      <a:pt x="2" y="122"/>
                    </a:lnTo>
                    <a:lnTo>
                      <a:pt x="2" y="126"/>
                    </a:lnTo>
                    <a:lnTo>
                      <a:pt x="5" y="130"/>
                    </a:lnTo>
                    <a:lnTo>
                      <a:pt x="8" y="133"/>
                    </a:lnTo>
                    <a:lnTo>
                      <a:pt x="11" y="138"/>
                    </a:lnTo>
                    <a:lnTo>
                      <a:pt x="15" y="137"/>
                    </a:lnTo>
                    <a:lnTo>
                      <a:pt x="20" y="138"/>
                    </a:lnTo>
                    <a:lnTo>
                      <a:pt x="21" y="133"/>
                    </a:lnTo>
                    <a:lnTo>
                      <a:pt x="26" y="133"/>
                    </a:lnTo>
                    <a:lnTo>
                      <a:pt x="31" y="135"/>
                    </a:lnTo>
                    <a:lnTo>
                      <a:pt x="33" y="139"/>
                    </a:lnTo>
                    <a:lnTo>
                      <a:pt x="37" y="142"/>
                    </a:lnTo>
                    <a:lnTo>
                      <a:pt x="41" y="146"/>
                    </a:lnTo>
                    <a:lnTo>
                      <a:pt x="46" y="147"/>
                    </a:lnTo>
                    <a:lnTo>
                      <a:pt x="49" y="151"/>
                    </a:lnTo>
                    <a:lnTo>
                      <a:pt x="50" y="155"/>
                    </a:lnTo>
                    <a:lnTo>
                      <a:pt x="48" y="160"/>
                    </a:lnTo>
                    <a:lnTo>
                      <a:pt x="46" y="163"/>
                    </a:lnTo>
                    <a:lnTo>
                      <a:pt x="44" y="169"/>
                    </a:lnTo>
                    <a:lnTo>
                      <a:pt x="43" y="173"/>
                    </a:lnTo>
                    <a:lnTo>
                      <a:pt x="43" y="177"/>
                    </a:lnTo>
                    <a:lnTo>
                      <a:pt x="44" y="181"/>
                    </a:lnTo>
                    <a:lnTo>
                      <a:pt x="45" y="186"/>
                    </a:lnTo>
                    <a:lnTo>
                      <a:pt x="45" y="189"/>
                    </a:lnTo>
                    <a:lnTo>
                      <a:pt x="46" y="194"/>
                    </a:lnTo>
                    <a:lnTo>
                      <a:pt x="46" y="198"/>
                    </a:lnTo>
                    <a:lnTo>
                      <a:pt x="47" y="201"/>
                    </a:lnTo>
                    <a:lnTo>
                      <a:pt x="49" y="205"/>
                    </a:lnTo>
                    <a:lnTo>
                      <a:pt x="54" y="207"/>
                    </a:lnTo>
                    <a:lnTo>
                      <a:pt x="57" y="210"/>
                    </a:lnTo>
                    <a:lnTo>
                      <a:pt x="61" y="210"/>
                    </a:lnTo>
                    <a:lnTo>
                      <a:pt x="63" y="205"/>
                    </a:lnTo>
                    <a:lnTo>
                      <a:pt x="61" y="210"/>
                    </a:lnTo>
                    <a:lnTo>
                      <a:pt x="57" y="210"/>
                    </a:lnTo>
                    <a:lnTo>
                      <a:pt x="58" y="214"/>
                    </a:lnTo>
                    <a:lnTo>
                      <a:pt x="56" y="219"/>
                    </a:lnTo>
                    <a:lnTo>
                      <a:pt x="57" y="222"/>
                    </a:lnTo>
                    <a:lnTo>
                      <a:pt x="59" y="227"/>
                    </a:lnTo>
                    <a:lnTo>
                      <a:pt x="62" y="231"/>
                    </a:lnTo>
                    <a:lnTo>
                      <a:pt x="64" y="233"/>
                    </a:lnTo>
                    <a:lnTo>
                      <a:pt x="68" y="233"/>
                    </a:lnTo>
                    <a:lnTo>
                      <a:pt x="72" y="232"/>
                    </a:lnTo>
                    <a:lnTo>
                      <a:pt x="76" y="237"/>
                    </a:lnTo>
                    <a:lnTo>
                      <a:pt x="78" y="241"/>
                    </a:lnTo>
                    <a:lnTo>
                      <a:pt x="83" y="243"/>
                    </a:lnTo>
                    <a:lnTo>
                      <a:pt x="85" y="238"/>
                    </a:lnTo>
                    <a:lnTo>
                      <a:pt x="89" y="235"/>
                    </a:lnTo>
                    <a:lnTo>
                      <a:pt x="94" y="237"/>
                    </a:lnTo>
                    <a:lnTo>
                      <a:pt x="96" y="241"/>
                    </a:lnTo>
                    <a:lnTo>
                      <a:pt x="100" y="241"/>
                    </a:lnTo>
                    <a:lnTo>
                      <a:pt x="105" y="240"/>
                    </a:lnTo>
                    <a:lnTo>
                      <a:pt x="109" y="237"/>
                    </a:lnTo>
                    <a:lnTo>
                      <a:pt x="114" y="234"/>
                    </a:lnTo>
                    <a:lnTo>
                      <a:pt x="118" y="233"/>
                    </a:lnTo>
                    <a:lnTo>
                      <a:pt x="123" y="235"/>
                    </a:lnTo>
                    <a:lnTo>
                      <a:pt x="124" y="230"/>
                    </a:lnTo>
                    <a:lnTo>
                      <a:pt x="124" y="225"/>
                    </a:lnTo>
                    <a:lnTo>
                      <a:pt x="125" y="222"/>
                    </a:lnTo>
                    <a:lnTo>
                      <a:pt x="130" y="222"/>
                    </a:lnTo>
                    <a:lnTo>
                      <a:pt x="132" y="217"/>
                    </a:lnTo>
                    <a:lnTo>
                      <a:pt x="135" y="221"/>
                    </a:lnTo>
                    <a:lnTo>
                      <a:pt x="136" y="224"/>
                    </a:lnTo>
                    <a:lnTo>
                      <a:pt x="138" y="229"/>
                    </a:lnTo>
                    <a:lnTo>
                      <a:pt x="139" y="233"/>
                    </a:lnTo>
                    <a:lnTo>
                      <a:pt x="139" y="236"/>
                    </a:lnTo>
                    <a:lnTo>
                      <a:pt x="142" y="240"/>
                    </a:lnTo>
                    <a:lnTo>
                      <a:pt x="144" y="245"/>
                    </a:lnTo>
                    <a:lnTo>
                      <a:pt x="148" y="247"/>
                    </a:lnTo>
                    <a:lnTo>
                      <a:pt x="152" y="250"/>
                    </a:lnTo>
                    <a:lnTo>
                      <a:pt x="155" y="254"/>
                    </a:lnTo>
                    <a:lnTo>
                      <a:pt x="158" y="256"/>
                    </a:lnTo>
                    <a:lnTo>
                      <a:pt x="156" y="261"/>
                    </a:lnTo>
                    <a:lnTo>
                      <a:pt x="154" y="267"/>
                    </a:lnTo>
                    <a:lnTo>
                      <a:pt x="155" y="270"/>
                    </a:lnTo>
                    <a:lnTo>
                      <a:pt x="155" y="274"/>
                    </a:lnTo>
                    <a:lnTo>
                      <a:pt x="156" y="279"/>
                    </a:lnTo>
                    <a:lnTo>
                      <a:pt x="158" y="281"/>
                    </a:lnTo>
                    <a:lnTo>
                      <a:pt x="164" y="286"/>
                    </a:lnTo>
                    <a:lnTo>
                      <a:pt x="168" y="285"/>
                    </a:lnTo>
                    <a:lnTo>
                      <a:pt x="172" y="279"/>
                    </a:lnTo>
                    <a:lnTo>
                      <a:pt x="175" y="279"/>
                    </a:lnTo>
                    <a:lnTo>
                      <a:pt x="180" y="278"/>
                    </a:lnTo>
                    <a:lnTo>
                      <a:pt x="185" y="281"/>
                    </a:lnTo>
                    <a:lnTo>
                      <a:pt x="190" y="282"/>
                    </a:lnTo>
                    <a:lnTo>
                      <a:pt x="193" y="280"/>
                    </a:lnTo>
                    <a:lnTo>
                      <a:pt x="198" y="276"/>
                    </a:lnTo>
                    <a:lnTo>
                      <a:pt x="200" y="273"/>
                    </a:lnTo>
                    <a:lnTo>
                      <a:pt x="204" y="270"/>
                    </a:lnTo>
                    <a:lnTo>
                      <a:pt x="208" y="267"/>
                    </a:lnTo>
                    <a:lnTo>
                      <a:pt x="213" y="266"/>
                    </a:lnTo>
                    <a:lnTo>
                      <a:pt x="217" y="265"/>
                    </a:lnTo>
                    <a:lnTo>
                      <a:pt x="221" y="263"/>
                    </a:lnTo>
                    <a:lnTo>
                      <a:pt x="223" y="259"/>
                    </a:lnTo>
                    <a:lnTo>
                      <a:pt x="227" y="259"/>
                    </a:lnTo>
                    <a:lnTo>
                      <a:pt x="232" y="259"/>
                    </a:lnTo>
                    <a:lnTo>
                      <a:pt x="236" y="259"/>
                    </a:lnTo>
                    <a:lnTo>
                      <a:pt x="241" y="257"/>
                    </a:lnTo>
                    <a:lnTo>
                      <a:pt x="247" y="251"/>
                    </a:lnTo>
                    <a:lnTo>
                      <a:pt x="251" y="249"/>
                    </a:lnTo>
                    <a:lnTo>
                      <a:pt x="256" y="246"/>
                    </a:lnTo>
                    <a:lnTo>
                      <a:pt x="259" y="243"/>
                    </a:lnTo>
                    <a:lnTo>
                      <a:pt x="264" y="239"/>
                    </a:lnTo>
                    <a:lnTo>
                      <a:pt x="268" y="238"/>
                    </a:lnTo>
                    <a:lnTo>
                      <a:pt x="268" y="234"/>
                    </a:lnTo>
                    <a:lnTo>
                      <a:pt x="271" y="230"/>
                    </a:lnTo>
                    <a:lnTo>
                      <a:pt x="270" y="226"/>
                    </a:lnTo>
                    <a:lnTo>
                      <a:pt x="269" y="221"/>
                    </a:lnTo>
                    <a:lnTo>
                      <a:pt x="265" y="216"/>
                    </a:lnTo>
                    <a:lnTo>
                      <a:pt x="268" y="221"/>
                    </a:lnTo>
                    <a:lnTo>
                      <a:pt x="262" y="207"/>
                    </a:lnTo>
                    <a:lnTo>
                      <a:pt x="266" y="212"/>
                    </a:lnTo>
                    <a:lnTo>
                      <a:pt x="248" y="210"/>
                    </a:lnTo>
                    <a:lnTo>
                      <a:pt x="256" y="206"/>
                    </a:lnTo>
                    <a:lnTo>
                      <a:pt x="244" y="212"/>
                    </a:lnTo>
                    <a:lnTo>
                      <a:pt x="241" y="209"/>
                    </a:lnTo>
                    <a:lnTo>
                      <a:pt x="236" y="207"/>
                    </a:lnTo>
                    <a:lnTo>
                      <a:pt x="232" y="208"/>
                    </a:lnTo>
                    <a:lnTo>
                      <a:pt x="227" y="205"/>
                    </a:lnTo>
                    <a:lnTo>
                      <a:pt x="222" y="202"/>
                    </a:lnTo>
                    <a:lnTo>
                      <a:pt x="223" y="197"/>
                    </a:lnTo>
                    <a:lnTo>
                      <a:pt x="220" y="195"/>
                    </a:lnTo>
                    <a:lnTo>
                      <a:pt x="221" y="197"/>
                    </a:lnTo>
                    <a:lnTo>
                      <a:pt x="218" y="191"/>
                    </a:lnTo>
                    <a:lnTo>
                      <a:pt x="218" y="186"/>
                    </a:lnTo>
                    <a:lnTo>
                      <a:pt x="220" y="183"/>
                    </a:lnTo>
                    <a:lnTo>
                      <a:pt x="220" y="179"/>
                    </a:lnTo>
                    <a:lnTo>
                      <a:pt x="218" y="174"/>
                    </a:lnTo>
                    <a:lnTo>
                      <a:pt x="216" y="175"/>
                    </a:lnTo>
                    <a:lnTo>
                      <a:pt x="218" y="170"/>
                    </a:lnTo>
                    <a:lnTo>
                      <a:pt x="217" y="165"/>
                    </a:lnTo>
                    <a:lnTo>
                      <a:pt x="217" y="162"/>
                    </a:lnTo>
                    <a:lnTo>
                      <a:pt x="216" y="157"/>
                    </a:lnTo>
                    <a:lnTo>
                      <a:pt x="213" y="154"/>
                    </a:lnTo>
                    <a:lnTo>
                      <a:pt x="210" y="150"/>
                    </a:lnTo>
                    <a:lnTo>
                      <a:pt x="210" y="146"/>
                    </a:lnTo>
                    <a:lnTo>
                      <a:pt x="211" y="141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4" name="Freeform 43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 rot="-459984">
                <a:off x="1129125" y="4059855"/>
                <a:ext cx="89793" cy="116414"/>
              </a:xfrm>
              <a:custGeom>
                <a:avLst/>
                <a:gdLst>
                  <a:gd name="T0" fmla="*/ 2147483647 w 66"/>
                  <a:gd name="T1" fmla="*/ 2147483647 h 87"/>
                  <a:gd name="T2" fmla="*/ 2147483647 w 66"/>
                  <a:gd name="T3" fmla="*/ 2147483647 h 87"/>
                  <a:gd name="T4" fmla="*/ 2147483647 w 66"/>
                  <a:gd name="T5" fmla="*/ 2147483647 h 87"/>
                  <a:gd name="T6" fmla="*/ 2147483647 w 66"/>
                  <a:gd name="T7" fmla="*/ 2147483647 h 87"/>
                  <a:gd name="T8" fmla="*/ 2147483647 w 66"/>
                  <a:gd name="T9" fmla="*/ 0 h 87"/>
                  <a:gd name="T10" fmla="*/ 2147483647 w 66"/>
                  <a:gd name="T11" fmla="*/ 0 h 87"/>
                  <a:gd name="T12" fmla="*/ 2147483647 w 66"/>
                  <a:gd name="T13" fmla="*/ 2147483647 h 87"/>
                  <a:gd name="T14" fmla="*/ 2147483647 w 66"/>
                  <a:gd name="T15" fmla="*/ 2147483647 h 87"/>
                  <a:gd name="T16" fmla="*/ 2147483647 w 66"/>
                  <a:gd name="T17" fmla="*/ 2147483647 h 87"/>
                  <a:gd name="T18" fmla="*/ 2147483647 w 66"/>
                  <a:gd name="T19" fmla="*/ 2147483647 h 87"/>
                  <a:gd name="T20" fmla="*/ 2147483647 w 66"/>
                  <a:gd name="T21" fmla="*/ 2147483647 h 87"/>
                  <a:gd name="T22" fmla="*/ 2147483647 w 66"/>
                  <a:gd name="T23" fmla="*/ 2147483647 h 87"/>
                  <a:gd name="T24" fmla="*/ 2147483647 w 66"/>
                  <a:gd name="T25" fmla="*/ 2147483647 h 87"/>
                  <a:gd name="T26" fmla="*/ 2147483647 w 66"/>
                  <a:gd name="T27" fmla="*/ 2147483647 h 87"/>
                  <a:gd name="T28" fmla="*/ 2147483647 w 66"/>
                  <a:gd name="T29" fmla="*/ 2147483647 h 87"/>
                  <a:gd name="T30" fmla="*/ 2147483647 w 66"/>
                  <a:gd name="T31" fmla="*/ 2147483647 h 87"/>
                  <a:gd name="T32" fmla="*/ 2147483647 w 66"/>
                  <a:gd name="T33" fmla="*/ 2147483647 h 87"/>
                  <a:gd name="T34" fmla="*/ 2147483647 w 66"/>
                  <a:gd name="T35" fmla="*/ 2147483647 h 87"/>
                  <a:gd name="T36" fmla="*/ 2147483647 w 66"/>
                  <a:gd name="T37" fmla="*/ 2147483647 h 87"/>
                  <a:gd name="T38" fmla="*/ 2147483647 w 66"/>
                  <a:gd name="T39" fmla="*/ 2147483647 h 87"/>
                  <a:gd name="T40" fmla="*/ 2147483647 w 66"/>
                  <a:gd name="T41" fmla="*/ 2147483647 h 87"/>
                  <a:gd name="T42" fmla="*/ 2147483647 w 66"/>
                  <a:gd name="T43" fmla="*/ 2147483647 h 87"/>
                  <a:gd name="T44" fmla="*/ 2147483647 w 66"/>
                  <a:gd name="T45" fmla="*/ 2147483647 h 87"/>
                  <a:gd name="T46" fmla="*/ 2147483647 w 66"/>
                  <a:gd name="T47" fmla="*/ 2147483647 h 87"/>
                  <a:gd name="T48" fmla="*/ 2147483647 w 66"/>
                  <a:gd name="T49" fmla="*/ 2147483647 h 87"/>
                  <a:gd name="T50" fmla="*/ 2147483647 w 66"/>
                  <a:gd name="T51" fmla="*/ 2147483647 h 87"/>
                  <a:gd name="T52" fmla="*/ 2147483647 w 66"/>
                  <a:gd name="T53" fmla="*/ 2147483647 h 87"/>
                  <a:gd name="T54" fmla="*/ 2147483647 w 66"/>
                  <a:gd name="T55" fmla="*/ 2147483647 h 87"/>
                  <a:gd name="T56" fmla="*/ 2147483647 w 66"/>
                  <a:gd name="T57" fmla="*/ 2147483647 h 87"/>
                  <a:gd name="T58" fmla="*/ 2147483647 w 66"/>
                  <a:gd name="T59" fmla="*/ 2147483647 h 87"/>
                  <a:gd name="T60" fmla="*/ 2147483647 w 66"/>
                  <a:gd name="T61" fmla="*/ 2147483647 h 87"/>
                  <a:gd name="T62" fmla="*/ 2147483647 w 66"/>
                  <a:gd name="T63" fmla="*/ 2147483647 h 87"/>
                  <a:gd name="T64" fmla="*/ 2147483647 w 66"/>
                  <a:gd name="T65" fmla="*/ 2147483647 h 87"/>
                  <a:gd name="T66" fmla="*/ 2147483647 w 66"/>
                  <a:gd name="T67" fmla="*/ 2147483647 h 87"/>
                  <a:gd name="T68" fmla="*/ 2147483647 w 66"/>
                  <a:gd name="T69" fmla="*/ 2147483647 h 87"/>
                  <a:gd name="T70" fmla="*/ 2147483647 w 66"/>
                  <a:gd name="T71" fmla="*/ 2147483647 h 87"/>
                  <a:gd name="T72" fmla="*/ 2147483647 w 66"/>
                  <a:gd name="T73" fmla="*/ 2147483647 h 87"/>
                  <a:gd name="T74" fmla="*/ 2147483647 w 66"/>
                  <a:gd name="T75" fmla="*/ 2147483647 h 87"/>
                  <a:gd name="T76" fmla="*/ 2147483647 w 66"/>
                  <a:gd name="T77" fmla="*/ 2147483647 h 87"/>
                  <a:gd name="T78" fmla="*/ 2147483647 w 66"/>
                  <a:gd name="T79" fmla="*/ 2147483647 h 87"/>
                  <a:gd name="T80" fmla="*/ 2147483647 w 66"/>
                  <a:gd name="T81" fmla="*/ 2147483647 h 87"/>
                  <a:gd name="T82" fmla="*/ 2147483647 w 66"/>
                  <a:gd name="T83" fmla="*/ 2147483647 h 87"/>
                  <a:gd name="T84" fmla="*/ 2147483647 w 66"/>
                  <a:gd name="T85" fmla="*/ 2147483647 h 87"/>
                  <a:gd name="T86" fmla="*/ 2147483647 w 66"/>
                  <a:gd name="T87" fmla="*/ 2147483647 h 87"/>
                  <a:gd name="T88" fmla="*/ 2147483647 w 66"/>
                  <a:gd name="T89" fmla="*/ 2147483647 h 87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66"/>
                  <a:gd name="T136" fmla="*/ 0 h 87"/>
                  <a:gd name="T137" fmla="*/ 66 w 66"/>
                  <a:gd name="T138" fmla="*/ 87 h 87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66" h="87">
                    <a:moveTo>
                      <a:pt x="41" y="16"/>
                    </a:moveTo>
                    <a:lnTo>
                      <a:pt x="37" y="16"/>
                    </a:lnTo>
                    <a:lnTo>
                      <a:pt x="33" y="16"/>
                    </a:lnTo>
                    <a:lnTo>
                      <a:pt x="30" y="16"/>
                    </a:lnTo>
                    <a:lnTo>
                      <a:pt x="26" y="15"/>
                    </a:lnTo>
                    <a:lnTo>
                      <a:pt x="22" y="15"/>
                    </a:lnTo>
                    <a:lnTo>
                      <a:pt x="18" y="11"/>
                    </a:lnTo>
                    <a:lnTo>
                      <a:pt x="18" y="7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0" y="9"/>
                    </a:lnTo>
                    <a:lnTo>
                      <a:pt x="2" y="13"/>
                    </a:lnTo>
                    <a:lnTo>
                      <a:pt x="6" y="15"/>
                    </a:lnTo>
                    <a:lnTo>
                      <a:pt x="10" y="16"/>
                    </a:lnTo>
                    <a:lnTo>
                      <a:pt x="12" y="20"/>
                    </a:lnTo>
                    <a:lnTo>
                      <a:pt x="16" y="22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6" y="29"/>
                    </a:lnTo>
                    <a:lnTo>
                      <a:pt x="30" y="29"/>
                    </a:lnTo>
                    <a:lnTo>
                      <a:pt x="33" y="31"/>
                    </a:lnTo>
                    <a:lnTo>
                      <a:pt x="37" y="31"/>
                    </a:lnTo>
                    <a:lnTo>
                      <a:pt x="41" y="33"/>
                    </a:lnTo>
                    <a:lnTo>
                      <a:pt x="41" y="37"/>
                    </a:lnTo>
                    <a:lnTo>
                      <a:pt x="41" y="42"/>
                    </a:lnTo>
                    <a:lnTo>
                      <a:pt x="37" y="42"/>
                    </a:lnTo>
                    <a:lnTo>
                      <a:pt x="33" y="44"/>
                    </a:lnTo>
                    <a:lnTo>
                      <a:pt x="32" y="48"/>
                    </a:lnTo>
                    <a:lnTo>
                      <a:pt x="28" y="49"/>
                    </a:lnTo>
                    <a:lnTo>
                      <a:pt x="26" y="53"/>
                    </a:lnTo>
                    <a:lnTo>
                      <a:pt x="24" y="57"/>
                    </a:lnTo>
                    <a:lnTo>
                      <a:pt x="20" y="57"/>
                    </a:lnTo>
                    <a:lnTo>
                      <a:pt x="16" y="59"/>
                    </a:lnTo>
                    <a:lnTo>
                      <a:pt x="12" y="59"/>
                    </a:lnTo>
                    <a:lnTo>
                      <a:pt x="8" y="62"/>
                    </a:lnTo>
                    <a:lnTo>
                      <a:pt x="6" y="66"/>
                    </a:lnTo>
                    <a:lnTo>
                      <a:pt x="6" y="70"/>
                    </a:lnTo>
                    <a:lnTo>
                      <a:pt x="10" y="71"/>
                    </a:lnTo>
                    <a:lnTo>
                      <a:pt x="14" y="71"/>
                    </a:lnTo>
                    <a:lnTo>
                      <a:pt x="18" y="70"/>
                    </a:lnTo>
                    <a:lnTo>
                      <a:pt x="22" y="71"/>
                    </a:lnTo>
                    <a:lnTo>
                      <a:pt x="24" y="75"/>
                    </a:lnTo>
                    <a:lnTo>
                      <a:pt x="28" y="75"/>
                    </a:lnTo>
                    <a:lnTo>
                      <a:pt x="32" y="73"/>
                    </a:lnTo>
                    <a:lnTo>
                      <a:pt x="33" y="70"/>
                    </a:lnTo>
                    <a:lnTo>
                      <a:pt x="37" y="66"/>
                    </a:lnTo>
                    <a:lnTo>
                      <a:pt x="39" y="62"/>
                    </a:lnTo>
                    <a:lnTo>
                      <a:pt x="43" y="60"/>
                    </a:lnTo>
                    <a:lnTo>
                      <a:pt x="47" y="60"/>
                    </a:lnTo>
                    <a:lnTo>
                      <a:pt x="49" y="64"/>
                    </a:lnTo>
                    <a:lnTo>
                      <a:pt x="49" y="68"/>
                    </a:lnTo>
                    <a:lnTo>
                      <a:pt x="49" y="71"/>
                    </a:lnTo>
                    <a:lnTo>
                      <a:pt x="49" y="75"/>
                    </a:lnTo>
                    <a:lnTo>
                      <a:pt x="49" y="79"/>
                    </a:lnTo>
                    <a:lnTo>
                      <a:pt x="49" y="82"/>
                    </a:lnTo>
                    <a:lnTo>
                      <a:pt x="49" y="86"/>
                    </a:lnTo>
                    <a:lnTo>
                      <a:pt x="49" y="82"/>
                    </a:lnTo>
                    <a:lnTo>
                      <a:pt x="49" y="79"/>
                    </a:lnTo>
                    <a:lnTo>
                      <a:pt x="49" y="75"/>
                    </a:lnTo>
                    <a:lnTo>
                      <a:pt x="49" y="71"/>
                    </a:lnTo>
                    <a:lnTo>
                      <a:pt x="49" y="68"/>
                    </a:lnTo>
                    <a:lnTo>
                      <a:pt x="51" y="64"/>
                    </a:lnTo>
                    <a:lnTo>
                      <a:pt x="55" y="62"/>
                    </a:lnTo>
                    <a:lnTo>
                      <a:pt x="59" y="62"/>
                    </a:lnTo>
                    <a:lnTo>
                      <a:pt x="63" y="60"/>
                    </a:lnTo>
                    <a:lnTo>
                      <a:pt x="63" y="57"/>
                    </a:lnTo>
                    <a:lnTo>
                      <a:pt x="65" y="53"/>
                    </a:lnTo>
                    <a:lnTo>
                      <a:pt x="61" y="49"/>
                    </a:lnTo>
                    <a:lnTo>
                      <a:pt x="59" y="46"/>
                    </a:lnTo>
                    <a:lnTo>
                      <a:pt x="59" y="42"/>
                    </a:lnTo>
                    <a:lnTo>
                      <a:pt x="57" y="38"/>
                    </a:lnTo>
                    <a:lnTo>
                      <a:pt x="57" y="35"/>
                    </a:lnTo>
                    <a:lnTo>
                      <a:pt x="53" y="33"/>
                    </a:lnTo>
                    <a:lnTo>
                      <a:pt x="51" y="27"/>
                    </a:lnTo>
                    <a:lnTo>
                      <a:pt x="51" y="24"/>
                    </a:lnTo>
                    <a:lnTo>
                      <a:pt x="51" y="20"/>
                    </a:lnTo>
                    <a:lnTo>
                      <a:pt x="47" y="18"/>
                    </a:lnTo>
                    <a:lnTo>
                      <a:pt x="43" y="20"/>
                    </a:lnTo>
                    <a:lnTo>
                      <a:pt x="39" y="20"/>
                    </a:lnTo>
                    <a:lnTo>
                      <a:pt x="35" y="18"/>
                    </a:lnTo>
                    <a:lnTo>
                      <a:pt x="32" y="16"/>
                    </a:lnTo>
                    <a:lnTo>
                      <a:pt x="28" y="18"/>
                    </a:lnTo>
                    <a:lnTo>
                      <a:pt x="24" y="18"/>
                    </a:lnTo>
                    <a:lnTo>
                      <a:pt x="20" y="16"/>
                    </a:lnTo>
                    <a:lnTo>
                      <a:pt x="20" y="13"/>
                    </a:lnTo>
                    <a:lnTo>
                      <a:pt x="16" y="11"/>
                    </a:lnTo>
                    <a:lnTo>
                      <a:pt x="16" y="7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5" name="Freeform 45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 rot="-459984">
                <a:off x="1167287" y="4201879"/>
                <a:ext cx="143670" cy="114086"/>
              </a:xfrm>
              <a:custGeom>
                <a:avLst/>
                <a:gdLst>
                  <a:gd name="T0" fmla="*/ 2147483647 w 103"/>
                  <a:gd name="T1" fmla="*/ 2147483647 h 85"/>
                  <a:gd name="T2" fmla="*/ 2147483647 w 103"/>
                  <a:gd name="T3" fmla="*/ 2147483647 h 85"/>
                  <a:gd name="T4" fmla="*/ 2147483647 w 103"/>
                  <a:gd name="T5" fmla="*/ 2147483647 h 85"/>
                  <a:gd name="T6" fmla="*/ 2147483647 w 103"/>
                  <a:gd name="T7" fmla="*/ 2147483647 h 85"/>
                  <a:gd name="T8" fmla="*/ 2147483647 w 103"/>
                  <a:gd name="T9" fmla="*/ 2147483647 h 85"/>
                  <a:gd name="T10" fmla="*/ 2147483647 w 103"/>
                  <a:gd name="T11" fmla="*/ 0 h 85"/>
                  <a:gd name="T12" fmla="*/ 2147483647 w 103"/>
                  <a:gd name="T13" fmla="*/ 2147483647 h 85"/>
                  <a:gd name="T14" fmla="*/ 2147483647 w 103"/>
                  <a:gd name="T15" fmla="*/ 2147483647 h 85"/>
                  <a:gd name="T16" fmla="*/ 2147483647 w 103"/>
                  <a:gd name="T17" fmla="*/ 2147483647 h 85"/>
                  <a:gd name="T18" fmla="*/ 2147483647 w 103"/>
                  <a:gd name="T19" fmla="*/ 2147483647 h 85"/>
                  <a:gd name="T20" fmla="*/ 2147483647 w 103"/>
                  <a:gd name="T21" fmla="*/ 2147483647 h 85"/>
                  <a:gd name="T22" fmla="*/ 0 w 103"/>
                  <a:gd name="T23" fmla="*/ 2147483647 h 85"/>
                  <a:gd name="T24" fmla="*/ 0 w 103"/>
                  <a:gd name="T25" fmla="*/ 2147483647 h 85"/>
                  <a:gd name="T26" fmla="*/ 2147483647 w 103"/>
                  <a:gd name="T27" fmla="*/ 2147483647 h 85"/>
                  <a:gd name="T28" fmla="*/ 2147483647 w 103"/>
                  <a:gd name="T29" fmla="*/ 2147483647 h 85"/>
                  <a:gd name="T30" fmla="*/ 2147483647 w 103"/>
                  <a:gd name="T31" fmla="*/ 2147483647 h 85"/>
                  <a:gd name="T32" fmla="*/ 2147483647 w 103"/>
                  <a:gd name="T33" fmla="*/ 2147483647 h 85"/>
                  <a:gd name="T34" fmla="*/ 2147483647 w 103"/>
                  <a:gd name="T35" fmla="*/ 2147483647 h 85"/>
                  <a:gd name="T36" fmla="*/ 2147483647 w 103"/>
                  <a:gd name="T37" fmla="*/ 2147483647 h 85"/>
                  <a:gd name="T38" fmla="*/ 2147483647 w 103"/>
                  <a:gd name="T39" fmla="*/ 2147483647 h 85"/>
                  <a:gd name="T40" fmla="*/ 2147483647 w 103"/>
                  <a:gd name="T41" fmla="*/ 2147483647 h 85"/>
                  <a:gd name="T42" fmla="*/ 2147483647 w 103"/>
                  <a:gd name="T43" fmla="*/ 2147483647 h 85"/>
                  <a:gd name="T44" fmla="*/ 2147483647 w 103"/>
                  <a:gd name="T45" fmla="*/ 2147483647 h 85"/>
                  <a:gd name="T46" fmla="*/ 2147483647 w 103"/>
                  <a:gd name="T47" fmla="*/ 2147483647 h 85"/>
                  <a:gd name="T48" fmla="*/ 2147483647 w 103"/>
                  <a:gd name="T49" fmla="*/ 2147483647 h 85"/>
                  <a:gd name="T50" fmla="*/ 2147483647 w 103"/>
                  <a:gd name="T51" fmla="*/ 2147483647 h 85"/>
                  <a:gd name="T52" fmla="*/ 2147483647 w 103"/>
                  <a:gd name="T53" fmla="*/ 2147483647 h 85"/>
                  <a:gd name="T54" fmla="*/ 2147483647 w 103"/>
                  <a:gd name="T55" fmla="*/ 2147483647 h 85"/>
                  <a:gd name="T56" fmla="*/ 2147483647 w 103"/>
                  <a:gd name="T57" fmla="*/ 2147483647 h 85"/>
                  <a:gd name="T58" fmla="*/ 2147483647 w 103"/>
                  <a:gd name="T59" fmla="*/ 2147483647 h 85"/>
                  <a:gd name="T60" fmla="*/ 2147483647 w 103"/>
                  <a:gd name="T61" fmla="*/ 2147483647 h 85"/>
                  <a:gd name="T62" fmla="*/ 2147483647 w 103"/>
                  <a:gd name="T63" fmla="*/ 2147483647 h 85"/>
                  <a:gd name="T64" fmla="*/ 2147483647 w 103"/>
                  <a:gd name="T65" fmla="*/ 2147483647 h 85"/>
                  <a:gd name="T66" fmla="*/ 2147483647 w 103"/>
                  <a:gd name="T67" fmla="*/ 2147483647 h 85"/>
                  <a:gd name="T68" fmla="*/ 2147483647 w 103"/>
                  <a:gd name="T69" fmla="*/ 2147483647 h 85"/>
                  <a:gd name="T70" fmla="*/ 2147483647 w 103"/>
                  <a:gd name="T71" fmla="*/ 2147483647 h 85"/>
                  <a:gd name="T72" fmla="*/ 2147483647 w 103"/>
                  <a:gd name="T73" fmla="*/ 2147483647 h 85"/>
                  <a:gd name="T74" fmla="*/ 2147483647 w 103"/>
                  <a:gd name="T75" fmla="*/ 2147483647 h 85"/>
                  <a:gd name="T76" fmla="*/ 2147483647 w 103"/>
                  <a:gd name="T77" fmla="*/ 2147483647 h 85"/>
                  <a:gd name="T78" fmla="*/ 2147483647 w 103"/>
                  <a:gd name="T79" fmla="*/ 2147483647 h 85"/>
                  <a:gd name="T80" fmla="*/ 2147483647 w 103"/>
                  <a:gd name="T81" fmla="*/ 2147483647 h 85"/>
                  <a:gd name="T82" fmla="*/ 2147483647 w 103"/>
                  <a:gd name="T83" fmla="*/ 2147483647 h 85"/>
                  <a:gd name="T84" fmla="*/ 2147483647 w 103"/>
                  <a:gd name="T85" fmla="*/ 2147483647 h 8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03"/>
                  <a:gd name="T130" fmla="*/ 0 h 85"/>
                  <a:gd name="T131" fmla="*/ 103 w 103"/>
                  <a:gd name="T132" fmla="*/ 85 h 8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03" h="85">
                    <a:moveTo>
                      <a:pt x="74" y="29"/>
                    </a:moveTo>
                    <a:lnTo>
                      <a:pt x="72" y="26"/>
                    </a:lnTo>
                    <a:lnTo>
                      <a:pt x="68" y="24"/>
                    </a:lnTo>
                    <a:lnTo>
                      <a:pt x="64" y="20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50" y="15"/>
                    </a:lnTo>
                    <a:lnTo>
                      <a:pt x="46" y="11"/>
                    </a:lnTo>
                    <a:lnTo>
                      <a:pt x="46" y="7"/>
                    </a:lnTo>
                    <a:lnTo>
                      <a:pt x="44" y="4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4" y="2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2" y="5"/>
                    </a:lnTo>
                    <a:lnTo>
                      <a:pt x="18" y="7"/>
                    </a:lnTo>
                    <a:lnTo>
                      <a:pt x="14" y="7"/>
                    </a:lnTo>
                    <a:lnTo>
                      <a:pt x="10" y="7"/>
                    </a:lnTo>
                    <a:lnTo>
                      <a:pt x="6" y="7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6" y="29"/>
                    </a:lnTo>
                    <a:lnTo>
                      <a:pt x="10" y="29"/>
                    </a:lnTo>
                    <a:lnTo>
                      <a:pt x="10" y="33"/>
                    </a:lnTo>
                    <a:lnTo>
                      <a:pt x="10" y="37"/>
                    </a:lnTo>
                    <a:lnTo>
                      <a:pt x="10" y="40"/>
                    </a:lnTo>
                    <a:lnTo>
                      <a:pt x="10" y="44"/>
                    </a:lnTo>
                    <a:lnTo>
                      <a:pt x="8" y="48"/>
                    </a:lnTo>
                    <a:lnTo>
                      <a:pt x="8" y="51"/>
                    </a:lnTo>
                    <a:lnTo>
                      <a:pt x="12" y="53"/>
                    </a:lnTo>
                    <a:lnTo>
                      <a:pt x="16" y="55"/>
                    </a:lnTo>
                    <a:lnTo>
                      <a:pt x="20" y="57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6" y="66"/>
                    </a:lnTo>
                    <a:lnTo>
                      <a:pt x="30" y="69"/>
                    </a:lnTo>
                    <a:lnTo>
                      <a:pt x="34" y="71"/>
                    </a:lnTo>
                    <a:lnTo>
                      <a:pt x="38" y="75"/>
                    </a:lnTo>
                    <a:lnTo>
                      <a:pt x="40" y="79"/>
                    </a:lnTo>
                    <a:lnTo>
                      <a:pt x="44" y="80"/>
                    </a:lnTo>
                    <a:lnTo>
                      <a:pt x="46" y="84"/>
                    </a:lnTo>
                    <a:lnTo>
                      <a:pt x="50" y="84"/>
                    </a:lnTo>
                    <a:lnTo>
                      <a:pt x="52" y="80"/>
                    </a:lnTo>
                    <a:lnTo>
                      <a:pt x="54" y="77"/>
                    </a:lnTo>
                    <a:lnTo>
                      <a:pt x="58" y="73"/>
                    </a:lnTo>
                    <a:lnTo>
                      <a:pt x="62" y="73"/>
                    </a:lnTo>
                    <a:lnTo>
                      <a:pt x="66" y="71"/>
                    </a:lnTo>
                    <a:lnTo>
                      <a:pt x="70" y="71"/>
                    </a:lnTo>
                    <a:lnTo>
                      <a:pt x="74" y="73"/>
                    </a:lnTo>
                    <a:lnTo>
                      <a:pt x="78" y="71"/>
                    </a:lnTo>
                    <a:lnTo>
                      <a:pt x="80" y="68"/>
                    </a:lnTo>
                    <a:lnTo>
                      <a:pt x="84" y="68"/>
                    </a:lnTo>
                    <a:lnTo>
                      <a:pt x="90" y="68"/>
                    </a:lnTo>
                    <a:lnTo>
                      <a:pt x="96" y="68"/>
                    </a:lnTo>
                    <a:lnTo>
                      <a:pt x="96" y="64"/>
                    </a:lnTo>
                    <a:lnTo>
                      <a:pt x="96" y="60"/>
                    </a:lnTo>
                    <a:lnTo>
                      <a:pt x="96" y="57"/>
                    </a:lnTo>
                    <a:lnTo>
                      <a:pt x="94" y="53"/>
                    </a:lnTo>
                    <a:lnTo>
                      <a:pt x="90" y="51"/>
                    </a:lnTo>
                    <a:lnTo>
                      <a:pt x="86" y="51"/>
                    </a:lnTo>
                    <a:lnTo>
                      <a:pt x="86" y="48"/>
                    </a:lnTo>
                    <a:lnTo>
                      <a:pt x="86" y="44"/>
                    </a:lnTo>
                    <a:lnTo>
                      <a:pt x="90" y="42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102" y="42"/>
                    </a:lnTo>
                    <a:lnTo>
                      <a:pt x="102" y="38"/>
                    </a:lnTo>
                    <a:lnTo>
                      <a:pt x="100" y="35"/>
                    </a:lnTo>
                    <a:lnTo>
                      <a:pt x="98" y="31"/>
                    </a:lnTo>
                    <a:lnTo>
                      <a:pt x="96" y="27"/>
                    </a:lnTo>
                    <a:lnTo>
                      <a:pt x="92" y="26"/>
                    </a:lnTo>
                    <a:lnTo>
                      <a:pt x="90" y="22"/>
                    </a:lnTo>
                    <a:lnTo>
                      <a:pt x="86" y="22"/>
                    </a:lnTo>
                    <a:lnTo>
                      <a:pt x="84" y="26"/>
                    </a:lnTo>
                    <a:lnTo>
                      <a:pt x="84" y="29"/>
                    </a:lnTo>
                    <a:lnTo>
                      <a:pt x="80" y="31"/>
                    </a:lnTo>
                    <a:lnTo>
                      <a:pt x="76" y="31"/>
                    </a:lnTo>
                    <a:lnTo>
                      <a:pt x="72" y="31"/>
                    </a:lnTo>
                    <a:lnTo>
                      <a:pt x="70" y="27"/>
                    </a:lnTo>
                    <a:lnTo>
                      <a:pt x="74" y="29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6" name="Freeform 46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 rot="-459984">
                <a:off x="1277284" y="4078481"/>
                <a:ext cx="244687" cy="302676"/>
              </a:xfrm>
              <a:custGeom>
                <a:avLst/>
                <a:gdLst>
                  <a:gd name="T0" fmla="*/ 2147483647 w 175"/>
                  <a:gd name="T1" fmla="*/ 2147483647 h 226"/>
                  <a:gd name="T2" fmla="*/ 2147483647 w 175"/>
                  <a:gd name="T3" fmla="*/ 2147483647 h 226"/>
                  <a:gd name="T4" fmla="*/ 2147483647 w 175"/>
                  <a:gd name="T5" fmla="*/ 2147483647 h 226"/>
                  <a:gd name="T6" fmla="*/ 2147483647 w 175"/>
                  <a:gd name="T7" fmla="*/ 2147483647 h 226"/>
                  <a:gd name="T8" fmla="*/ 2147483647 w 175"/>
                  <a:gd name="T9" fmla="*/ 2147483647 h 226"/>
                  <a:gd name="T10" fmla="*/ 2147483647 w 175"/>
                  <a:gd name="T11" fmla="*/ 2147483647 h 226"/>
                  <a:gd name="T12" fmla="*/ 2147483647 w 175"/>
                  <a:gd name="T13" fmla="*/ 2147483647 h 226"/>
                  <a:gd name="T14" fmla="*/ 2147483647 w 175"/>
                  <a:gd name="T15" fmla="*/ 0 h 226"/>
                  <a:gd name="T16" fmla="*/ 2147483647 w 175"/>
                  <a:gd name="T17" fmla="*/ 0 h 226"/>
                  <a:gd name="T18" fmla="*/ 2147483647 w 175"/>
                  <a:gd name="T19" fmla="*/ 2147483647 h 226"/>
                  <a:gd name="T20" fmla="*/ 2147483647 w 175"/>
                  <a:gd name="T21" fmla="*/ 2147483647 h 226"/>
                  <a:gd name="T22" fmla="*/ 2147483647 w 175"/>
                  <a:gd name="T23" fmla="*/ 2147483647 h 226"/>
                  <a:gd name="T24" fmla="*/ 2147483647 w 175"/>
                  <a:gd name="T25" fmla="*/ 2147483647 h 226"/>
                  <a:gd name="T26" fmla="*/ 2147483647 w 175"/>
                  <a:gd name="T27" fmla="*/ 2147483647 h 226"/>
                  <a:gd name="T28" fmla="*/ 2147483647 w 175"/>
                  <a:gd name="T29" fmla="*/ 2147483647 h 226"/>
                  <a:gd name="T30" fmla="*/ 2147483647 w 175"/>
                  <a:gd name="T31" fmla="*/ 2147483647 h 226"/>
                  <a:gd name="T32" fmla="*/ 2147483647 w 175"/>
                  <a:gd name="T33" fmla="*/ 2147483647 h 226"/>
                  <a:gd name="T34" fmla="*/ 2147483647 w 175"/>
                  <a:gd name="T35" fmla="*/ 2147483647 h 226"/>
                  <a:gd name="T36" fmla="*/ 0 w 175"/>
                  <a:gd name="T37" fmla="*/ 2147483647 h 226"/>
                  <a:gd name="T38" fmla="*/ 2147483647 w 175"/>
                  <a:gd name="T39" fmla="*/ 2147483647 h 226"/>
                  <a:gd name="T40" fmla="*/ 2147483647 w 175"/>
                  <a:gd name="T41" fmla="*/ 2147483647 h 226"/>
                  <a:gd name="T42" fmla="*/ 2147483647 w 175"/>
                  <a:gd name="T43" fmla="*/ 2147483647 h 226"/>
                  <a:gd name="T44" fmla="*/ 2147483647 w 175"/>
                  <a:gd name="T45" fmla="*/ 2147483647 h 226"/>
                  <a:gd name="T46" fmla="*/ 2147483647 w 175"/>
                  <a:gd name="T47" fmla="*/ 2147483647 h 226"/>
                  <a:gd name="T48" fmla="*/ 2147483647 w 175"/>
                  <a:gd name="T49" fmla="*/ 2147483647 h 226"/>
                  <a:gd name="T50" fmla="*/ 2147483647 w 175"/>
                  <a:gd name="T51" fmla="*/ 2147483647 h 226"/>
                  <a:gd name="T52" fmla="*/ 2147483647 w 175"/>
                  <a:gd name="T53" fmla="*/ 2147483647 h 226"/>
                  <a:gd name="T54" fmla="*/ 2147483647 w 175"/>
                  <a:gd name="T55" fmla="*/ 2147483647 h 226"/>
                  <a:gd name="T56" fmla="*/ 2147483647 w 175"/>
                  <a:gd name="T57" fmla="*/ 2147483647 h 226"/>
                  <a:gd name="T58" fmla="*/ 2147483647 w 175"/>
                  <a:gd name="T59" fmla="*/ 2147483647 h 226"/>
                  <a:gd name="T60" fmla="*/ 2147483647 w 175"/>
                  <a:gd name="T61" fmla="*/ 2147483647 h 226"/>
                  <a:gd name="T62" fmla="*/ 2147483647 w 175"/>
                  <a:gd name="T63" fmla="*/ 2147483647 h 226"/>
                  <a:gd name="T64" fmla="*/ 2147483647 w 175"/>
                  <a:gd name="T65" fmla="*/ 2147483647 h 226"/>
                  <a:gd name="T66" fmla="*/ 2147483647 w 175"/>
                  <a:gd name="T67" fmla="*/ 2147483647 h 226"/>
                  <a:gd name="T68" fmla="*/ 2147483647 w 175"/>
                  <a:gd name="T69" fmla="*/ 2147483647 h 226"/>
                  <a:gd name="T70" fmla="*/ 2147483647 w 175"/>
                  <a:gd name="T71" fmla="*/ 2147483647 h 226"/>
                  <a:gd name="T72" fmla="*/ 2147483647 w 175"/>
                  <a:gd name="T73" fmla="*/ 2147483647 h 226"/>
                  <a:gd name="T74" fmla="*/ 2147483647 w 175"/>
                  <a:gd name="T75" fmla="*/ 2147483647 h 226"/>
                  <a:gd name="T76" fmla="*/ 2147483647 w 175"/>
                  <a:gd name="T77" fmla="*/ 2147483647 h 226"/>
                  <a:gd name="T78" fmla="*/ 2147483647 w 175"/>
                  <a:gd name="T79" fmla="*/ 2147483647 h 226"/>
                  <a:gd name="T80" fmla="*/ 2147483647 w 175"/>
                  <a:gd name="T81" fmla="*/ 2147483647 h 226"/>
                  <a:gd name="T82" fmla="*/ 2147483647 w 175"/>
                  <a:gd name="T83" fmla="*/ 2147483647 h 226"/>
                  <a:gd name="T84" fmla="*/ 2147483647 w 175"/>
                  <a:gd name="T85" fmla="*/ 2147483647 h 226"/>
                  <a:gd name="T86" fmla="*/ 2147483647 w 175"/>
                  <a:gd name="T87" fmla="*/ 2147483647 h 226"/>
                  <a:gd name="T88" fmla="*/ 2147483647 w 175"/>
                  <a:gd name="T89" fmla="*/ 2147483647 h 226"/>
                  <a:gd name="T90" fmla="*/ 2147483647 w 175"/>
                  <a:gd name="T91" fmla="*/ 2147483647 h 226"/>
                  <a:gd name="T92" fmla="*/ 2147483647 w 175"/>
                  <a:gd name="T93" fmla="*/ 2147483647 h 226"/>
                  <a:gd name="T94" fmla="*/ 2147483647 w 175"/>
                  <a:gd name="T95" fmla="*/ 2147483647 h 226"/>
                  <a:gd name="T96" fmla="*/ 2147483647 w 175"/>
                  <a:gd name="T97" fmla="*/ 2147483647 h 226"/>
                  <a:gd name="T98" fmla="*/ 2147483647 w 175"/>
                  <a:gd name="T99" fmla="*/ 2147483647 h 226"/>
                  <a:gd name="T100" fmla="*/ 2147483647 w 175"/>
                  <a:gd name="T101" fmla="*/ 2147483647 h 226"/>
                  <a:gd name="T102" fmla="*/ 2147483647 w 175"/>
                  <a:gd name="T103" fmla="*/ 2147483647 h 226"/>
                  <a:gd name="T104" fmla="*/ 2147483647 w 175"/>
                  <a:gd name="T105" fmla="*/ 2147483647 h 226"/>
                  <a:gd name="T106" fmla="*/ 2147483647 w 175"/>
                  <a:gd name="T107" fmla="*/ 2147483647 h 226"/>
                  <a:gd name="T108" fmla="*/ 2147483647 w 175"/>
                  <a:gd name="T109" fmla="*/ 2147483647 h 226"/>
                  <a:gd name="T110" fmla="*/ 2147483647 w 175"/>
                  <a:gd name="T111" fmla="*/ 2147483647 h 226"/>
                  <a:gd name="T112" fmla="*/ 2147483647 w 175"/>
                  <a:gd name="T113" fmla="*/ 2147483647 h 226"/>
                  <a:gd name="T114" fmla="*/ 2147483647 w 175"/>
                  <a:gd name="T115" fmla="*/ 2147483647 h 226"/>
                  <a:gd name="T116" fmla="*/ 2147483647 w 175"/>
                  <a:gd name="T117" fmla="*/ 2147483647 h 226"/>
                  <a:gd name="T118" fmla="*/ 2147483647 w 175"/>
                  <a:gd name="T119" fmla="*/ 2147483647 h 226"/>
                  <a:gd name="T120" fmla="*/ 2147483647 w 175"/>
                  <a:gd name="T121" fmla="*/ 2147483647 h 226"/>
                  <a:gd name="T122" fmla="*/ 2147483647 w 175"/>
                  <a:gd name="T123" fmla="*/ 2147483647 h 22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75"/>
                  <a:gd name="T187" fmla="*/ 0 h 226"/>
                  <a:gd name="T188" fmla="*/ 175 w 175"/>
                  <a:gd name="T189" fmla="*/ 226 h 22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75" h="226">
                    <a:moveTo>
                      <a:pt x="138" y="40"/>
                    </a:moveTo>
                    <a:lnTo>
                      <a:pt x="138" y="37"/>
                    </a:lnTo>
                    <a:lnTo>
                      <a:pt x="136" y="31"/>
                    </a:lnTo>
                    <a:lnTo>
                      <a:pt x="136" y="27"/>
                    </a:lnTo>
                    <a:lnTo>
                      <a:pt x="136" y="24"/>
                    </a:lnTo>
                    <a:lnTo>
                      <a:pt x="134" y="20"/>
                    </a:lnTo>
                    <a:lnTo>
                      <a:pt x="132" y="16"/>
                    </a:lnTo>
                    <a:lnTo>
                      <a:pt x="131" y="13"/>
                    </a:lnTo>
                    <a:lnTo>
                      <a:pt x="127" y="11"/>
                    </a:lnTo>
                    <a:lnTo>
                      <a:pt x="123" y="9"/>
                    </a:lnTo>
                    <a:lnTo>
                      <a:pt x="117" y="7"/>
                    </a:lnTo>
                    <a:lnTo>
                      <a:pt x="113" y="7"/>
                    </a:lnTo>
                    <a:lnTo>
                      <a:pt x="109" y="9"/>
                    </a:lnTo>
                    <a:lnTo>
                      <a:pt x="105" y="13"/>
                    </a:lnTo>
                    <a:lnTo>
                      <a:pt x="101" y="13"/>
                    </a:lnTo>
                    <a:lnTo>
                      <a:pt x="97" y="13"/>
                    </a:lnTo>
                    <a:lnTo>
                      <a:pt x="93" y="13"/>
                    </a:lnTo>
                    <a:lnTo>
                      <a:pt x="89" y="13"/>
                    </a:lnTo>
                    <a:lnTo>
                      <a:pt x="85" y="13"/>
                    </a:lnTo>
                    <a:lnTo>
                      <a:pt x="81" y="11"/>
                    </a:lnTo>
                    <a:lnTo>
                      <a:pt x="77" y="9"/>
                    </a:lnTo>
                    <a:lnTo>
                      <a:pt x="73" y="7"/>
                    </a:lnTo>
                    <a:lnTo>
                      <a:pt x="69" y="4"/>
                    </a:lnTo>
                    <a:lnTo>
                      <a:pt x="65" y="0"/>
                    </a:lnTo>
                    <a:lnTo>
                      <a:pt x="61" y="0"/>
                    </a:lnTo>
                    <a:lnTo>
                      <a:pt x="57" y="0"/>
                    </a:lnTo>
                    <a:lnTo>
                      <a:pt x="53" y="0"/>
                    </a:lnTo>
                    <a:lnTo>
                      <a:pt x="49" y="2"/>
                    </a:lnTo>
                    <a:lnTo>
                      <a:pt x="45" y="2"/>
                    </a:lnTo>
                    <a:lnTo>
                      <a:pt x="42" y="2"/>
                    </a:lnTo>
                    <a:lnTo>
                      <a:pt x="38" y="2"/>
                    </a:lnTo>
                    <a:lnTo>
                      <a:pt x="34" y="4"/>
                    </a:lnTo>
                    <a:lnTo>
                      <a:pt x="30" y="4"/>
                    </a:lnTo>
                    <a:lnTo>
                      <a:pt x="28" y="7"/>
                    </a:lnTo>
                    <a:lnTo>
                      <a:pt x="24" y="9"/>
                    </a:lnTo>
                    <a:lnTo>
                      <a:pt x="22" y="13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4" y="27"/>
                    </a:lnTo>
                    <a:lnTo>
                      <a:pt x="24" y="31"/>
                    </a:lnTo>
                    <a:lnTo>
                      <a:pt x="24" y="35"/>
                    </a:lnTo>
                    <a:lnTo>
                      <a:pt x="24" y="38"/>
                    </a:lnTo>
                    <a:lnTo>
                      <a:pt x="26" y="42"/>
                    </a:lnTo>
                    <a:lnTo>
                      <a:pt x="24" y="46"/>
                    </a:lnTo>
                    <a:lnTo>
                      <a:pt x="22" y="49"/>
                    </a:lnTo>
                    <a:lnTo>
                      <a:pt x="22" y="53"/>
                    </a:lnTo>
                    <a:lnTo>
                      <a:pt x="22" y="57"/>
                    </a:lnTo>
                    <a:lnTo>
                      <a:pt x="22" y="60"/>
                    </a:lnTo>
                    <a:lnTo>
                      <a:pt x="20" y="64"/>
                    </a:lnTo>
                    <a:lnTo>
                      <a:pt x="16" y="66"/>
                    </a:lnTo>
                    <a:lnTo>
                      <a:pt x="12" y="68"/>
                    </a:lnTo>
                    <a:lnTo>
                      <a:pt x="8" y="70"/>
                    </a:lnTo>
                    <a:lnTo>
                      <a:pt x="4" y="70"/>
                    </a:lnTo>
                    <a:lnTo>
                      <a:pt x="2" y="73"/>
                    </a:lnTo>
                    <a:lnTo>
                      <a:pt x="0" y="77"/>
                    </a:lnTo>
                    <a:lnTo>
                      <a:pt x="0" y="81"/>
                    </a:lnTo>
                    <a:lnTo>
                      <a:pt x="0" y="86"/>
                    </a:lnTo>
                    <a:lnTo>
                      <a:pt x="4" y="90"/>
                    </a:lnTo>
                    <a:lnTo>
                      <a:pt x="6" y="93"/>
                    </a:lnTo>
                    <a:lnTo>
                      <a:pt x="6" y="97"/>
                    </a:lnTo>
                    <a:lnTo>
                      <a:pt x="6" y="101"/>
                    </a:lnTo>
                    <a:lnTo>
                      <a:pt x="6" y="104"/>
                    </a:lnTo>
                    <a:lnTo>
                      <a:pt x="6" y="108"/>
                    </a:lnTo>
                    <a:lnTo>
                      <a:pt x="6" y="112"/>
                    </a:lnTo>
                    <a:lnTo>
                      <a:pt x="8" y="117"/>
                    </a:lnTo>
                    <a:lnTo>
                      <a:pt x="10" y="121"/>
                    </a:lnTo>
                    <a:lnTo>
                      <a:pt x="12" y="124"/>
                    </a:lnTo>
                    <a:lnTo>
                      <a:pt x="16" y="126"/>
                    </a:lnTo>
                    <a:lnTo>
                      <a:pt x="16" y="130"/>
                    </a:lnTo>
                    <a:lnTo>
                      <a:pt x="16" y="134"/>
                    </a:lnTo>
                    <a:lnTo>
                      <a:pt x="16" y="137"/>
                    </a:lnTo>
                    <a:lnTo>
                      <a:pt x="16" y="141"/>
                    </a:lnTo>
                    <a:lnTo>
                      <a:pt x="16" y="145"/>
                    </a:lnTo>
                    <a:lnTo>
                      <a:pt x="18" y="148"/>
                    </a:lnTo>
                    <a:lnTo>
                      <a:pt x="22" y="148"/>
                    </a:lnTo>
                    <a:lnTo>
                      <a:pt x="26" y="150"/>
                    </a:lnTo>
                    <a:lnTo>
                      <a:pt x="30" y="152"/>
                    </a:lnTo>
                    <a:lnTo>
                      <a:pt x="30" y="156"/>
                    </a:lnTo>
                    <a:lnTo>
                      <a:pt x="30" y="159"/>
                    </a:lnTo>
                    <a:lnTo>
                      <a:pt x="34" y="161"/>
                    </a:lnTo>
                    <a:lnTo>
                      <a:pt x="38" y="163"/>
                    </a:lnTo>
                    <a:lnTo>
                      <a:pt x="40" y="167"/>
                    </a:lnTo>
                    <a:lnTo>
                      <a:pt x="44" y="168"/>
                    </a:lnTo>
                    <a:lnTo>
                      <a:pt x="47" y="168"/>
                    </a:lnTo>
                    <a:lnTo>
                      <a:pt x="51" y="168"/>
                    </a:lnTo>
                    <a:lnTo>
                      <a:pt x="55" y="168"/>
                    </a:lnTo>
                    <a:lnTo>
                      <a:pt x="59" y="170"/>
                    </a:lnTo>
                    <a:lnTo>
                      <a:pt x="63" y="172"/>
                    </a:lnTo>
                    <a:lnTo>
                      <a:pt x="63" y="176"/>
                    </a:lnTo>
                    <a:lnTo>
                      <a:pt x="67" y="178"/>
                    </a:lnTo>
                    <a:lnTo>
                      <a:pt x="69" y="181"/>
                    </a:lnTo>
                    <a:lnTo>
                      <a:pt x="73" y="183"/>
                    </a:lnTo>
                    <a:lnTo>
                      <a:pt x="77" y="183"/>
                    </a:lnTo>
                    <a:lnTo>
                      <a:pt x="77" y="187"/>
                    </a:lnTo>
                    <a:lnTo>
                      <a:pt x="73" y="188"/>
                    </a:lnTo>
                    <a:lnTo>
                      <a:pt x="71" y="192"/>
                    </a:lnTo>
                    <a:lnTo>
                      <a:pt x="69" y="196"/>
                    </a:lnTo>
                    <a:lnTo>
                      <a:pt x="67" y="199"/>
                    </a:lnTo>
                    <a:lnTo>
                      <a:pt x="65" y="203"/>
                    </a:lnTo>
                    <a:lnTo>
                      <a:pt x="61" y="205"/>
                    </a:lnTo>
                    <a:lnTo>
                      <a:pt x="59" y="209"/>
                    </a:lnTo>
                    <a:lnTo>
                      <a:pt x="57" y="212"/>
                    </a:lnTo>
                    <a:lnTo>
                      <a:pt x="63" y="212"/>
                    </a:lnTo>
                    <a:lnTo>
                      <a:pt x="67" y="214"/>
                    </a:lnTo>
                    <a:lnTo>
                      <a:pt x="71" y="214"/>
                    </a:lnTo>
                    <a:lnTo>
                      <a:pt x="75" y="214"/>
                    </a:lnTo>
                    <a:lnTo>
                      <a:pt x="79" y="214"/>
                    </a:lnTo>
                    <a:lnTo>
                      <a:pt x="83" y="214"/>
                    </a:lnTo>
                    <a:lnTo>
                      <a:pt x="85" y="218"/>
                    </a:lnTo>
                    <a:lnTo>
                      <a:pt x="89" y="218"/>
                    </a:lnTo>
                    <a:lnTo>
                      <a:pt x="91" y="214"/>
                    </a:lnTo>
                    <a:lnTo>
                      <a:pt x="93" y="210"/>
                    </a:lnTo>
                    <a:lnTo>
                      <a:pt x="97" y="207"/>
                    </a:lnTo>
                    <a:lnTo>
                      <a:pt x="99" y="212"/>
                    </a:lnTo>
                    <a:lnTo>
                      <a:pt x="101" y="218"/>
                    </a:lnTo>
                    <a:lnTo>
                      <a:pt x="105" y="221"/>
                    </a:lnTo>
                    <a:lnTo>
                      <a:pt x="109" y="225"/>
                    </a:lnTo>
                    <a:lnTo>
                      <a:pt x="113" y="225"/>
                    </a:lnTo>
                    <a:lnTo>
                      <a:pt x="117" y="223"/>
                    </a:lnTo>
                    <a:lnTo>
                      <a:pt x="119" y="220"/>
                    </a:lnTo>
                    <a:lnTo>
                      <a:pt x="119" y="216"/>
                    </a:lnTo>
                    <a:lnTo>
                      <a:pt x="119" y="212"/>
                    </a:lnTo>
                    <a:lnTo>
                      <a:pt x="121" y="209"/>
                    </a:lnTo>
                    <a:lnTo>
                      <a:pt x="121" y="205"/>
                    </a:lnTo>
                    <a:lnTo>
                      <a:pt x="117" y="201"/>
                    </a:lnTo>
                    <a:lnTo>
                      <a:pt x="113" y="199"/>
                    </a:lnTo>
                    <a:lnTo>
                      <a:pt x="113" y="196"/>
                    </a:lnTo>
                    <a:lnTo>
                      <a:pt x="117" y="198"/>
                    </a:lnTo>
                    <a:lnTo>
                      <a:pt x="121" y="198"/>
                    </a:lnTo>
                    <a:lnTo>
                      <a:pt x="125" y="199"/>
                    </a:lnTo>
                    <a:lnTo>
                      <a:pt x="129" y="198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32" y="190"/>
                    </a:lnTo>
                    <a:lnTo>
                      <a:pt x="136" y="187"/>
                    </a:lnTo>
                    <a:lnTo>
                      <a:pt x="140" y="185"/>
                    </a:lnTo>
                    <a:lnTo>
                      <a:pt x="144" y="185"/>
                    </a:lnTo>
                    <a:lnTo>
                      <a:pt x="148" y="187"/>
                    </a:lnTo>
                    <a:lnTo>
                      <a:pt x="152" y="187"/>
                    </a:lnTo>
                    <a:lnTo>
                      <a:pt x="156" y="187"/>
                    </a:lnTo>
                    <a:lnTo>
                      <a:pt x="160" y="185"/>
                    </a:lnTo>
                    <a:lnTo>
                      <a:pt x="164" y="185"/>
                    </a:lnTo>
                    <a:lnTo>
                      <a:pt x="166" y="181"/>
                    </a:lnTo>
                    <a:lnTo>
                      <a:pt x="170" y="181"/>
                    </a:lnTo>
                    <a:lnTo>
                      <a:pt x="174" y="179"/>
                    </a:lnTo>
                    <a:lnTo>
                      <a:pt x="174" y="174"/>
                    </a:lnTo>
                    <a:lnTo>
                      <a:pt x="172" y="170"/>
                    </a:lnTo>
                    <a:lnTo>
                      <a:pt x="172" y="165"/>
                    </a:lnTo>
                    <a:lnTo>
                      <a:pt x="168" y="163"/>
                    </a:lnTo>
                    <a:lnTo>
                      <a:pt x="166" y="159"/>
                    </a:lnTo>
                    <a:lnTo>
                      <a:pt x="164" y="156"/>
                    </a:lnTo>
                    <a:lnTo>
                      <a:pt x="164" y="152"/>
                    </a:lnTo>
                    <a:lnTo>
                      <a:pt x="164" y="148"/>
                    </a:lnTo>
                    <a:lnTo>
                      <a:pt x="164" y="145"/>
                    </a:lnTo>
                    <a:lnTo>
                      <a:pt x="164" y="141"/>
                    </a:lnTo>
                    <a:lnTo>
                      <a:pt x="166" y="135"/>
                    </a:lnTo>
                    <a:lnTo>
                      <a:pt x="168" y="132"/>
                    </a:lnTo>
                    <a:lnTo>
                      <a:pt x="166" y="128"/>
                    </a:lnTo>
                    <a:lnTo>
                      <a:pt x="166" y="124"/>
                    </a:lnTo>
                    <a:lnTo>
                      <a:pt x="164" y="121"/>
                    </a:lnTo>
                    <a:lnTo>
                      <a:pt x="160" y="119"/>
                    </a:lnTo>
                    <a:lnTo>
                      <a:pt x="156" y="119"/>
                    </a:lnTo>
                    <a:lnTo>
                      <a:pt x="152" y="117"/>
                    </a:lnTo>
                    <a:lnTo>
                      <a:pt x="150" y="113"/>
                    </a:lnTo>
                    <a:lnTo>
                      <a:pt x="150" y="108"/>
                    </a:lnTo>
                    <a:lnTo>
                      <a:pt x="150" y="102"/>
                    </a:lnTo>
                    <a:lnTo>
                      <a:pt x="152" y="97"/>
                    </a:lnTo>
                    <a:lnTo>
                      <a:pt x="154" y="93"/>
                    </a:lnTo>
                    <a:lnTo>
                      <a:pt x="154" y="90"/>
                    </a:lnTo>
                    <a:lnTo>
                      <a:pt x="150" y="86"/>
                    </a:lnTo>
                    <a:lnTo>
                      <a:pt x="148" y="82"/>
                    </a:lnTo>
                    <a:lnTo>
                      <a:pt x="148" y="79"/>
                    </a:lnTo>
                    <a:lnTo>
                      <a:pt x="148" y="75"/>
                    </a:lnTo>
                    <a:lnTo>
                      <a:pt x="146" y="71"/>
                    </a:lnTo>
                    <a:lnTo>
                      <a:pt x="142" y="70"/>
                    </a:lnTo>
                    <a:lnTo>
                      <a:pt x="138" y="68"/>
                    </a:lnTo>
                    <a:lnTo>
                      <a:pt x="136" y="64"/>
                    </a:lnTo>
                    <a:lnTo>
                      <a:pt x="136" y="60"/>
                    </a:lnTo>
                    <a:lnTo>
                      <a:pt x="138" y="57"/>
                    </a:lnTo>
                    <a:lnTo>
                      <a:pt x="142" y="53"/>
                    </a:lnTo>
                    <a:lnTo>
                      <a:pt x="144" y="49"/>
                    </a:lnTo>
                    <a:lnTo>
                      <a:pt x="144" y="46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38" y="40"/>
                    </a:lnTo>
                    <a:lnTo>
                      <a:pt x="136" y="37"/>
                    </a:lnTo>
                    <a:lnTo>
                      <a:pt x="138" y="4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7" name="Freeform 47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 rot="-459984">
                <a:off x="1239121" y="4278713"/>
                <a:ext cx="148159" cy="97788"/>
              </a:xfrm>
              <a:custGeom>
                <a:avLst/>
                <a:gdLst>
                  <a:gd name="T0" fmla="*/ 2147483647 w 105"/>
                  <a:gd name="T1" fmla="*/ 2147483647 h 72"/>
                  <a:gd name="T2" fmla="*/ 2147483647 w 105"/>
                  <a:gd name="T3" fmla="*/ 2147483647 h 72"/>
                  <a:gd name="T4" fmla="*/ 2147483647 w 105"/>
                  <a:gd name="T5" fmla="*/ 2147483647 h 72"/>
                  <a:gd name="T6" fmla="*/ 2147483647 w 105"/>
                  <a:gd name="T7" fmla="*/ 2147483647 h 72"/>
                  <a:gd name="T8" fmla="*/ 2147483647 w 105"/>
                  <a:gd name="T9" fmla="*/ 2147483647 h 72"/>
                  <a:gd name="T10" fmla="*/ 2147483647 w 105"/>
                  <a:gd name="T11" fmla="*/ 2147483647 h 72"/>
                  <a:gd name="T12" fmla="*/ 2147483647 w 105"/>
                  <a:gd name="T13" fmla="*/ 0 h 72"/>
                  <a:gd name="T14" fmla="*/ 2147483647 w 105"/>
                  <a:gd name="T15" fmla="*/ 2147483647 h 72"/>
                  <a:gd name="T16" fmla="*/ 2147483647 w 105"/>
                  <a:gd name="T17" fmla="*/ 2147483647 h 72"/>
                  <a:gd name="T18" fmla="*/ 2147483647 w 105"/>
                  <a:gd name="T19" fmla="*/ 2147483647 h 72"/>
                  <a:gd name="T20" fmla="*/ 2147483647 w 105"/>
                  <a:gd name="T21" fmla="*/ 2147483647 h 72"/>
                  <a:gd name="T22" fmla="*/ 2147483647 w 105"/>
                  <a:gd name="T23" fmla="*/ 2147483647 h 72"/>
                  <a:gd name="T24" fmla="*/ 2147483647 w 105"/>
                  <a:gd name="T25" fmla="*/ 2147483647 h 72"/>
                  <a:gd name="T26" fmla="*/ 2147483647 w 105"/>
                  <a:gd name="T27" fmla="*/ 2147483647 h 72"/>
                  <a:gd name="T28" fmla="*/ 2147483647 w 105"/>
                  <a:gd name="T29" fmla="*/ 2147483647 h 72"/>
                  <a:gd name="T30" fmla="*/ 2147483647 w 105"/>
                  <a:gd name="T31" fmla="*/ 2147483647 h 72"/>
                  <a:gd name="T32" fmla="*/ 2147483647 w 105"/>
                  <a:gd name="T33" fmla="*/ 2147483647 h 72"/>
                  <a:gd name="T34" fmla="*/ 2147483647 w 105"/>
                  <a:gd name="T35" fmla="*/ 2147483647 h 72"/>
                  <a:gd name="T36" fmla="*/ 2147483647 w 105"/>
                  <a:gd name="T37" fmla="*/ 2147483647 h 72"/>
                  <a:gd name="T38" fmla="*/ 2147483647 w 105"/>
                  <a:gd name="T39" fmla="*/ 2147483647 h 72"/>
                  <a:gd name="T40" fmla="*/ 2147483647 w 105"/>
                  <a:gd name="T41" fmla="*/ 2147483647 h 72"/>
                  <a:gd name="T42" fmla="*/ 2147483647 w 105"/>
                  <a:gd name="T43" fmla="*/ 2147483647 h 72"/>
                  <a:gd name="T44" fmla="*/ 2147483647 w 105"/>
                  <a:gd name="T45" fmla="*/ 2147483647 h 72"/>
                  <a:gd name="T46" fmla="*/ 2147483647 w 105"/>
                  <a:gd name="T47" fmla="*/ 2147483647 h 72"/>
                  <a:gd name="T48" fmla="*/ 2147483647 w 105"/>
                  <a:gd name="T49" fmla="*/ 2147483647 h 72"/>
                  <a:gd name="T50" fmla="*/ 2147483647 w 105"/>
                  <a:gd name="T51" fmla="*/ 2147483647 h 72"/>
                  <a:gd name="T52" fmla="*/ 2147483647 w 105"/>
                  <a:gd name="T53" fmla="*/ 2147483647 h 72"/>
                  <a:gd name="T54" fmla="*/ 2147483647 w 105"/>
                  <a:gd name="T55" fmla="*/ 2147483647 h 72"/>
                  <a:gd name="T56" fmla="*/ 2147483647 w 105"/>
                  <a:gd name="T57" fmla="*/ 2147483647 h 72"/>
                  <a:gd name="T58" fmla="*/ 2147483647 w 105"/>
                  <a:gd name="T59" fmla="*/ 2147483647 h 72"/>
                  <a:gd name="T60" fmla="*/ 2147483647 w 105"/>
                  <a:gd name="T61" fmla="*/ 2147483647 h 72"/>
                  <a:gd name="T62" fmla="*/ 2147483647 w 105"/>
                  <a:gd name="T63" fmla="*/ 2147483647 h 72"/>
                  <a:gd name="T64" fmla="*/ 2147483647 w 105"/>
                  <a:gd name="T65" fmla="*/ 2147483647 h 72"/>
                  <a:gd name="T66" fmla="*/ 2147483647 w 105"/>
                  <a:gd name="T67" fmla="*/ 2147483647 h 72"/>
                  <a:gd name="T68" fmla="*/ 2147483647 w 105"/>
                  <a:gd name="T69" fmla="*/ 2147483647 h 72"/>
                  <a:gd name="T70" fmla="*/ 2147483647 w 105"/>
                  <a:gd name="T71" fmla="*/ 2147483647 h 72"/>
                  <a:gd name="T72" fmla="*/ 2147483647 w 105"/>
                  <a:gd name="T73" fmla="*/ 2147483647 h 72"/>
                  <a:gd name="T74" fmla="*/ 2147483647 w 105"/>
                  <a:gd name="T75" fmla="*/ 2147483647 h 7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05"/>
                  <a:gd name="T115" fmla="*/ 0 h 72"/>
                  <a:gd name="T116" fmla="*/ 105 w 105"/>
                  <a:gd name="T117" fmla="*/ 72 h 7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05" h="72">
                    <a:moveTo>
                      <a:pt x="82" y="26"/>
                    </a:moveTo>
                    <a:lnTo>
                      <a:pt x="79" y="26"/>
                    </a:lnTo>
                    <a:lnTo>
                      <a:pt x="77" y="22"/>
                    </a:lnTo>
                    <a:lnTo>
                      <a:pt x="73" y="20"/>
                    </a:lnTo>
                    <a:lnTo>
                      <a:pt x="73" y="16"/>
                    </a:lnTo>
                    <a:lnTo>
                      <a:pt x="71" y="13"/>
                    </a:lnTo>
                    <a:lnTo>
                      <a:pt x="67" y="11"/>
                    </a:lnTo>
                    <a:lnTo>
                      <a:pt x="63" y="9"/>
                    </a:lnTo>
                    <a:lnTo>
                      <a:pt x="59" y="5"/>
                    </a:lnTo>
                    <a:lnTo>
                      <a:pt x="55" y="4"/>
                    </a:lnTo>
                    <a:lnTo>
                      <a:pt x="51" y="2"/>
                    </a:lnTo>
                    <a:lnTo>
                      <a:pt x="47" y="2"/>
                    </a:lnTo>
                    <a:lnTo>
                      <a:pt x="43" y="0"/>
                    </a:lnTo>
                    <a:lnTo>
                      <a:pt x="39" y="0"/>
                    </a:lnTo>
                    <a:lnTo>
                      <a:pt x="35" y="2"/>
                    </a:lnTo>
                    <a:lnTo>
                      <a:pt x="31" y="7"/>
                    </a:lnTo>
                    <a:lnTo>
                      <a:pt x="27" y="9"/>
                    </a:lnTo>
                    <a:lnTo>
                      <a:pt x="26" y="13"/>
                    </a:lnTo>
                    <a:lnTo>
                      <a:pt x="22" y="13"/>
                    </a:lnTo>
                    <a:lnTo>
                      <a:pt x="18" y="13"/>
                    </a:lnTo>
                    <a:lnTo>
                      <a:pt x="14" y="13"/>
                    </a:lnTo>
                    <a:lnTo>
                      <a:pt x="10" y="13"/>
                    </a:lnTo>
                    <a:lnTo>
                      <a:pt x="6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2" y="27"/>
                    </a:lnTo>
                    <a:lnTo>
                      <a:pt x="6" y="29"/>
                    </a:lnTo>
                    <a:lnTo>
                      <a:pt x="10" y="31"/>
                    </a:lnTo>
                    <a:lnTo>
                      <a:pt x="14" y="35"/>
                    </a:lnTo>
                    <a:lnTo>
                      <a:pt x="14" y="38"/>
                    </a:lnTo>
                    <a:lnTo>
                      <a:pt x="16" y="42"/>
                    </a:lnTo>
                    <a:lnTo>
                      <a:pt x="16" y="47"/>
                    </a:lnTo>
                    <a:lnTo>
                      <a:pt x="14" y="51"/>
                    </a:lnTo>
                    <a:lnTo>
                      <a:pt x="14" y="57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6" y="67"/>
                    </a:lnTo>
                    <a:lnTo>
                      <a:pt x="20" y="67"/>
                    </a:lnTo>
                    <a:lnTo>
                      <a:pt x="24" y="67"/>
                    </a:lnTo>
                    <a:lnTo>
                      <a:pt x="27" y="66"/>
                    </a:lnTo>
                    <a:lnTo>
                      <a:pt x="31" y="66"/>
                    </a:lnTo>
                    <a:lnTo>
                      <a:pt x="35" y="66"/>
                    </a:lnTo>
                    <a:lnTo>
                      <a:pt x="39" y="66"/>
                    </a:lnTo>
                    <a:lnTo>
                      <a:pt x="43" y="66"/>
                    </a:lnTo>
                    <a:lnTo>
                      <a:pt x="47" y="64"/>
                    </a:lnTo>
                    <a:lnTo>
                      <a:pt x="51" y="62"/>
                    </a:lnTo>
                    <a:lnTo>
                      <a:pt x="55" y="62"/>
                    </a:lnTo>
                    <a:lnTo>
                      <a:pt x="59" y="62"/>
                    </a:lnTo>
                    <a:lnTo>
                      <a:pt x="63" y="62"/>
                    </a:lnTo>
                    <a:lnTo>
                      <a:pt x="63" y="66"/>
                    </a:lnTo>
                    <a:lnTo>
                      <a:pt x="67" y="66"/>
                    </a:lnTo>
                    <a:lnTo>
                      <a:pt x="67" y="62"/>
                    </a:lnTo>
                    <a:lnTo>
                      <a:pt x="71" y="62"/>
                    </a:lnTo>
                    <a:lnTo>
                      <a:pt x="75" y="66"/>
                    </a:lnTo>
                    <a:lnTo>
                      <a:pt x="77" y="69"/>
                    </a:lnTo>
                    <a:lnTo>
                      <a:pt x="80" y="71"/>
                    </a:lnTo>
                    <a:lnTo>
                      <a:pt x="84" y="69"/>
                    </a:lnTo>
                    <a:lnTo>
                      <a:pt x="88" y="67"/>
                    </a:lnTo>
                    <a:lnTo>
                      <a:pt x="92" y="67"/>
                    </a:lnTo>
                    <a:lnTo>
                      <a:pt x="96" y="67"/>
                    </a:lnTo>
                    <a:lnTo>
                      <a:pt x="100" y="67"/>
                    </a:lnTo>
                    <a:lnTo>
                      <a:pt x="102" y="64"/>
                    </a:lnTo>
                    <a:lnTo>
                      <a:pt x="100" y="60"/>
                    </a:lnTo>
                    <a:lnTo>
                      <a:pt x="100" y="57"/>
                    </a:lnTo>
                    <a:lnTo>
                      <a:pt x="104" y="55"/>
                    </a:lnTo>
                    <a:lnTo>
                      <a:pt x="104" y="51"/>
                    </a:lnTo>
                    <a:lnTo>
                      <a:pt x="104" y="47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8" y="35"/>
                    </a:lnTo>
                    <a:lnTo>
                      <a:pt x="94" y="35"/>
                    </a:lnTo>
                    <a:lnTo>
                      <a:pt x="88" y="31"/>
                    </a:lnTo>
                    <a:lnTo>
                      <a:pt x="84" y="31"/>
                    </a:lnTo>
                    <a:lnTo>
                      <a:pt x="82" y="27"/>
                    </a:lnTo>
                    <a:lnTo>
                      <a:pt x="79" y="26"/>
                    </a:lnTo>
                    <a:lnTo>
                      <a:pt x="82" y="26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8" name="Freeform 48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 rot="-459984">
                <a:off x="1277284" y="4360202"/>
                <a:ext cx="96527" cy="67521"/>
              </a:xfrm>
              <a:custGeom>
                <a:avLst/>
                <a:gdLst>
                  <a:gd name="T0" fmla="*/ 2147483647 w 70"/>
                  <a:gd name="T1" fmla="*/ 0 h 49"/>
                  <a:gd name="T2" fmla="*/ 2147483647 w 70"/>
                  <a:gd name="T3" fmla="*/ 0 h 49"/>
                  <a:gd name="T4" fmla="*/ 2147483647 w 70"/>
                  <a:gd name="T5" fmla="*/ 0 h 49"/>
                  <a:gd name="T6" fmla="*/ 2147483647 w 70"/>
                  <a:gd name="T7" fmla="*/ 0 h 49"/>
                  <a:gd name="T8" fmla="*/ 2147483647 w 70"/>
                  <a:gd name="T9" fmla="*/ 0 h 49"/>
                  <a:gd name="T10" fmla="*/ 2147483647 w 70"/>
                  <a:gd name="T11" fmla="*/ 0 h 49"/>
                  <a:gd name="T12" fmla="*/ 2147483647 w 70"/>
                  <a:gd name="T13" fmla="*/ 0 h 49"/>
                  <a:gd name="T14" fmla="*/ 2147483647 w 70"/>
                  <a:gd name="T15" fmla="*/ 0 h 49"/>
                  <a:gd name="T16" fmla="*/ 2147483647 w 70"/>
                  <a:gd name="T17" fmla="*/ 0 h 49"/>
                  <a:gd name="T18" fmla="*/ 2147483647 w 70"/>
                  <a:gd name="T19" fmla="*/ 0 h 49"/>
                  <a:gd name="T20" fmla="*/ 2147483647 w 70"/>
                  <a:gd name="T21" fmla="*/ 0 h 49"/>
                  <a:gd name="T22" fmla="*/ 2147483647 w 70"/>
                  <a:gd name="T23" fmla="*/ 0 h 49"/>
                  <a:gd name="T24" fmla="*/ 2147483647 w 70"/>
                  <a:gd name="T25" fmla="*/ 2147483647 h 49"/>
                  <a:gd name="T26" fmla="*/ 0 w 70"/>
                  <a:gd name="T27" fmla="*/ 2147483647 h 49"/>
                  <a:gd name="T28" fmla="*/ 0 w 70"/>
                  <a:gd name="T29" fmla="*/ 2147483647 h 49"/>
                  <a:gd name="T30" fmla="*/ 2147483647 w 70"/>
                  <a:gd name="T31" fmla="*/ 2147483647 h 49"/>
                  <a:gd name="T32" fmla="*/ 2147483647 w 70"/>
                  <a:gd name="T33" fmla="*/ 2147483647 h 49"/>
                  <a:gd name="T34" fmla="*/ 2147483647 w 70"/>
                  <a:gd name="T35" fmla="*/ 2147483647 h 49"/>
                  <a:gd name="T36" fmla="*/ 2147483647 w 70"/>
                  <a:gd name="T37" fmla="*/ 2147483647 h 49"/>
                  <a:gd name="T38" fmla="*/ 2147483647 w 70"/>
                  <a:gd name="T39" fmla="*/ 2147483647 h 49"/>
                  <a:gd name="T40" fmla="*/ 2147483647 w 70"/>
                  <a:gd name="T41" fmla="*/ 2147483647 h 49"/>
                  <a:gd name="T42" fmla="*/ 2147483647 w 70"/>
                  <a:gd name="T43" fmla="*/ 2147483647 h 49"/>
                  <a:gd name="T44" fmla="*/ 2147483647 w 70"/>
                  <a:gd name="T45" fmla="*/ 2147483647 h 49"/>
                  <a:gd name="T46" fmla="*/ 2147483647 w 70"/>
                  <a:gd name="T47" fmla="*/ 2147483647 h 49"/>
                  <a:gd name="T48" fmla="*/ 2147483647 w 70"/>
                  <a:gd name="T49" fmla="*/ 2147483647 h 49"/>
                  <a:gd name="T50" fmla="*/ 2147483647 w 70"/>
                  <a:gd name="T51" fmla="*/ 2147483647 h 49"/>
                  <a:gd name="T52" fmla="*/ 2147483647 w 70"/>
                  <a:gd name="T53" fmla="*/ 2147483647 h 49"/>
                  <a:gd name="T54" fmla="*/ 2147483647 w 70"/>
                  <a:gd name="T55" fmla="*/ 2147483647 h 49"/>
                  <a:gd name="T56" fmla="*/ 2147483647 w 70"/>
                  <a:gd name="T57" fmla="*/ 2147483647 h 49"/>
                  <a:gd name="T58" fmla="*/ 2147483647 w 70"/>
                  <a:gd name="T59" fmla="*/ 2147483647 h 49"/>
                  <a:gd name="T60" fmla="*/ 2147483647 w 70"/>
                  <a:gd name="T61" fmla="*/ 2147483647 h 49"/>
                  <a:gd name="T62" fmla="*/ 2147483647 w 70"/>
                  <a:gd name="T63" fmla="*/ 2147483647 h 49"/>
                  <a:gd name="T64" fmla="*/ 2147483647 w 70"/>
                  <a:gd name="T65" fmla="*/ 2147483647 h 49"/>
                  <a:gd name="T66" fmla="*/ 2147483647 w 70"/>
                  <a:gd name="T67" fmla="*/ 2147483647 h 49"/>
                  <a:gd name="T68" fmla="*/ 2147483647 w 70"/>
                  <a:gd name="T69" fmla="*/ 2147483647 h 49"/>
                  <a:gd name="T70" fmla="*/ 2147483647 w 70"/>
                  <a:gd name="T71" fmla="*/ 2147483647 h 49"/>
                  <a:gd name="T72" fmla="*/ 2147483647 w 70"/>
                  <a:gd name="T73" fmla="*/ 2147483647 h 49"/>
                  <a:gd name="T74" fmla="*/ 2147483647 w 70"/>
                  <a:gd name="T75" fmla="*/ 2147483647 h 49"/>
                  <a:gd name="T76" fmla="*/ 2147483647 w 70"/>
                  <a:gd name="T77" fmla="*/ 2147483647 h 49"/>
                  <a:gd name="T78" fmla="*/ 2147483647 w 70"/>
                  <a:gd name="T79" fmla="*/ 2147483647 h 49"/>
                  <a:gd name="T80" fmla="*/ 2147483647 w 70"/>
                  <a:gd name="T81" fmla="*/ 2147483647 h 49"/>
                  <a:gd name="T82" fmla="*/ 2147483647 w 70"/>
                  <a:gd name="T83" fmla="*/ 2147483647 h 49"/>
                  <a:gd name="T84" fmla="*/ 2147483647 w 70"/>
                  <a:gd name="T85" fmla="*/ 2147483647 h 49"/>
                  <a:gd name="T86" fmla="*/ 2147483647 w 70"/>
                  <a:gd name="T87" fmla="*/ 2147483647 h 49"/>
                  <a:gd name="T88" fmla="*/ 2147483647 w 70"/>
                  <a:gd name="T89" fmla="*/ 2147483647 h 49"/>
                  <a:gd name="T90" fmla="*/ 2147483647 w 70"/>
                  <a:gd name="T91" fmla="*/ 2147483647 h 49"/>
                  <a:gd name="T92" fmla="*/ 2147483647 w 70"/>
                  <a:gd name="T93" fmla="*/ 2147483647 h 49"/>
                  <a:gd name="T94" fmla="*/ 2147483647 w 70"/>
                  <a:gd name="T95" fmla="*/ 2147483647 h 49"/>
                  <a:gd name="T96" fmla="*/ 2147483647 w 70"/>
                  <a:gd name="T97" fmla="*/ 2147483647 h 49"/>
                  <a:gd name="T98" fmla="*/ 2147483647 w 70"/>
                  <a:gd name="T99" fmla="*/ 2147483647 h 49"/>
                  <a:gd name="T100" fmla="*/ 2147483647 w 70"/>
                  <a:gd name="T101" fmla="*/ 2147483647 h 49"/>
                  <a:gd name="T102" fmla="*/ 2147483647 w 70"/>
                  <a:gd name="T103" fmla="*/ 2147483647 h 49"/>
                  <a:gd name="T104" fmla="*/ 2147483647 w 70"/>
                  <a:gd name="T105" fmla="*/ 2147483647 h 49"/>
                  <a:gd name="T106" fmla="*/ 2147483647 w 70"/>
                  <a:gd name="T107" fmla="*/ 2147483647 h 49"/>
                  <a:gd name="T108" fmla="*/ 2147483647 w 70"/>
                  <a:gd name="T109" fmla="*/ 2147483647 h 49"/>
                  <a:gd name="T110" fmla="*/ 2147483647 w 70"/>
                  <a:gd name="T111" fmla="*/ 2147483647 h 49"/>
                  <a:gd name="T112" fmla="*/ 2147483647 w 70"/>
                  <a:gd name="T113" fmla="*/ 0 h 4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0"/>
                  <a:gd name="T172" fmla="*/ 0 h 49"/>
                  <a:gd name="T173" fmla="*/ 70 w 70"/>
                  <a:gd name="T174" fmla="*/ 49 h 4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0" h="49">
                    <a:moveTo>
                      <a:pt x="53" y="0"/>
                    </a:moveTo>
                    <a:lnTo>
                      <a:pt x="49" y="0"/>
                    </a:lnTo>
                    <a:lnTo>
                      <a:pt x="45" y="0"/>
                    </a:lnTo>
                    <a:lnTo>
                      <a:pt x="41" y="0"/>
                    </a:lnTo>
                    <a:lnTo>
                      <a:pt x="37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2" y="11"/>
                    </a:lnTo>
                    <a:lnTo>
                      <a:pt x="6" y="11"/>
                    </a:lnTo>
                    <a:lnTo>
                      <a:pt x="10" y="11"/>
                    </a:lnTo>
                    <a:lnTo>
                      <a:pt x="14" y="13"/>
                    </a:lnTo>
                    <a:lnTo>
                      <a:pt x="14" y="17"/>
                    </a:lnTo>
                    <a:lnTo>
                      <a:pt x="10" y="18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8" y="31"/>
                    </a:lnTo>
                    <a:lnTo>
                      <a:pt x="20" y="35"/>
                    </a:lnTo>
                    <a:lnTo>
                      <a:pt x="24" y="37"/>
                    </a:lnTo>
                    <a:lnTo>
                      <a:pt x="28" y="39"/>
                    </a:lnTo>
                    <a:lnTo>
                      <a:pt x="32" y="41"/>
                    </a:lnTo>
                    <a:lnTo>
                      <a:pt x="35" y="43"/>
                    </a:lnTo>
                    <a:lnTo>
                      <a:pt x="39" y="44"/>
                    </a:lnTo>
                    <a:lnTo>
                      <a:pt x="43" y="46"/>
                    </a:lnTo>
                    <a:lnTo>
                      <a:pt x="47" y="48"/>
                    </a:lnTo>
                    <a:lnTo>
                      <a:pt x="51" y="48"/>
                    </a:lnTo>
                    <a:lnTo>
                      <a:pt x="53" y="44"/>
                    </a:lnTo>
                    <a:lnTo>
                      <a:pt x="55" y="41"/>
                    </a:lnTo>
                    <a:lnTo>
                      <a:pt x="61" y="39"/>
                    </a:lnTo>
                    <a:lnTo>
                      <a:pt x="65" y="37"/>
                    </a:lnTo>
                    <a:lnTo>
                      <a:pt x="63" y="33"/>
                    </a:lnTo>
                    <a:lnTo>
                      <a:pt x="59" y="31"/>
                    </a:lnTo>
                    <a:lnTo>
                      <a:pt x="63" y="33"/>
                    </a:lnTo>
                    <a:lnTo>
                      <a:pt x="67" y="35"/>
                    </a:lnTo>
                    <a:lnTo>
                      <a:pt x="69" y="31"/>
                    </a:lnTo>
                    <a:lnTo>
                      <a:pt x="69" y="28"/>
                    </a:lnTo>
                    <a:lnTo>
                      <a:pt x="69" y="24"/>
                    </a:lnTo>
                    <a:lnTo>
                      <a:pt x="69" y="20"/>
                    </a:lnTo>
                    <a:lnTo>
                      <a:pt x="69" y="17"/>
                    </a:lnTo>
                    <a:lnTo>
                      <a:pt x="69" y="13"/>
                    </a:lnTo>
                    <a:lnTo>
                      <a:pt x="67" y="9"/>
                    </a:lnTo>
                    <a:lnTo>
                      <a:pt x="63" y="9"/>
                    </a:lnTo>
                    <a:lnTo>
                      <a:pt x="59" y="9"/>
                    </a:lnTo>
                    <a:lnTo>
                      <a:pt x="55" y="11"/>
                    </a:lnTo>
                    <a:lnTo>
                      <a:pt x="53" y="7"/>
                    </a:lnTo>
                    <a:lnTo>
                      <a:pt x="49" y="6"/>
                    </a:lnTo>
                    <a:lnTo>
                      <a:pt x="47" y="2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69" name="Freeform 49"/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1353609" y="4350889"/>
                <a:ext cx="168362" cy="139697"/>
              </a:xfrm>
              <a:custGeom>
                <a:avLst/>
                <a:gdLst>
                  <a:gd name="T0" fmla="*/ 2147483647 w 135"/>
                  <a:gd name="T1" fmla="*/ 2147483647 h 118"/>
                  <a:gd name="T2" fmla="*/ 2147483647 w 135"/>
                  <a:gd name="T3" fmla="*/ 2147483647 h 118"/>
                  <a:gd name="T4" fmla="*/ 2147483647 w 135"/>
                  <a:gd name="T5" fmla="*/ 2147483647 h 118"/>
                  <a:gd name="T6" fmla="*/ 2147483647 w 135"/>
                  <a:gd name="T7" fmla="*/ 2147483647 h 118"/>
                  <a:gd name="T8" fmla="*/ 2147483647 w 135"/>
                  <a:gd name="T9" fmla="*/ 2147483647 h 118"/>
                  <a:gd name="T10" fmla="*/ 2147483647 w 135"/>
                  <a:gd name="T11" fmla="*/ 2147483647 h 118"/>
                  <a:gd name="T12" fmla="*/ 2147483647 w 135"/>
                  <a:gd name="T13" fmla="*/ 2147483647 h 118"/>
                  <a:gd name="T14" fmla="*/ 2147483647 w 135"/>
                  <a:gd name="T15" fmla="*/ 2147483647 h 118"/>
                  <a:gd name="T16" fmla="*/ 2147483647 w 135"/>
                  <a:gd name="T17" fmla="*/ 2147483647 h 118"/>
                  <a:gd name="T18" fmla="*/ 2147483647 w 135"/>
                  <a:gd name="T19" fmla="*/ 2147483647 h 118"/>
                  <a:gd name="T20" fmla="*/ 2147483647 w 135"/>
                  <a:gd name="T21" fmla="*/ 2147483647 h 118"/>
                  <a:gd name="T22" fmla="*/ 2147483647 w 135"/>
                  <a:gd name="T23" fmla="*/ 2147483647 h 118"/>
                  <a:gd name="T24" fmla="*/ 2147483647 w 135"/>
                  <a:gd name="T25" fmla="*/ 2147483647 h 118"/>
                  <a:gd name="T26" fmla="*/ 0 w 135"/>
                  <a:gd name="T27" fmla="*/ 2147483647 h 118"/>
                  <a:gd name="T28" fmla="*/ 2147483647 w 135"/>
                  <a:gd name="T29" fmla="*/ 2147483647 h 118"/>
                  <a:gd name="T30" fmla="*/ 2147483647 w 135"/>
                  <a:gd name="T31" fmla="*/ 2147483647 h 118"/>
                  <a:gd name="T32" fmla="*/ 2147483647 w 135"/>
                  <a:gd name="T33" fmla="*/ 2147483647 h 118"/>
                  <a:gd name="T34" fmla="*/ 2147483647 w 135"/>
                  <a:gd name="T35" fmla="*/ 2147483647 h 118"/>
                  <a:gd name="T36" fmla="*/ 2147483647 w 135"/>
                  <a:gd name="T37" fmla="*/ 2147483647 h 118"/>
                  <a:gd name="T38" fmla="*/ 2147483647 w 135"/>
                  <a:gd name="T39" fmla="*/ 2147483647 h 118"/>
                  <a:gd name="T40" fmla="*/ 2147483647 w 135"/>
                  <a:gd name="T41" fmla="*/ 2147483647 h 118"/>
                  <a:gd name="T42" fmla="*/ 2147483647 w 135"/>
                  <a:gd name="T43" fmla="*/ 2147483647 h 118"/>
                  <a:gd name="T44" fmla="*/ 2147483647 w 135"/>
                  <a:gd name="T45" fmla="*/ 2147483647 h 118"/>
                  <a:gd name="T46" fmla="*/ 2147483647 w 135"/>
                  <a:gd name="T47" fmla="*/ 2147483647 h 118"/>
                  <a:gd name="T48" fmla="*/ 2147483647 w 135"/>
                  <a:gd name="T49" fmla="*/ 2147483647 h 118"/>
                  <a:gd name="T50" fmla="*/ 2147483647 w 135"/>
                  <a:gd name="T51" fmla="*/ 2147483647 h 118"/>
                  <a:gd name="T52" fmla="*/ 2147483647 w 135"/>
                  <a:gd name="T53" fmla="*/ 2147483647 h 118"/>
                  <a:gd name="T54" fmla="*/ 2147483647 w 135"/>
                  <a:gd name="T55" fmla="*/ 2147483647 h 118"/>
                  <a:gd name="T56" fmla="*/ 2147483647 w 135"/>
                  <a:gd name="T57" fmla="*/ 2147483647 h 118"/>
                  <a:gd name="T58" fmla="*/ 2147483647 w 135"/>
                  <a:gd name="T59" fmla="*/ 2147483647 h 118"/>
                  <a:gd name="T60" fmla="*/ 2147483647 w 135"/>
                  <a:gd name="T61" fmla="*/ 2147483647 h 118"/>
                  <a:gd name="T62" fmla="*/ 2147483647 w 135"/>
                  <a:gd name="T63" fmla="*/ 2147483647 h 118"/>
                  <a:gd name="T64" fmla="*/ 2147483647 w 135"/>
                  <a:gd name="T65" fmla="*/ 2147483647 h 118"/>
                  <a:gd name="T66" fmla="*/ 2147483647 w 135"/>
                  <a:gd name="T67" fmla="*/ 2147483647 h 118"/>
                  <a:gd name="T68" fmla="*/ 2147483647 w 135"/>
                  <a:gd name="T69" fmla="*/ 2147483647 h 118"/>
                  <a:gd name="T70" fmla="*/ 2147483647 w 135"/>
                  <a:gd name="T71" fmla="*/ 2147483647 h 118"/>
                  <a:gd name="T72" fmla="*/ 2147483647 w 135"/>
                  <a:gd name="T73" fmla="*/ 2147483647 h 118"/>
                  <a:gd name="T74" fmla="*/ 2147483647 w 135"/>
                  <a:gd name="T75" fmla="*/ 2147483647 h 118"/>
                  <a:gd name="T76" fmla="*/ 2147483647 w 135"/>
                  <a:gd name="T77" fmla="*/ 2147483647 h 118"/>
                  <a:gd name="T78" fmla="*/ 2147483647 w 135"/>
                  <a:gd name="T79" fmla="*/ 2147483647 h 118"/>
                  <a:gd name="T80" fmla="*/ 2147483647 w 135"/>
                  <a:gd name="T81" fmla="*/ 2147483647 h 118"/>
                  <a:gd name="T82" fmla="*/ 2147483647 w 135"/>
                  <a:gd name="T83" fmla="*/ 2147483647 h 118"/>
                  <a:gd name="T84" fmla="*/ 2147483647 w 135"/>
                  <a:gd name="T85" fmla="*/ 2147483647 h 118"/>
                  <a:gd name="T86" fmla="*/ 2147483647 w 135"/>
                  <a:gd name="T87" fmla="*/ 2147483647 h 118"/>
                  <a:gd name="T88" fmla="*/ 2147483647 w 135"/>
                  <a:gd name="T89" fmla="*/ 2147483647 h 11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35"/>
                  <a:gd name="T136" fmla="*/ 0 h 118"/>
                  <a:gd name="T137" fmla="*/ 135 w 135"/>
                  <a:gd name="T138" fmla="*/ 118 h 118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35" h="118">
                    <a:moveTo>
                      <a:pt x="84" y="16"/>
                    </a:moveTo>
                    <a:lnTo>
                      <a:pt x="77" y="16"/>
                    </a:lnTo>
                    <a:lnTo>
                      <a:pt x="73" y="17"/>
                    </a:lnTo>
                    <a:lnTo>
                      <a:pt x="63" y="5"/>
                    </a:lnTo>
                    <a:lnTo>
                      <a:pt x="63" y="0"/>
                    </a:lnTo>
                    <a:lnTo>
                      <a:pt x="54" y="5"/>
                    </a:lnTo>
                    <a:lnTo>
                      <a:pt x="48" y="5"/>
                    </a:lnTo>
                    <a:lnTo>
                      <a:pt x="50" y="13"/>
                    </a:lnTo>
                    <a:lnTo>
                      <a:pt x="46" y="13"/>
                    </a:lnTo>
                    <a:lnTo>
                      <a:pt x="44" y="9"/>
                    </a:lnTo>
                    <a:lnTo>
                      <a:pt x="39" y="9"/>
                    </a:lnTo>
                    <a:lnTo>
                      <a:pt x="36" y="4"/>
                    </a:lnTo>
                    <a:lnTo>
                      <a:pt x="31" y="5"/>
                    </a:lnTo>
                    <a:lnTo>
                      <a:pt x="25" y="6"/>
                    </a:lnTo>
                    <a:lnTo>
                      <a:pt x="21" y="11"/>
                    </a:lnTo>
                    <a:lnTo>
                      <a:pt x="17" y="15"/>
                    </a:lnTo>
                    <a:lnTo>
                      <a:pt x="13" y="20"/>
                    </a:lnTo>
                    <a:lnTo>
                      <a:pt x="9" y="20"/>
                    </a:lnTo>
                    <a:lnTo>
                      <a:pt x="7" y="25"/>
                    </a:lnTo>
                    <a:lnTo>
                      <a:pt x="7" y="28"/>
                    </a:lnTo>
                    <a:lnTo>
                      <a:pt x="11" y="33"/>
                    </a:lnTo>
                    <a:lnTo>
                      <a:pt x="13" y="36"/>
                    </a:lnTo>
                    <a:lnTo>
                      <a:pt x="14" y="41"/>
                    </a:lnTo>
                    <a:lnTo>
                      <a:pt x="12" y="45"/>
                    </a:lnTo>
                    <a:lnTo>
                      <a:pt x="10" y="49"/>
                    </a:lnTo>
                    <a:lnTo>
                      <a:pt x="6" y="50"/>
                    </a:lnTo>
                    <a:lnTo>
                      <a:pt x="1" y="52"/>
                    </a:lnTo>
                    <a:lnTo>
                      <a:pt x="0" y="57"/>
                    </a:lnTo>
                    <a:lnTo>
                      <a:pt x="2" y="60"/>
                    </a:lnTo>
                    <a:lnTo>
                      <a:pt x="6" y="64"/>
                    </a:lnTo>
                    <a:lnTo>
                      <a:pt x="6" y="69"/>
                    </a:lnTo>
                    <a:lnTo>
                      <a:pt x="9" y="72"/>
                    </a:lnTo>
                    <a:lnTo>
                      <a:pt x="13" y="73"/>
                    </a:lnTo>
                    <a:lnTo>
                      <a:pt x="14" y="78"/>
                    </a:lnTo>
                    <a:lnTo>
                      <a:pt x="17" y="82"/>
                    </a:lnTo>
                    <a:lnTo>
                      <a:pt x="18" y="86"/>
                    </a:lnTo>
                    <a:lnTo>
                      <a:pt x="18" y="89"/>
                    </a:lnTo>
                    <a:lnTo>
                      <a:pt x="19" y="93"/>
                    </a:lnTo>
                    <a:lnTo>
                      <a:pt x="19" y="97"/>
                    </a:lnTo>
                    <a:lnTo>
                      <a:pt x="20" y="102"/>
                    </a:lnTo>
                    <a:lnTo>
                      <a:pt x="24" y="104"/>
                    </a:lnTo>
                    <a:lnTo>
                      <a:pt x="29" y="104"/>
                    </a:lnTo>
                    <a:lnTo>
                      <a:pt x="32" y="109"/>
                    </a:lnTo>
                    <a:lnTo>
                      <a:pt x="37" y="113"/>
                    </a:lnTo>
                    <a:lnTo>
                      <a:pt x="42" y="118"/>
                    </a:lnTo>
                    <a:lnTo>
                      <a:pt x="49" y="117"/>
                    </a:lnTo>
                    <a:lnTo>
                      <a:pt x="55" y="114"/>
                    </a:lnTo>
                    <a:lnTo>
                      <a:pt x="57" y="109"/>
                    </a:lnTo>
                    <a:lnTo>
                      <a:pt x="61" y="109"/>
                    </a:lnTo>
                    <a:lnTo>
                      <a:pt x="63" y="105"/>
                    </a:lnTo>
                    <a:lnTo>
                      <a:pt x="68" y="106"/>
                    </a:lnTo>
                    <a:lnTo>
                      <a:pt x="72" y="107"/>
                    </a:lnTo>
                    <a:lnTo>
                      <a:pt x="77" y="111"/>
                    </a:lnTo>
                    <a:lnTo>
                      <a:pt x="81" y="112"/>
                    </a:lnTo>
                    <a:lnTo>
                      <a:pt x="85" y="107"/>
                    </a:lnTo>
                    <a:lnTo>
                      <a:pt x="89" y="103"/>
                    </a:lnTo>
                    <a:lnTo>
                      <a:pt x="93" y="101"/>
                    </a:lnTo>
                    <a:lnTo>
                      <a:pt x="95" y="95"/>
                    </a:lnTo>
                    <a:lnTo>
                      <a:pt x="92" y="93"/>
                    </a:lnTo>
                    <a:lnTo>
                      <a:pt x="94" y="87"/>
                    </a:lnTo>
                    <a:lnTo>
                      <a:pt x="93" y="83"/>
                    </a:lnTo>
                    <a:lnTo>
                      <a:pt x="95" y="79"/>
                    </a:lnTo>
                    <a:lnTo>
                      <a:pt x="99" y="77"/>
                    </a:lnTo>
                    <a:lnTo>
                      <a:pt x="103" y="74"/>
                    </a:lnTo>
                    <a:lnTo>
                      <a:pt x="104" y="70"/>
                    </a:lnTo>
                    <a:lnTo>
                      <a:pt x="107" y="65"/>
                    </a:lnTo>
                    <a:lnTo>
                      <a:pt x="111" y="65"/>
                    </a:lnTo>
                    <a:lnTo>
                      <a:pt x="112" y="60"/>
                    </a:lnTo>
                    <a:lnTo>
                      <a:pt x="117" y="59"/>
                    </a:lnTo>
                    <a:lnTo>
                      <a:pt x="122" y="61"/>
                    </a:lnTo>
                    <a:lnTo>
                      <a:pt x="126" y="61"/>
                    </a:lnTo>
                    <a:lnTo>
                      <a:pt x="130" y="57"/>
                    </a:lnTo>
                    <a:lnTo>
                      <a:pt x="135" y="54"/>
                    </a:lnTo>
                    <a:lnTo>
                      <a:pt x="134" y="50"/>
                    </a:lnTo>
                    <a:lnTo>
                      <a:pt x="129" y="47"/>
                    </a:lnTo>
                    <a:lnTo>
                      <a:pt x="124" y="44"/>
                    </a:lnTo>
                    <a:lnTo>
                      <a:pt x="124" y="40"/>
                    </a:lnTo>
                    <a:lnTo>
                      <a:pt x="125" y="36"/>
                    </a:lnTo>
                    <a:lnTo>
                      <a:pt x="121" y="36"/>
                    </a:lnTo>
                    <a:lnTo>
                      <a:pt x="116" y="37"/>
                    </a:lnTo>
                    <a:lnTo>
                      <a:pt x="112" y="36"/>
                    </a:lnTo>
                    <a:lnTo>
                      <a:pt x="107" y="36"/>
                    </a:lnTo>
                    <a:lnTo>
                      <a:pt x="104" y="32"/>
                    </a:lnTo>
                    <a:lnTo>
                      <a:pt x="104" y="29"/>
                    </a:lnTo>
                    <a:lnTo>
                      <a:pt x="101" y="24"/>
                    </a:lnTo>
                    <a:lnTo>
                      <a:pt x="96" y="23"/>
                    </a:lnTo>
                    <a:lnTo>
                      <a:pt x="96" y="20"/>
                    </a:lnTo>
                    <a:lnTo>
                      <a:pt x="91" y="17"/>
                    </a:lnTo>
                    <a:lnTo>
                      <a:pt x="86" y="18"/>
                    </a:lnTo>
                    <a:lnTo>
                      <a:pt x="82" y="18"/>
                    </a:lnTo>
                    <a:lnTo>
                      <a:pt x="65" y="13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0" name="Freeform 50"/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 rot="21140016">
                <a:off x="1470340" y="4052870"/>
                <a:ext cx="280604" cy="300348"/>
              </a:xfrm>
              <a:custGeom>
                <a:avLst/>
                <a:gdLst>
                  <a:gd name="T0" fmla="*/ 2147483647 w 201"/>
                  <a:gd name="T1" fmla="*/ 2147483647 h 226"/>
                  <a:gd name="T2" fmla="*/ 2147483647 w 201"/>
                  <a:gd name="T3" fmla="*/ 2147483647 h 226"/>
                  <a:gd name="T4" fmla="*/ 2147483647 w 201"/>
                  <a:gd name="T5" fmla="*/ 2147483647 h 226"/>
                  <a:gd name="T6" fmla="*/ 2147483647 w 201"/>
                  <a:gd name="T7" fmla="*/ 2147483647 h 226"/>
                  <a:gd name="T8" fmla="*/ 2147483647 w 201"/>
                  <a:gd name="T9" fmla="*/ 2147483647 h 226"/>
                  <a:gd name="T10" fmla="*/ 2147483647 w 201"/>
                  <a:gd name="T11" fmla="*/ 2147483647 h 226"/>
                  <a:gd name="T12" fmla="*/ 2147483647 w 201"/>
                  <a:gd name="T13" fmla="*/ 2147483647 h 226"/>
                  <a:gd name="T14" fmla="*/ 2147483647 w 201"/>
                  <a:gd name="T15" fmla="*/ 2147483647 h 226"/>
                  <a:gd name="T16" fmla="*/ 2147483647 w 201"/>
                  <a:gd name="T17" fmla="*/ 2147483647 h 226"/>
                  <a:gd name="T18" fmla="*/ 2147483647 w 201"/>
                  <a:gd name="T19" fmla="*/ 2147483647 h 226"/>
                  <a:gd name="T20" fmla="*/ 2147483647 w 201"/>
                  <a:gd name="T21" fmla="*/ 2147483647 h 226"/>
                  <a:gd name="T22" fmla="*/ 2147483647 w 201"/>
                  <a:gd name="T23" fmla="*/ 2147483647 h 226"/>
                  <a:gd name="T24" fmla="*/ 0 w 201"/>
                  <a:gd name="T25" fmla="*/ 2147483647 h 226"/>
                  <a:gd name="T26" fmla="*/ 2147483647 w 201"/>
                  <a:gd name="T27" fmla="*/ 2147483647 h 226"/>
                  <a:gd name="T28" fmla="*/ 2147483647 w 201"/>
                  <a:gd name="T29" fmla="*/ 2147483647 h 226"/>
                  <a:gd name="T30" fmla="*/ 2147483647 w 201"/>
                  <a:gd name="T31" fmla="*/ 2147483647 h 226"/>
                  <a:gd name="T32" fmla="*/ 2147483647 w 201"/>
                  <a:gd name="T33" fmla="*/ 2147483647 h 226"/>
                  <a:gd name="T34" fmla="*/ 2147483647 w 201"/>
                  <a:gd name="T35" fmla="*/ 2147483647 h 226"/>
                  <a:gd name="T36" fmla="*/ 2147483647 w 201"/>
                  <a:gd name="T37" fmla="*/ 2147483647 h 226"/>
                  <a:gd name="T38" fmla="*/ 2147483647 w 201"/>
                  <a:gd name="T39" fmla="*/ 2147483647 h 226"/>
                  <a:gd name="T40" fmla="*/ 2147483647 w 201"/>
                  <a:gd name="T41" fmla="*/ 2147483647 h 226"/>
                  <a:gd name="T42" fmla="*/ 2147483647 w 201"/>
                  <a:gd name="T43" fmla="*/ 2147483647 h 226"/>
                  <a:gd name="T44" fmla="*/ 2147483647 w 201"/>
                  <a:gd name="T45" fmla="*/ 2147483647 h 226"/>
                  <a:gd name="T46" fmla="*/ 2147483647 w 201"/>
                  <a:gd name="T47" fmla="*/ 2147483647 h 226"/>
                  <a:gd name="T48" fmla="*/ 2147483647 w 201"/>
                  <a:gd name="T49" fmla="*/ 2147483647 h 226"/>
                  <a:gd name="T50" fmla="*/ 2147483647 w 201"/>
                  <a:gd name="T51" fmla="*/ 2147483647 h 226"/>
                  <a:gd name="T52" fmla="*/ 2147483647 w 201"/>
                  <a:gd name="T53" fmla="*/ 2147483647 h 226"/>
                  <a:gd name="T54" fmla="*/ 2147483647 w 201"/>
                  <a:gd name="T55" fmla="*/ 2147483647 h 226"/>
                  <a:gd name="T56" fmla="*/ 2147483647 w 201"/>
                  <a:gd name="T57" fmla="*/ 2147483647 h 226"/>
                  <a:gd name="T58" fmla="*/ 2147483647 w 201"/>
                  <a:gd name="T59" fmla="*/ 2147483647 h 226"/>
                  <a:gd name="T60" fmla="*/ 2147483647 w 201"/>
                  <a:gd name="T61" fmla="*/ 2147483647 h 226"/>
                  <a:gd name="T62" fmla="*/ 2147483647 w 201"/>
                  <a:gd name="T63" fmla="*/ 2147483647 h 226"/>
                  <a:gd name="T64" fmla="*/ 2147483647 w 201"/>
                  <a:gd name="T65" fmla="*/ 2147483647 h 226"/>
                  <a:gd name="T66" fmla="*/ 2147483647 w 201"/>
                  <a:gd name="T67" fmla="*/ 2147483647 h 226"/>
                  <a:gd name="T68" fmla="*/ 2147483647 w 201"/>
                  <a:gd name="T69" fmla="*/ 2147483647 h 226"/>
                  <a:gd name="T70" fmla="*/ 2147483647 w 201"/>
                  <a:gd name="T71" fmla="*/ 2147483647 h 226"/>
                  <a:gd name="T72" fmla="*/ 2147483647 w 201"/>
                  <a:gd name="T73" fmla="*/ 2147483647 h 226"/>
                  <a:gd name="T74" fmla="*/ 2147483647 w 201"/>
                  <a:gd name="T75" fmla="*/ 2147483647 h 226"/>
                  <a:gd name="T76" fmla="*/ 2147483647 w 201"/>
                  <a:gd name="T77" fmla="*/ 2147483647 h 226"/>
                  <a:gd name="T78" fmla="*/ 2147483647 w 201"/>
                  <a:gd name="T79" fmla="*/ 2147483647 h 226"/>
                  <a:gd name="T80" fmla="*/ 2147483647 w 201"/>
                  <a:gd name="T81" fmla="*/ 2147483647 h 226"/>
                  <a:gd name="T82" fmla="*/ 2147483647 w 201"/>
                  <a:gd name="T83" fmla="*/ 2147483647 h 226"/>
                  <a:gd name="T84" fmla="*/ 2147483647 w 201"/>
                  <a:gd name="T85" fmla="*/ 2147483647 h 226"/>
                  <a:gd name="T86" fmla="*/ 2147483647 w 201"/>
                  <a:gd name="T87" fmla="*/ 2147483647 h 226"/>
                  <a:gd name="T88" fmla="*/ 2147483647 w 201"/>
                  <a:gd name="T89" fmla="*/ 2147483647 h 226"/>
                  <a:gd name="T90" fmla="*/ 2147483647 w 201"/>
                  <a:gd name="T91" fmla="*/ 2147483647 h 226"/>
                  <a:gd name="T92" fmla="*/ 2147483647 w 201"/>
                  <a:gd name="T93" fmla="*/ 2147483647 h 226"/>
                  <a:gd name="T94" fmla="*/ 2147483647 w 201"/>
                  <a:gd name="T95" fmla="*/ 2147483647 h 226"/>
                  <a:gd name="T96" fmla="*/ 2147483647 w 201"/>
                  <a:gd name="T97" fmla="*/ 2147483647 h 226"/>
                  <a:gd name="T98" fmla="*/ 2147483647 w 201"/>
                  <a:gd name="T99" fmla="*/ 2147483647 h 226"/>
                  <a:gd name="T100" fmla="*/ 2147483647 w 201"/>
                  <a:gd name="T101" fmla="*/ 2147483647 h 226"/>
                  <a:gd name="T102" fmla="*/ 2147483647 w 201"/>
                  <a:gd name="T103" fmla="*/ 2147483647 h 22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01"/>
                  <a:gd name="T157" fmla="*/ 0 h 226"/>
                  <a:gd name="T158" fmla="*/ 201 w 201"/>
                  <a:gd name="T159" fmla="*/ 226 h 22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01" h="226">
                    <a:moveTo>
                      <a:pt x="170" y="11"/>
                    </a:moveTo>
                    <a:lnTo>
                      <a:pt x="166" y="11"/>
                    </a:lnTo>
                    <a:lnTo>
                      <a:pt x="162" y="11"/>
                    </a:lnTo>
                    <a:lnTo>
                      <a:pt x="158" y="11"/>
                    </a:lnTo>
                    <a:lnTo>
                      <a:pt x="154" y="11"/>
                    </a:lnTo>
                    <a:lnTo>
                      <a:pt x="151" y="9"/>
                    </a:lnTo>
                    <a:lnTo>
                      <a:pt x="149" y="5"/>
                    </a:lnTo>
                    <a:lnTo>
                      <a:pt x="147" y="2"/>
                    </a:lnTo>
                    <a:lnTo>
                      <a:pt x="143" y="0"/>
                    </a:lnTo>
                    <a:lnTo>
                      <a:pt x="139" y="0"/>
                    </a:lnTo>
                    <a:lnTo>
                      <a:pt x="135" y="2"/>
                    </a:lnTo>
                    <a:lnTo>
                      <a:pt x="131" y="4"/>
                    </a:lnTo>
                    <a:lnTo>
                      <a:pt x="127" y="5"/>
                    </a:lnTo>
                    <a:lnTo>
                      <a:pt x="123" y="5"/>
                    </a:lnTo>
                    <a:lnTo>
                      <a:pt x="119" y="5"/>
                    </a:lnTo>
                    <a:lnTo>
                      <a:pt x="115" y="5"/>
                    </a:lnTo>
                    <a:lnTo>
                      <a:pt x="111" y="5"/>
                    </a:lnTo>
                    <a:lnTo>
                      <a:pt x="107" y="7"/>
                    </a:lnTo>
                    <a:lnTo>
                      <a:pt x="105" y="11"/>
                    </a:lnTo>
                    <a:lnTo>
                      <a:pt x="103" y="15"/>
                    </a:lnTo>
                    <a:lnTo>
                      <a:pt x="107" y="16"/>
                    </a:lnTo>
                    <a:lnTo>
                      <a:pt x="107" y="20"/>
                    </a:lnTo>
                    <a:lnTo>
                      <a:pt x="109" y="24"/>
                    </a:lnTo>
                    <a:lnTo>
                      <a:pt x="109" y="27"/>
                    </a:lnTo>
                    <a:lnTo>
                      <a:pt x="105" y="29"/>
                    </a:lnTo>
                    <a:lnTo>
                      <a:pt x="103" y="33"/>
                    </a:lnTo>
                    <a:lnTo>
                      <a:pt x="99" y="33"/>
                    </a:lnTo>
                    <a:lnTo>
                      <a:pt x="93" y="35"/>
                    </a:lnTo>
                    <a:lnTo>
                      <a:pt x="89" y="40"/>
                    </a:lnTo>
                    <a:lnTo>
                      <a:pt x="85" y="44"/>
                    </a:lnTo>
                    <a:lnTo>
                      <a:pt x="85" y="48"/>
                    </a:lnTo>
                    <a:lnTo>
                      <a:pt x="83" y="51"/>
                    </a:lnTo>
                    <a:lnTo>
                      <a:pt x="79" y="53"/>
                    </a:lnTo>
                    <a:lnTo>
                      <a:pt x="75" y="53"/>
                    </a:lnTo>
                    <a:lnTo>
                      <a:pt x="69" y="53"/>
                    </a:lnTo>
                    <a:lnTo>
                      <a:pt x="65" y="53"/>
                    </a:lnTo>
                    <a:lnTo>
                      <a:pt x="61" y="53"/>
                    </a:lnTo>
                    <a:lnTo>
                      <a:pt x="57" y="53"/>
                    </a:lnTo>
                    <a:lnTo>
                      <a:pt x="53" y="53"/>
                    </a:lnTo>
                    <a:lnTo>
                      <a:pt x="48" y="55"/>
                    </a:lnTo>
                    <a:lnTo>
                      <a:pt x="44" y="57"/>
                    </a:lnTo>
                    <a:lnTo>
                      <a:pt x="40" y="59"/>
                    </a:lnTo>
                    <a:lnTo>
                      <a:pt x="36" y="60"/>
                    </a:lnTo>
                    <a:lnTo>
                      <a:pt x="32" y="59"/>
                    </a:lnTo>
                    <a:lnTo>
                      <a:pt x="28" y="59"/>
                    </a:lnTo>
                    <a:lnTo>
                      <a:pt x="24" y="59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59"/>
                    </a:lnTo>
                    <a:lnTo>
                      <a:pt x="2" y="59"/>
                    </a:lnTo>
                    <a:lnTo>
                      <a:pt x="0" y="62"/>
                    </a:lnTo>
                    <a:lnTo>
                      <a:pt x="0" y="66"/>
                    </a:lnTo>
                    <a:lnTo>
                      <a:pt x="2" y="70"/>
                    </a:lnTo>
                    <a:lnTo>
                      <a:pt x="4" y="73"/>
                    </a:lnTo>
                    <a:lnTo>
                      <a:pt x="4" y="77"/>
                    </a:lnTo>
                    <a:lnTo>
                      <a:pt x="4" y="81"/>
                    </a:lnTo>
                    <a:lnTo>
                      <a:pt x="6" y="84"/>
                    </a:lnTo>
                    <a:lnTo>
                      <a:pt x="8" y="88"/>
                    </a:lnTo>
                    <a:lnTo>
                      <a:pt x="10" y="91"/>
                    </a:lnTo>
                    <a:lnTo>
                      <a:pt x="10" y="95"/>
                    </a:lnTo>
                    <a:lnTo>
                      <a:pt x="10" y="99"/>
                    </a:lnTo>
                    <a:lnTo>
                      <a:pt x="10" y="102"/>
                    </a:lnTo>
                    <a:lnTo>
                      <a:pt x="10" y="106"/>
                    </a:lnTo>
                    <a:lnTo>
                      <a:pt x="12" y="110"/>
                    </a:lnTo>
                    <a:lnTo>
                      <a:pt x="16" y="112"/>
                    </a:lnTo>
                    <a:lnTo>
                      <a:pt x="16" y="115"/>
                    </a:lnTo>
                    <a:lnTo>
                      <a:pt x="20" y="121"/>
                    </a:lnTo>
                    <a:lnTo>
                      <a:pt x="22" y="124"/>
                    </a:lnTo>
                    <a:lnTo>
                      <a:pt x="26" y="124"/>
                    </a:lnTo>
                    <a:lnTo>
                      <a:pt x="28" y="130"/>
                    </a:lnTo>
                    <a:lnTo>
                      <a:pt x="26" y="134"/>
                    </a:lnTo>
                    <a:lnTo>
                      <a:pt x="26" y="137"/>
                    </a:lnTo>
                    <a:lnTo>
                      <a:pt x="26" y="141"/>
                    </a:lnTo>
                    <a:lnTo>
                      <a:pt x="26" y="145"/>
                    </a:lnTo>
                    <a:lnTo>
                      <a:pt x="26" y="150"/>
                    </a:lnTo>
                    <a:lnTo>
                      <a:pt x="26" y="154"/>
                    </a:lnTo>
                    <a:lnTo>
                      <a:pt x="26" y="157"/>
                    </a:lnTo>
                    <a:lnTo>
                      <a:pt x="28" y="161"/>
                    </a:lnTo>
                    <a:lnTo>
                      <a:pt x="30" y="165"/>
                    </a:lnTo>
                    <a:lnTo>
                      <a:pt x="30" y="168"/>
                    </a:lnTo>
                    <a:lnTo>
                      <a:pt x="30" y="172"/>
                    </a:lnTo>
                    <a:lnTo>
                      <a:pt x="30" y="176"/>
                    </a:lnTo>
                    <a:lnTo>
                      <a:pt x="30" y="179"/>
                    </a:lnTo>
                    <a:lnTo>
                      <a:pt x="30" y="183"/>
                    </a:lnTo>
                    <a:lnTo>
                      <a:pt x="34" y="185"/>
                    </a:lnTo>
                    <a:lnTo>
                      <a:pt x="36" y="188"/>
                    </a:lnTo>
                    <a:lnTo>
                      <a:pt x="40" y="190"/>
                    </a:lnTo>
                    <a:lnTo>
                      <a:pt x="42" y="194"/>
                    </a:lnTo>
                    <a:lnTo>
                      <a:pt x="46" y="198"/>
                    </a:lnTo>
                    <a:lnTo>
                      <a:pt x="50" y="199"/>
                    </a:lnTo>
                    <a:lnTo>
                      <a:pt x="51" y="203"/>
                    </a:lnTo>
                    <a:lnTo>
                      <a:pt x="53" y="209"/>
                    </a:lnTo>
                    <a:lnTo>
                      <a:pt x="55" y="212"/>
                    </a:lnTo>
                    <a:lnTo>
                      <a:pt x="55" y="216"/>
                    </a:lnTo>
                    <a:lnTo>
                      <a:pt x="59" y="218"/>
                    </a:lnTo>
                    <a:lnTo>
                      <a:pt x="61" y="221"/>
                    </a:lnTo>
                    <a:lnTo>
                      <a:pt x="65" y="223"/>
                    </a:lnTo>
                    <a:lnTo>
                      <a:pt x="69" y="225"/>
                    </a:lnTo>
                    <a:lnTo>
                      <a:pt x="73" y="225"/>
                    </a:lnTo>
                    <a:lnTo>
                      <a:pt x="77" y="225"/>
                    </a:lnTo>
                    <a:lnTo>
                      <a:pt x="81" y="223"/>
                    </a:lnTo>
                    <a:lnTo>
                      <a:pt x="85" y="223"/>
                    </a:lnTo>
                    <a:lnTo>
                      <a:pt x="89" y="223"/>
                    </a:lnTo>
                    <a:lnTo>
                      <a:pt x="93" y="223"/>
                    </a:lnTo>
                    <a:lnTo>
                      <a:pt x="97" y="223"/>
                    </a:lnTo>
                    <a:lnTo>
                      <a:pt x="101" y="223"/>
                    </a:lnTo>
                    <a:lnTo>
                      <a:pt x="105" y="221"/>
                    </a:lnTo>
                    <a:lnTo>
                      <a:pt x="109" y="221"/>
                    </a:lnTo>
                    <a:lnTo>
                      <a:pt x="113" y="220"/>
                    </a:lnTo>
                    <a:lnTo>
                      <a:pt x="117" y="218"/>
                    </a:lnTo>
                    <a:lnTo>
                      <a:pt x="119" y="214"/>
                    </a:lnTo>
                    <a:lnTo>
                      <a:pt x="123" y="214"/>
                    </a:lnTo>
                    <a:lnTo>
                      <a:pt x="127" y="210"/>
                    </a:lnTo>
                    <a:lnTo>
                      <a:pt x="131" y="209"/>
                    </a:lnTo>
                    <a:lnTo>
                      <a:pt x="135" y="207"/>
                    </a:lnTo>
                    <a:lnTo>
                      <a:pt x="139" y="205"/>
                    </a:lnTo>
                    <a:lnTo>
                      <a:pt x="139" y="201"/>
                    </a:lnTo>
                    <a:lnTo>
                      <a:pt x="135" y="199"/>
                    </a:lnTo>
                    <a:lnTo>
                      <a:pt x="131" y="198"/>
                    </a:lnTo>
                    <a:lnTo>
                      <a:pt x="127" y="198"/>
                    </a:lnTo>
                    <a:lnTo>
                      <a:pt x="123" y="196"/>
                    </a:lnTo>
                    <a:lnTo>
                      <a:pt x="123" y="192"/>
                    </a:lnTo>
                    <a:lnTo>
                      <a:pt x="121" y="188"/>
                    </a:lnTo>
                    <a:lnTo>
                      <a:pt x="121" y="185"/>
                    </a:lnTo>
                    <a:lnTo>
                      <a:pt x="117" y="185"/>
                    </a:lnTo>
                    <a:lnTo>
                      <a:pt x="113" y="185"/>
                    </a:lnTo>
                    <a:lnTo>
                      <a:pt x="109" y="185"/>
                    </a:lnTo>
                    <a:lnTo>
                      <a:pt x="111" y="181"/>
                    </a:lnTo>
                    <a:lnTo>
                      <a:pt x="115" y="181"/>
                    </a:lnTo>
                    <a:lnTo>
                      <a:pt x="119" y="179"/>
                    </a:lnTo>
                    <a:lnTo>
                      <a:pt x="123" y="178"/>
                    </a:lnTo>
                    <a:lnTo>
                      <a:pt x="127" y="176"/>
                    </a:lnTo>
                    <a:lnTo>
                      <a:pt x="131" y="176"/>
                    </a:lnTo>
                    <a:lnTo>
                      <a:pt x="135" y="174"/>
                    </a:lnTo>
                    <a:lnTo>
                      <a:pt x="139" y="172"/>
                    </a:lnTo>
                    <a:lnTo>
                      <a:pt x="137" y="168"/>
                    </a:lnTo>
                    <a:lnTo>
                      <a:pt x="133" y="168"/>
                    </a:lnTo>
                    <a:lnTo>
                      <a:pt x="131" y="165"/>
                    </a:lnTo>
                    <a:lnTo>
                      <a:pt x="131" y="161"/>
                    </a:lnTo>
                    <a:lnTo>
                      <a:pt x="133" y="157"/>
                    </a:lnTo>
                    <a:lnTo>
                      <a:pt x="135" y="154"/>
                    </a:lnTo>
                    <a:lnTo>
                      <a:pt x="135" y="150"/>
                    </a:lnTo>
                    <a:lnTo>
                      <a:pt x="131" y="148"/>
                    </a:lnTo>
                    <a:lnTo>
                      <a:pt x="127" y="148"/>
                    </a:lnTo>
                    <a:lnTo>
                      <a:pt x="123" y="146"/>
                    </a:lnTo>
                    <a:lnTo>
                      <a:pt x="125" y="143"/>
                    </a:lnTo>
                    <a:lnTo>
                      <a:pt x="129" y="143"/>
                    </a:lnTo>
                    <a:lnTo>
                      <a:pt x="133" y="145"/>
                    </a:lnTo>
                    <a:lnTo>
                      <a:pt x="137" y="145"/>
                    </a:lnTo>
                    <a:lnTo>
                      <a:pt x="141" y="145"/>
                    </a:lnTo>
                    <a:lnTo>
                      <a:pt x="145" y="146"/>
                    </a:lnTo>
                    <a:lnTo>
                      <a:pt x="149" y="146"/>
                    </a:lnTo>
                    <a:lnTo>
                      <a:pt x="152" y="150"/>
                    </a:lnTo>
                    <a:lnTo>
                      <a:pt x="152" y="146"/>
                    </a:lnTo>
                    <a:lnTo>
                      <a:pt x="156" y="145"/>
                    </a:lnTo>
                    <a:lnTo>
                      <a:pt x="160" y="143"/>
                    </a:lnTo>
                    <a:lnTo>
                      <a:pt x="164" y="143"/>
                    </a:lnTo>
                    <a:lnTo>
                      <a:pt x="168" y="146"/>
                    </a:lnTo>
                    <a:lnTo>
                      <a:pt x="172" y="145"/>
                    </a:lnTo>
                    <a:lnTo>
                      <a:pt x="174" y="139"/>
                    </a:lnTo>
                    <a:lnTo>
                      <a:pt x="174" y="135"/>
                    </a:lnTo>
                    <a:lnTo>
                      <a:pt x="174" y="132"/>
                    </a:lnTo>
                    <a:lnTo>
                      <a:pt x="172" y="128"/>
                    </a:lnTo>
                    <a:lnTo>
                      <a:pt x="170" y="124"/>
                    </a:lnTo>
                    <a:lnTo>
                      <a:pt x="168" y="121"/>
                    </a:lnTo>
                    <a:lnTo>
                      <a:pt x="168" y="117"/>
                    </a:lnTo>
                    <a:lnTo>
                      <a:pt x="168" y="113"/>
                    </a:lnTo>
                    <a:lnTo>
                      <a:pt x="170" y="110"/>
                    </a:lnTo>
                    <a:lnTo>
                      <a:pt x="172" y="106"/>
                    </a:lnTo>
                    <a:lnTo>
                      <a:pt x="176" y="106"/>
                    </a:lnTo>
                    <a:lnTo>
                      <a:pt x="180" y="106"/>
                    </a:lnTo>
                    <a:lnTo>
                      <a:pt x="184" y="101"/>
                    </a:lnTo>
                    <a:lnTo>
                      <a:pt x="184" y="97"/>
                    </a:lnTo>
                    <a:lnTo>
                      <a:pt x="180" y="95"/>
                    </a:lnTo>
                    <a:lnTo>
                      <a:pt x="180" y="91"/>
                    </a:lnTo>
                    <a:lnTo>
                      <a:pt x="184" y="91"/>
                    </a:lnTo>
                    <a:lnTo>
                      <a:pt x="188" y="93"/>
                    </a:lnTo>
                    <a:lnTo>
                      <a:pt x="192" y="93"/>
                    </a:lnTo>
                    <a:lnTo>
                      <a:pt x="196" y="93"/>
                    </a:lnTo>
                    <a:lnTo>
                      <a:pt x="200" y="93"/>
                    </a:lnTo>
                    <a:lnTo>
                      <a:pt x="198" y="90"/>
                    </a:lnTo>
                    <a:lnTo>
                      <a:pt x="194" y="88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2" y="86"/>
                    </a:lnTo>
                    <a:lnTo>
                      <a:pt x="178" y="82"/>
                    </a:lnTo>
                    <a:lnTo>
                      <a:pt x="176" y="79"/>
                    </a:lnTo>
                    <a:lnTo>
                      <a:pt x="176" y="75"/>
                    </a:lnTo>
                    <a:lnTo>
                      <a:pt x="172" y="75"/>
                    </a:lnTo>
                    <a:lnTo>
                      <a:pt x="172" y="71"/>
                    </a:lnTo>
                    <a:lnTo>
                      <a:pt x="172" y="68"/>
                    </a:lnTo>
                    <a:lnTo>
                      <a:pt x="172" y="62"/>
                    </a:lnTo>
                    <a:lnTo>
                      <a:pt x="172" y="59"/>
                    </a:lnTo>
                    <a:lnTo>
                      <a:pt x="172" y="55"/>
                    </a:lnTo>
                    <a:lnTo>
                      <a:pt x="176" y="53"/>
                    </a:lnTo>
                    <a:lnTo>
                      <a:pt x="178" y="49"/>
                    </a:lnTo>
                    <a:lnTo>
                      <a:pt x="182" y="49"/>
                    </a:lnTo>
                    <a:lnTo>
                      <a:pt x="184" y="46"/>
                    </a:lnTo>
                    <a:lnTo>
                      <a:pt x="180" y="42"/>
                    </a:lnTo>
                    <a:lnTo>
                      <a:pt x="176" y="40"/>
                    </a:lnTo>
                    <a:lnTo>
                      <a:pt x="174" y="37"/>
                    </a:lnTo>
                    <a:lnTo>
                      <a:pt x="174" y="33"/>
                    </a:lnTo>
                    <a:lnTo>
                      <a:pt x="174" y="29"/>
                    </a:lnTo>
                    <a:lnTo>
                      <a:pt x="174" y="26"/>
                    </a:lnTo>
                    <a:lnTo>
                      <a:pt x="170" y="24"/>
                    </a:lnTo>
                    <a:lnTo>
                      <a:pt x="168" y="20"/>
                    </a:lnTo>
                    <a:lnTo>
                      <a:pt x="168" y="16"/>
                    </a:lnTo>
                    <a:lnTo>
                      <a:pt x="170" y="11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1" name="Freeform 51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622989" y="4045885"/>
                <a:ext cx="211015" cy="281721"/>
              </a:xfrm>
              <a:custGeom>
                <a:avLst/>
                <a:gdLst>
                  <a:gd name="T0" fmla="*/ 2147483647 w 171"/>
                  <a:gd name="T1" fmla="*/ 2147483647 h 239"/>
                  <a:gd name="T2" fmla="*/ 2147483647 w 171"/>
                  <a:gd name="T3" fmla="*/ 2147483647 h 239"/>
                  <a:gd name="T4" fmla="*/ 2147483647 w 171"/>
                  <a:gd name="T5" fmla="*/ 2147483647 h 239"/>
                  <a:gd name="T6" fmla="*/ 2147483647 w 171"/>
                  <a:gd name="T7" fmla="*/ 2147483647 h 239"/>
                  <a:gd name="T8" fmla="*/ 2147483647 w 171"/>
                  <a:gd name="T9" fmla="*/ 2147483647 h 239"/>
                  <a:gd name="T10" fmla="*/ 2147483647 w 171"/>
                  <a:gd name="T11" fmla="*/ 2147483647 h 239"/>
                  <a:gd name="T12" fmla="*/ 2147483647 w 171"/>
                  <a:gd name="T13" fmla="*/ 2147483647 h 239"/>
                  <a:gd name="T14" fmla="*/ 2147483647 w 171"/>
                  <a:gd name="T15" fmla="*/ 2147483647 h 239"/>
                  <a:gd name="T16" fmla="*/ 2147483647 w 171"/>
                  <a:gd name="T17" fmla="*/ 2147483647 h 239"/>
                  <a:gd name="T18" fmla="*/ 2147483647 w 171"/>
                  <a:gd name="T19" fmla="*/ 2147483647 h 239"/>
                  <a:gd name="T20" fmla="*/ 2147483647 w 171"/>
                  <a:gd name="T21" fmla="*/ 2147483647 h 239"/>
                  <a:gd name="T22" fmla="*/ 2147483647 w 171"/>
                  <a:gd name="T23" fmla="*/ 2147483647 h 239"/>
                  <a:gd name="T24" fmla="*/ 2147483647 w 171"/>
                  <a:gd name="T25" fmla="*/ 2147483647 h 239"/>
                  <a:gd name="T26" fmla="*/ 2147483647 w 171"/>
                  <a:gd name="T27" fmla="*/ 2147483647 h 239"/>
                  <a:gd name="T28" fmla="*/ 2147483647 w 171"/>
                  <a:gd name="T29" fmla="*/ 2147483647 h 239"/>
                  <a:gd name="T30" fmla="*/ 2147483647 w 171"/>
                  <a:gd name="T31" fmla="*/ 2147483647 h 239"/>
                  <a:gd name="T32" fmla="*/ 2147483647 w 171"/>
                  <a:gd name="T33" fmla="*/ 2147483647 h 239"/>
                  <a:gd name="T34" fmla="*/ 2147483647 w 171"/>
                  <a:gd name="T35" fmla="*/ 2147483647 h 239"/>
                  <a:gd name="T36" fmla="*/ 2147483647 w 171"/>
                  <a:gd name="T37" fmla="*/ 2147483647 h 239"/>
                  <a:gd name="T38" fmla="*/ 2147483647 w 171"/>
                  <a:gd name="T39" fmla="*/ 2147483647 h 239"/>
                  <a:gd name="T40" fmla="*/ 2147483647 w 171"/>
                  <a:gd name="T41" fmla="*/ 2147483647 h 239"/>
                  <a:gd name="T42" fmla="*/ 2147483647 w 171"/>
                  <a:gd name="T43" fmla="*/ 2147483647 h 239"/>
                  <a:gd name="T44" fmla="*/ 2147483647 w 171"/>
                  <a:gd name="T45" fmla="*/ 2147483647 h 239"/>
                  <a:gd name="T46" fmla="*/ 2147483647 w 171"/>
                  <a:gd name="T47" fmla="*/ 2147483647 h 239"/>
                  <a:gd name="T48" fmla="*/ 0 w 171"/>
                  <a:gd name="T49" fmla="*/ 2147483647 h 239"/>
                  <a:gd name="T50" fmla="*/ 2147483647 w 171"/>
                  <a:gd name="T51" fmla="*/ 2147483647 h 239"/>
                  <a:gd name="T52" fmla="*/ 2147483647 w 171"/>
                  <a:gd name="T53" fmla="*/ 2147483647 h 239"/>
                  <a:gd name="T54" fmla="*/ 2147483647 w 171"/>
                  <a:gd name="T55" fmla="*/ 2147483647 h 239"/>
                  <a:gd name="T56" fmla="*/ 2147483647 w 171"/>
                  <a:gd name="T57" fmla="*/ 2147483647 h 239"/>
                  <a:gd name="T58" fmla="*/ 2147483647 w 171"/>
                  <a:gd name="T59" fmla="*/ 2147483647 h 239"/>
                  <a:gd name="T60" fmla="*/ 2147483647 w 171"/>
                  <a:gd name="T61" fmla="*/ 2147483647 h 239"/>
                  <a:gd name="T62" fmla="*/ 2147483647 w 171"/>
                  <a:gd name="T63" fmla="*/ 2147483647 h 239"/>
                  <a:gd name="T64" fmla="*/ 2147483647 w 171"/>
                  <a:gd name="T65" fmla="*/ 2147483647 h 239"/>
                  <a:gd name="T66" fmla="*/ 2147483647 w 171"/>
                  <a:gd name="T67" fmla="*/ 2147483647 h 239"/>
                  <a:gd name="T68" fmla="*/ 2147483647 w 171"/>
                  <a:gd name="T69" fmla="*/ 2147483647 h 239"/>
                  <a:gd name="T70" fmla="*/ 2147483647 w 171"/>
                  <a:gd name="T71" fmla="*/ 2147483647 h 239"/>
                  <a:gd name="T72" fmla="*/ 2147483647 w 171"/>
                  <a:gd name="T73" fmla="*/ 2147483647 h 239"/>
                  <a:gd name="T74" fmla="*/ 2147483647 w 171"/>
                  <a:gd name="T75" fmla="*/ 2147483647 h 239"/>
                  <a:gd name="T76" fmla="*/ 2147483647 w 171"/>
                  <a:gd name="T77" fmla="*/ 2147483647 h 239"/>
                  <a:gd name="T78" fmla="*/ 2147483647 w 171"/>
                  <a:gd name="T79" fmla="*/ 2147483647 h 239"/>
                  <a:gd name="T80" fmla="*/ 2147483647 w 171"/>
                  <a:gd name="T81" fmla="*/ 2147483647 h 239"/>
                  <a:gd name="T82" fmla="*/ 2147483647 w 171"/>
                  <a:gd name="T83" fmla="*/ 2147483647 h 239"/>
                  <a:gd name="T84" fmla="*/ 2147483647 w 171"/>
                  <a:gd name="T85" fmla="*/ 2147483647 h 239"/>
                  <a:gd name="T86" fmla="*/ 2147483647 w 171"/>
                  <a:gd name="T87" fmla="*/ 2147483647 h 239"/>
                  <a:gd name="T88" fmla="*/ 2147483647 w 171"/>
                  <a:gd name="T89" fmla="*/ 2147483647 h 239"/>
                  <a:gd name="T90" fmla="*/ 2147483647 w 171"/>
                  <a:gd name="T91" fmla="*/ 2147483647 h 239"/>
                  <a:gd name="T92" fmla="*/ 2147483647 w 171"/>
                  <a:gd name="T93" fmla="*/ 2147483647 h 239"/>
                  <a:gd name="T94" fmla="*/ 2147483647 w 171"/>
                  <a:gd name="T95" fmla="*/ 2147483647 h 239"/>
                  <a:gd name="T96" fmla="*/ 2147483647 w 171"/>
                  <a:gd name="T97" fmla="*/ 2147483647 h 239"/>
                  <a:gd name="T98" fmla="*/ 2147483647 w 171"/>
                  <a:gd name="T99" fmla="*/ 2147483647 h 239"/>
                  <a:gd name="T100" fmla="*/ 2147483647 w 171"/>
                  <a:gd name="T101" fmla="*/ 2147483647 h 239"/>
                  <a:gd name="T102" fmla="*/ 2147483647 w 171"/>
                  <a:gd name="T103" fmla="*/ 2147483647 h 239"/>
                  <a:gd name="T104" fmla="*/ 2147483647 w 171"/>
                  <a:gd name="T105" fmla="*/ 2147483647 h 239"/>
                  <a:gd name="T106" fmla="*/ 2147483647 w 171"/>
                  <a:gd name="T107" fmla="*/ 2147483647 h 239"/>
                  <a:gd name="T108" fmla="*/ 2147483647 w 171"/>
                  <a:gd name="T109" fmla="*/ 2147483647 h 239"/>
                  <a:gd name="T110" fmla="*/ 2147483647 w 171"/>
                  <a:gd name="T111" fmla="*/ 2147483647 h 239"/>
                  <a:gd name="T112" fmla="*/ 2147483647 w 171"/>
                  <a:gd name="T113" fmla="*/ 2147483647 h 239"/>
                  <a:gd name="T114" fmla="*/ 2147483647 w 171"/>
                  <a:gd name="T115" fmla="*/ 2147483647 h 239"/>
                  <a:gd name="T116" fmla="*/ 2147483647 w 171"/>
                  <a:gd name="T117" fmla="*/ 0 h 23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71"/>
                  <a:gd name="T178" fmla="*/ 0 h 239"/>
                  <a:gd name="T179" fmla="*/ 171 w 171"/>
                  <a:gd name="T180" fmla="*/ 239 h 23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71" h="239">
                    <a:moveTo>
                      <a:pt x="119" y="0"/>
                    </a:moveTo>
                    <a:lnTo>
                      <a:pt x="101" y="2"/>
                    </a:lnTo>
                    <a:lnTo>
                      <a:pt x="96" y="2"/>
                    </a:lnTo>
                    <a:lnTo>
                      <a:pt x="92" y="3"/>
                    </a:lnTo>
                    <a:lnTo>
                      <a:pt x="88" y="5"/>
                    </a:lnTo>
                    <a:lnTo>
                      <a:pt x="84" y="6"/>
                    </a:lnTo>
                    <a:lnTo>
                      <a:pt x="79" y="7"/>
                    </a:lnTo>
                    <a:lnTo>
                      <a:pt x="75" y="7"/>
                    </a:lnTo>
                    <a:lnTo>
                      <a:pt x="70" y="8"/>
                    </a:lnTo>
                    <a:lnTo>
                      <a:pt x="66" y="6"/>
                    </a:lnTo>
                    <a:lnTo>
                      <a:pt x="62" y="9"/>
                    </a:lnTo>
                    <a:lnTo>
                      <a:pt x="59" y="14"/>
                    </a:lnTo>
                    <a:lnTo>
                      <a:pt x="54" y="16"/>
                    </a:lnTo>
                    <a:lnTo>
                      <a:pt x="52" y="20"/>
                    </a:lnTo>
                    <a:lnTo>
                      <a:pt x="55" y="25"/>
                    </a:lnTo>
                    <a:lnTo>
                      <a:pt x="60" y="27"/>
                    </a:lnTo>
                    <a:lnTo>
                      <a:pt x="65" y="32"/>
                    </a:lnTo>
                    <a:lnTo>
                      <a:pt x="69" y="35"/>
                    </a:lnTo>
                    <a:lnTo>
                      <a:pt x="72" y="39"/>
                    </a:lnTo>
                    <a:lnTo>
                      <a:pt x="71" y="43"/>
                    </a:lnTo>
                    <a:lnTo>
                      <a:pt x="67" y="49"/>
                    </a:lnTo>
                    <a:lnTo>
                      <a:pt x="66" y="52"/>
                    </a:lnTo>
                    <a:lnTo>
                      <a:pt x="62" y="59"/>
                    </a:lnTo>
                    <a:lnTo>
                      <a:pt x="58" y="64"/>
                    </a:lnTo>
                    <a:lnTo>
                      <a:pt x="57" y="68"/>
                    </a:lnTo>
                    <a:lnTo>
                      <a:pt x="57" y="72"/>
                    </a:lnTo>
                    <a:lnTo>
                      <a:pt x="58" y="77"/>
                    </a:lnTo>
                    <a:lnTo>
                      <a:pt x="62" y="78"/>
                    </a:lnTo>
                    <a:lnTo>
                      <a:pt x="67" y="79"/>
                    </a:lnTo>
                    <a:lnTo>
                      <a:pt x="72" y="80"/>
                    </a:lnTo>
                    <a:lnTo>
                      <a:pt x="76" y="83"/>
                    </a:lnTo>
                    <a:lnTo>
                      <a:pt x="78" y="86"/>
                    </a:lnTo>
                    <a:lnTo>
                      <a:pt x="81" y="90"/>
                    </a:lnTo>
                    <a:lnTo>
                      <a:pt x="86" y="91"/>
                    </a:lnTo>
                    <a:lnTo>
                      <a:pt x="87" y="95"/>
                    </a:lnTo>
                    <a:lnTo>
                      <a:pt x="84" y="100"/>
                    </a:lnTo>
                    <a:lnTo>
                      <a:pt x="81" y="107"/>
                    </a:lnTo>
                    <a:lnTo>
                      <a:pt x="82" y="111"/>
                    </a:lnTo>
                    <a:lnTo>
                      <a:pt x="80" y="114"/>
                    </a:lnTo>
                    <a:lnTo>
                      <a:pt x="77" y="118"/>
                    </a:lnTo>
                    <a:lnTo>
                      <a:pt x="73" y="120"/>
                    </a:lnTo>
                    <a:lnTo>
                      <a:pt x="71" y="126"/>
                    </a:lnTo>
                    <a:lnTo>
                      <a:pt x="71" y="129"/>
                    </a:lnTo>
                    <a:lnTo>
                      <a:pt x="72" y="133"/>
                    </a:lnTo>
                    <a:lnTo>
                      <a:pt x="72" y="138"/>
                    </a:lnTo>
                    <a:lnTo>
                      <a:pt x="73" y="141"/>
                    </a:lnTo>
                    <a:lnTo>
                      <a:pt x="73" y="146"/>
                    </a:lnTo>
                    <a:lnTo>
                      <a:pt x="74" y="150"/>
                    </a:lnTo>
                    <a:lnTo>
                      <a:pt x="74" y="154"/>
                    </a:lnTo>
                    <a:lnTo>
                      <a:pt x="73" y="158"/>
                    </a:lnTo>
                    <a:lnTo>
                      <a:pt x="67" y="164"/>
                    </a:lnTo>
                    <a:lnTo>
                      <a:pt x="63" y="164"/>
                    </a:lnTo>
                    <a:lnTo>
                      <a:pt x="58" y="165"/>
                    </a:lnTo>
                    <a:lnTo>
                      <a:pt x="54" y="165"/>
                    </a:lnTo>
                    <a:lnTo>
                      <a:pt x="49" y="166"/>
                    </a:lnTo>
                    <a:lnTo>
                      <a:pt x="45" y="167"/>
                    </a:lnTo>
                    <a:lnTo>
                      <a:pt x="40" y="167"/>
                    </a:lnTo>
                    <a:lnTo>
                      <a:pt x="36" y="168"/>
                    </a:lnTo>
                    <a:lnTo>
                      <a:pt x="31" y="166"/>
                    </a:lnTo>
                    <a:lnTo>
                      <a:pt x="27" y="166"/>
                    </a:lnTo>
                    <a:lnTo>
                      <a:pt x="22" y="170"/>
                    </a:lnTo>
                    <a:lnTo>
                      <a:pt x="20" y="173"/>
                    </a:lnTo>
                    <a:lnTo>
                      <a:pt x="21" y="178"/>
                    </a:lnTo>
                    <a:lnTo>
                      <a:pt x="26" y="181"/>
                    </a:lnTo>
                    <a:lnTo>
                      <a:pt x="31" y="181"/>
                    </a:lnTo>
                    <a:lnTo>
                      <a:pt x="33" y="184"/>
                    </a:lnTo>
                    <a:lnTo>
                      <a:pt x="36" y="188"/>
                    </a:lnTo>
                    <a:lnTo>
                      <a:pt x="30" y="191"/>
                    </a:lnTo>
                    <a:lnTo>
                      <a:pt x="25" y="194"/>
                    </a:lnTo>
                    <a:lnTo>
                      <a:pt x="19" y="198"/>
                    </a:lnTo>
                    <a:lnTo>
                      <a:pt x="15" y="201"/>
                    </a:lnTo>
                    <a:lnTo>
                      <a:pt x="10" y="202"/>
                    </a:lnTo>
                    <a:lnTo>
                      <a:pt x="6" y="204"/>
                    </a:lnTo>
                    <a:lnTo>
                      <a:pt x="2" y="205"/>
                    </a:lnTo>
                    <a:lnTo>
                      <a:pt x="0" y="210"/>
                    </a:lnTo>
                    <a:lnTo>
                      <a:pt x="5" y="210"/>
                    </a:lnTo>
                    <a:lnTo>
                      <a:pt x="10" y="212"/>
                    </a:lnTo>
                    <a:lnTo>
                      <a:pt x="14" y="211"/>
                    </a:lnTo>
                    <a:lnTo>
                      <a:pt x="21" y="213"/>
                    </a:lnTo>
                    <a:lnTo>
                      <a:pt x="28" y="214"/>
                    </a:lnTo>
                    <a:lnTo>
                      <a:pt x="33" y="216"/>
                    </a:lnTo>
                    <a:lnTo>
                      <a:pt x="37" y="215"/>
                    </a:lnTo>
                    <a:lnTo>
                      <a:pt x="40" y="219"/>
                    </a:lnTo>
                    <a:lnTo>
                      <a:pt x="39" y="225"/>
                    </a:lnTo>
                    <a:lnTo>
                      <a:pt x="37" y="230"/>
                    </a:lnTo>
                    <a:lnTo>
                      <a:pt x="38" y="235"/>
                    </a:lnTo>
                    <a:lnTo>
                      <a:pt x="42" y="235"/>
                    </a:lnTo>
                    <a:lnTo>
                      <a:pt x="47" y="234"/>
                    </a:lnTo>
                    <a:lnTo>
                      <a:pt x="51" y="231"/>
                    </a:lnTo>
                    <a:lnTo>
                      <a:pt x="55" y="231"/>
                    </a:lnTo>
                    <a:lnTo>
                      <a:pt x="61" y="232"/>
                    </a:lnTo>
                    <a:lnTo>
                      <a:pt x="65" y="235"/>
                    </a:lnTo>
                    <a:lnTo>
                      <a:pt x="68" y="238"/>
                    </a:lnTo>
                    <a:lnTo>
                      <a:pt x="73" y="238"/>
                    </a:lnTo>
                    <a:lnTo>
                      <a:pt x="77" y="238"/>
                    </a:lnTo>
                    <a:lnTo>
                      <a:pt x="82" y="237"/>
                    </a:lnTo>
                    <a:lnTo>
                      <a:pt x="86" y="237"/>
                    </a:lnTo>
                    <a:lnTo>
                      <a:pt x="91" y="239"/>
                    </a:lnTo>
                    <a:lnTo>
                      <a:pt x="96" y="238"/>
                    </a:lnTo>
                    <a:lnTo>
                      <a:pt x="99" y="238"/>
                    </a:lnTo>
                    <a:lnTo>
                      <a:pt x="103" y="238"/>
                    </a:lnTo>
                    <a:lnTo>
                      <a:pt x="108" y="237"/>
                    </a:lnTo>
                    <a:lnTo>
                      <a:pt x="112" y="236"/>
                    </a:lnTo>
                    <a:lnTo>
                      <a:pt x="117" y="238"/>
                    </a:lnTo>
                    <a:lnTo>
                      <a:pt x="122" y="237"/>
                    </a:lnTo>
                    <a:lnTo>
                      <a:pt x="126" y="234"/>
                    </a:lnTo>
                    <a:lnTo>
                      <a:pt x="131" y="234"/>
                    </a:lnTo>
                    <a:lnTo>
                      <a:pt x="134" y="233"/>
                    </a:lnTo>
                    <a:lnTo>
                      <a:pt x="139" y="233"/>
                    </a:lnTo>
                    <a:lnTo>
                      <a:pt x="143" y="232"/>
                    </a:lnTo>
                    <a:lnTo>
                      <a:pt x="148" y="231"/>
                    </a:lnTo>
                    <a:lnTo>
                      <a:pt x="150" y="227"/>
                    </a:lnTo>
                    <a:lnTo>
                      <a:pt x="149" y="223"/>
                    </a:lnTo>
                    <a:lnTo>
                      <a:pt x="144" y="221"/>
                    </a:lnTo>
                    <a:lnTo>
                      <a:pt x="141" y="217"/>
                    </a:lnTo>
                    <a:lnTo>
                      <a:pt x="139" y="212"/>
                    </a:lnTo>
                    <a:lnTo>
                      <a:pt x="136" y="208"/>
                    </a:lnTo>
                    <a:lnTo>
                      <a:pt x="133" y="204"/>
                    </a:lnTo>
                    <a:lnTo>
                      <a:pt x="132" y="198"/>
                    </a:lnTo>
                    <a:lnTo>
                      <a:pt x="131" y="193"/>
                    </a:lnTo>
                    <a:lnTo>
                      <a:pt x="136" y="192"/>
                    </a:lnTo>
                    <a:lnTo>
                      <a:pt x="140" y="191"/>
                    </a:lnTo>
                    <a:lnTo>
                      <a:pt x="145" y="191"/>
                    </a:lnTo>
                    <a:lnTo>
                      <a:pt x="150" y="196"/>
                    </a:lnTo>
                    <a:lnTo>
                      <a:pt x="155" y="197"/>
                    </a:lnTo>
                    <a:lnTo>
                      <a:pt x="160" y="195"/>
                    </a:lnTo>
                    <a:lnTo>
                      <a:pt x="163" y="189"/>
                    </a:lnTo>
                    <a:lnTo>
                      <a:pt x="164" y="186"/>
                    </a:lnTo>
                    <a:lnTo>
                      <a:pt x="160" y="179"/>
                    </a:lnTo>
                    <a:lnTo>
                      <a:pt x="159" y="174"/>
                    </a:lnTo>
                    <a:lnTo>
                      <a:pt x="160" y="169"/>
                    </a:lnTo>
                    <a:lnTo>
                      <a:pt x="160" y="164"/>
                    </a:lnTo>
                    <a:lnTo>
                      <a:pt x="164" y="161"/>
                    </a:lnTo>
                    <a:lnTo>
                      <a:pt x="165" y="155"/>
                    </a:lnTo>
                    <a:lnTo>
                      <a:pt x="169" y="153"/>
                    </a:lnTo>
                    <a:lnTo>
                      <a:pt x="171" y="147"/>
                    </a:lnTo>
                    <a:lnTo>
                      <a:pt x="166" y="145"/>
                    </a:lnTo>
                    <a:lnTo>
                      <a:pt x="161" y="139"/>
                    </a:lnTo>
                    <a:lnTo>
                      <a:pt x="161" y="136"/>
                    </a:lnTo>
                    <a:lnTo>
                      <a:pt x="162" y="132"/>
                    </a:lnTo>
                    <a:lnTo>
                      <a:pt x="162" y="127"/>
                    </a:lnTo>
                    <a:lnTo>
                      <a:pt x="166" y="128"/>
                    </a:lnTo>
                    <a:lnTo>
                      <a:pt x="171" y="127"/>
                    </a:lnTo>
                    <a:lnTo>
                      <a:pt x="170" y="125"/>
                    </a:lnTo>
                    <a:lnTo>
                      <a:pt x="164" y="118"/>
                    </a:lnTo>
                    <a:lnTo>
                      <a:pt x="160" y="115"/>
                    </a:lnTo>
                    <a:lnTo>
                      <a:pt x="157" y="111"/>
                    </a:lnTo>
                    <a:lnTo>
                      <a:pt x="152" y="108"/>
                    </a:lnTo>
                    <a:lnTo>
                      <a:pt x="148" y="105"/>
                    </a:lnTo>
                    <a:lnTo>
                      <a:pt x="142" y="104"/>
                    </a:lnTo>
                    <a:lnTo>
                      <a:pt x="135" y="104"/>
                    </a:lnTo>
                    <a:lnTo>
                      <a:pt x="131" y="101"/>
                    </a:lnTo>
                    <a:lnTo>
                      <a:pt x="125" y="96"/>
                    </a:lnTo>
                    <a:lnTo>
                      <a:pt x="125" y="93"/>
                    </a:lnTo>
                    <a:lnTo>
                      <a:pt x="126" y="88"/>
                    </a:lnTo>
                    <a:lnTo>
                      <a:pt x="126" y="84"/>
                    </a:lnTo>
                    <a:lnTo>
                      <a:pt x="128" y="80"/>
                    </a:lnTo>
                    <a:lnTo>
                      <a:pt x="132" y="77"/>
                    </a:lnTo>
                    <a:lnTo>
                      <a:pt x="136" y="75"/>
                    </a:lnTo>
                    <a:lnTo>
                      <a:pt x="140" y="71"/>
                    </a:lnTo>
                    <a:lnTo>
                      <a:pt x="142" y="67"/>
                    </a:lnTo>
                    <a:lnTo>
                      <a:pt x="144" y="63"/>
                    </a:lnTo>
                    <a:lnTo>
                      <a:pt x="141" y="59"/>
                    </a:lnTo>
                    <a:lnTo>
                      <a:pt x="136" y="57"/>
                    </a:lnTo>
                    <a:lnTo>
                      <a:pt x="131" y="54"/>
                    </a:lnTo>
                    <a:lnTo>
                      <a:pt x="128" y="50"/>
                    </a:lnTo>
                    <a:lnTo>
                      <a:pt x="125" y="46"/>
                    </a:lnTo>
                    <a:lnTo>
                      <a:pt x="127" y="43"/>
                    </a:lnTo>
                    <a:lnTo>
                      <a:pt x="132" y="40"/>
                    </a:lnTo>
                    <a:lnTo>
                      <a:pt x="133" y="35"/>
                    </a:lnTo>
                    <a:lnTo>
                      <a:pt x="137" y="30"/>
                    </a:lnTo>
                    <a:lnTo>
                      <a:pt x="137" y="26"/>
                    </a:lnTo>
                    <a:lnTo>
                      <a:pt x="138" y="22"/>
                    </a:lnTo>
                    <a:lnTo>
                      <a:pt x="136" y="17"/>
                    </a:lnTo>
                    <a:lnTo>
                      <a:pt x="124" y="3"/>
                    </a:lnTo>
                    <a:lnTo>
                      <a:pt x="137" y="9"/>
                    </a:lnTo>
                    <a:lnTo>
                      <a:pt x="119" y="0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2" name="Freeform 61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2509699" y="2891061"/>
                <a:ext cx="1059563" cy="519205"/>
              </a:xfrm>
              <a:custGeom>
                <a:avLst/>
                <a:gdLst>
                  <a:gd name="T0" fmla="*/ 2147483647 w 855"/>
                  <a:gd name="T1" fmla="*/ 2147483647 h 440"/>
                  <a:gd name="T2" fmla="*/ 2147483647 w 855"/>
                  <a:gd name="T3" fmla="*/ 2147483647 h 440"/>
                  <a:gd name="T4" fmla="*/ 2147483647 w 855"/>
                  <a:gd name="T5" fmla="*/ 2147483647 h 440"/>
                  <a:gd name="T6" fmla="*/ 2147483647 w 855"/>
                  <a:gd name="T7" fmla="*/ 2147483647 h 440"/>
                  <a:gd name="T8" fmla="*/ 2147483647 w 855"/>
                  <a:gd name="T9" fmla="*/ 2147483647 h 440"/>
                  <a:gd name="T10" fmla="*/ 2147483647 w 855"/>
                  <a:gd name="T11" fmla="*/ 2147483647 h 440"/>
                  <a:gd name="T12" fmla="*/ 2147483647 w 855"/>
                  <a:gd name="T13" fmla="*/ 2147483647 h 440"/>
                  <a:gd name="T14" fmla="*/ 2147483647 w 855"/>
                  <a:gd name="T15" fmla="*/ 2147483647 h 440"/>
                  <a:gd name="T16" fmla="*/ 2147483647 w 855"/>
                  <a:gd name="T17" fmla="*/ 2147483647 h 440"/>
                  <a:gd name="T18" fmla="*/ 2147483647 w 855"/>
                  <a:gd name="T19" fmla="*/ 2147483647 h 440"/>
                  <a:gd name="T20" fmla="*/ 2147483647 w 855"/>
                  <a:gd name="T21" fmla="*/ 2147483647 h 440"/>
                  <a:gd name="T22" fmla="*/ 2147483647 w 855"/>
                  <a:gd name="T23" fmla="*/ 2147483647 h 440"/>
                  <a:gd name="T24" fmla="*/ 2147483647 w 855"/>
                  <a:gd name="T25" fmla="*/ 2147483647 h 440"/>
                  <a:gd name="T26" fmla="*/ 2147483647 w 855"/>
                  <a:gd name="T27" fmla="*/ 2147483647 h 440"/>
                  <a:gd name="T28" fmla="*/ 2147483647 w 855"/>
                  <a:gd name="T29" fmla="*/ 2147483647 h 440"/>
                  <a:gd name="T30" fmla="*/ 2147483647 w 855"/>
                  <a:gd name="T31" fmla="*/ 2147483647 h 440"/>
                  <a:gd name="T32" fmla="*/ 2147483647 w 855"/>
                  <a:gd name="T33" fmla="*/ 2147483647 h 440"/>
                  <a:gd name="T34" fmla="*/ 2147483647 w 855"/>
                  <a:gd name="T35" fmla="*/ 2147483647 h 440"/>
                  <a:gd name="T36" fmla="*/ 2147483647 w 855"/>
                  <a:gd name="T37" fmla="*/ 2147483647 h 440"/>
                  <a:gd name="T38" fmla="*/ 0 w 855"/>
                  <a:gd name="T39" fmla="*/ 2147483647 h 440"/>
                  <a:gd name="T40" fmla="*/ 2147483647 w 855"/>
                  <a:gd name="T41" fmla="*/ 2147483647 h 440"/>
                  <a:gd name="T42" fmla="*/ 2147483647 w 855"/>
                  <a:gd name="T43" fmla="*/ 2147483647 h 440"/>
                  <a:gd name="T44" fmla="*/ 2147483647 w 855"/>
                  <a:gd name="T45" fmla="*/ 2147483647 h 440"/>
                  <a:gd name="T46" fmla="*/ 2147483647 w 855"/>
                  <a:gd name="T47" fmla="*/ 2147483647 h 440"/>
                  <a:gd name="T48" fmla="*/ 2147483647 w 855"/>
                  <a:gd name="T49" fmla="*/ 2147483647 h 440"/>
                  <a:gd name="T50" fmla="*/ 2147483647 w 855"/>
                  <a:gd name="T51" fmla="*/ 2147483647 h 440"/>
                  <a:gd name="T52" fmla="*/ 2147483647 w 855"/>
                  <a:gd name="T53" fmla="*/ 2147483647 h 440"/>
                  <a:gd name="T54" fmla="*/ 2147483647 w 855"/>
                  <a:gd name="T55" fmla="*/ 2147483647 h 440"/>
                  <a:gd name="T56" fmla="*/ 2147483647 w 855"/>
                  <a:gd name="T57" fmla="*/ 2147483647 h 440"/>
                  <a:gd name="T58" fmla="*/ 2147483647 w 855"/>
                  <a:gd name="T59" fmla="*/ 2147483647 h 440"/>
                  <a:gd name="T60" fmla="*/ 2147483647 w 855"/>
                  <a:gd name="T61" fmla="*/ 2147483647 h 440"/>
                  <a:gd name="T62" fmla="*/ 2147483647 w 855"/>
                  <a:gd name="T63" fmla="*/ 2147483647 h 440"/>
                  <a:gd name="T64" fmla="*/ 2147483647 w 855"/>
                  <a:gd name="T65" fmla="*/ 2147483647 h 440"/>
                  <a:gd name="T66" fmla="*/ 2147483647 w 855"/>
                  <a:gd name="T67" fmla="*/ 2147483647 h 440"/>
                  <a:gd name="T68" fmla="*/ 2147483647 w 855"/>
                  <a:gd name="T69" fmla="*/ 2147483647 h 440"/>
                  <a:gd name="T70" fmla="*/ 2147483647 w 855"/>
                  <a:gd name="T71" fmla="*/ 2147483647 h 440"/>
                  <a:gd name="T72" fmla="*/ 2147483647 w 855"/>
                  <a:gd name="T73" fmla="*/ 2147483647 h 440"/>
                  <a:gd name="T74" fmla="*/ 2147483647 w 855"/>
                  <a:gd name="T75" fmla="*/ 2147483647 h 440"/>
                  <a:gd name="T76" fmla="*/ 2147483647 w 855"/>
                  <a:gd name="T77" fmla="*/ 2147483647 h 440"/>
                  <a:gd name="T78" fmla="*/ 2147483647 w 855"/>
                  <a:gd name="T79" fmla="*/ 2147483647 h 440"/>
                  <a:gd name="T80" fmla="*/ 2147483647 w 855"/>
                  <a:gd name="T81" fmla="*/ 2147483647 h 440"/>
                  <a:gd name="T82" fmla="*/ 2147483647 w 855"/>
                  <a:gd name="T83" fmla="*/ 2147483647 h 440"/>
                  <a:gd name="T84" fmla="*/ 2147483647 w 855"/>
                  <a:gd name="T85" fmla="*/ 2147483647 h 440"/>
                  <a:gd name="T86" fmla="*/ 2147483647 w 855"/>
                  <a:gd name="T87" fmla="*/ 2147483647 h 440"/>
                  <a:gd name="T88" fmla="*/ 2147483647 w 855"/>
                  <a:gd name="T89" fmla="*/ 2147483647 h 440"/>
                  <a:gd name="T90" fmla="*/ 2147483647 w 855"/>
                  <a:gd name="T91" fmla="*/ 2147483647 h 440"/>
                  <a:gd name="T92" fmla="*/ 2147483647 w 855"/>
                  <a:gd name="T93" fmla="*/ 2147483647 h 440"/>
                  <a:gd name="T94" fmla="*/ 2147483647 w 855"/>
                  <a:gd name="T95" fmla="*/ 2147483647 h 440"/>
                  <a:gd name="T96" fmla="*/ 2147483647 w 855"/>
                  <a:gd name="T97" fmla="*/ 2147483647 h 440"/>
                  <a:gd name="T98" fmla="*/ 2147483647 w 855"/>
                  <a:gd name="T99" fmla="*/ 2147483647 h 440"/>
                  <a:gd name="T100" fmla="*/ 2147483647 w 855"/>
                  <a:gd name="T101" fmla="*/ 2147483647 h 440"/>
                  <a:gd name="T102" fmla="*/ 2147483647 w 855"/>
                  <a:gd name="T103" fmla="*/ 2147483647 h 440"/>
                  <a:gd name="T104" fmla="*/ 2147483647 w 855"/>
                  <a:gd name="T105" fmla="*/ 2147483647 h 440"/>
                  <a:gd name="T106" fmla="*/ 2147483647 w 855"/>
                  <a:gd name="T107" fmla="*/ 2147483647 h 440"/>
                  <a:gd name="T108" fmla="*/ 2147483647 w 855"/>
                  <a:gd name="T109" fmla="*/ 2147483647 h 440"/>
                  <a:gd name="T110" fmla="*/ 2147483647 w 855"/>
                  <a:gd name="T111" fmla="*/ 2147483647 h 440"/>
                  <a:gd name="T112" fmla="*/ 2147483647 w 855"/>
                  <a:gd name="T113" fmla="*/ 2147483647 h 440"/>
                  <a:gd name="T114" fmla="*/ 2147483647 w 855"/>
                  <a:gd name="T115" fmla="*/ 2147483647 h 440"/>
                  <a:gd name="T116" fmla="*/ 2147483647 w 855"/>
                  <a:gd name="T117" fmla="*/ 0 h 440"/>
                  <a:gd name="T118" fmla="*/ 2147483647 w 855"/>
                  <a:gd name="T119" fmla="*/ 2147483647 h 440"/>
                  <a:gd name="T120" fmla="*/ 2147483647 w 855"/>
                  <a:gd name="T121" fmla="*/ 2147483647 h 440"/>
                  <a:gd name="T122" fmla="*/ 2147483647 w 855"/>
                  <a:gd name="T123" fmla="*/ 2147483647 h 440"/>
                  <a:gd name="T124" fmla="*/ 2147483647 w 855"/>
                  <a:gd name="T125" fmla="*/ 2147483647 h 44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855"/>
                  <a:gd name="T190" fmla="*/ 0 h 440"/>
                  <a:gd name="T191" fmla="*/ 855 w 855"/>
                  <a:gd name="T192" fmla="*/ 440 h 44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855" h="440">
                    <a:moveTo>
                      <a:pt x="297" y="17"/>
                    </a:moveTo>
                    <a:lnTo>
                      <a:pt x="292" y="22"/>
                    </a:lnTo>
                    <a:lnTo>
                      <a:pt x="289" y="27"/>
                    </a:lnTo>
                    <a:lnTo>
                      <a:pt x="284" y="31"/>
                    </a:lnTo>
                    <a:lnTo>
                      <a:pt x="281" y="33"/>
                    </a:lnTo>
                    <a:lnTo>
                      <a:pt x="276" y="39"/>
                    </a:lnTo>
                    <a:lnTo>
                      <a:pt x="275" y="43"/>
                    </a:lnTo>
                    <a:lnTo>
                      <a:pt x="275" y="47"/>
                    </a:lnTo>
                    <a:lnTo>
                      <a:pt x="271" y="50"/>
                    </a:lnTo>
                    <a:lnTo>
                      <a:pt x="269" y="55"/>
                    </a:lnTo>
                    <a:lnTo>
                      <a:pt x="265" y="59"/>
                    </a:lnTo>
                    <a:lnTo>
                      <a:pt x="263" y="63"/>
                    </a:lnTo>
                    <a:lnTo>
                      <a:pt x="263" y="68"/>
                    </a:lnTo>
                    <a:lnTo>
                      <a:pt x="264" y="71"/>
                    </a:lnTo>
                    <a:lnTo>
                      <a:pt x="269" y="75"/>
                    </a:lnTo>
                    <a:lnTo>
                      <a:pt x="274" y="76"/>
                    </a:lnTo>
                    <a:lnTo>
                      <a:pt x="275" y="82"/>
                    </a:lnTo>
                    <a:lnTo>
                      <a:pt x="280" y="89"/>
                    </a:lnTo>
                    <a:lnTo>
                      <a:pt x="281" y="92"/>
                    </a:lnTo>
                    <a:lnTo>
                      <a:pt x="281" y="97"/>
                    </a:lnTo>
                    <a:lnTo>
                      <a:pt x="280" y="101"/>
                    </a:lnTo>
                    <a:lnTo>
                      <a:pt x="279" y="107"/>
                    </a:lnTo>
                    <a:lnTo>
                      <a:pt x="279" y="111"/>
                    </a:lnTo>
                    <a:lnTo>
                      <a:pt x="277" y="116"/>
                    </a:lnTo>
                    <a:lnTo>
                      <a:pt x="275" y="120"/>
                    </a:lnTo>
                    <a:lnTo>
                      <a:pt x="276" y="125"/>
                    </a:lnTo>
                    <a:lnTo>
                      <a:pt x="271" y="127"/>
                    </a:lnTo>
                    <a:lnTo>
                      <a:pt x="267" y="128"/>
                    </a:lnTo>
                    <a:lnTo>
                      <a:pt x="262" y="128"/>
                    </a:lnTo>
                    <a:lnTo>
                      <a:pt x="258" y="129"/>
                    </a:lnTo>
                    <a:lnTo>
                      <a:pt x="253" y="130"/>
                    </a:lnTo>
                    <a:lnTo>
                      <a:pt x="248" y="123"/>
                    </a:lnTo>
                    <a:lnTo>
                      <a:pt x="246" y="121"/>
                    </a:lnTo>
                    <a:lnTo>
                      <a:pt x="241" y="118"/>
                    </a:lnTo>
                    <a:lnTo>
                      <a:pt x="234" y="119"/>
                    </a:lnTo>
                    <a:lnTo>
                      <a:pt x="230" y="123"/>
                    </a:lnTo>
                    <a:lnTo>
                      <a:pt x="225" y="123"/>
                    </a:lnTo>
                    <a:lnTo>
                      <a:pt x="221" y="125"/>
                    </a:lnTo>
                    <a:lnTo>
                      <a:pt x="217" y="126"/>
                    </a:lnTo>
                    <a:lnTo>
                      <a:pt x="213" y="126"/>
                    </a:lnTo>
                    <a:lnTo>
                      <a:pt x="207" y="123"/>
                    </a:lnTo>
                    <a:lnTo>
                      <a:pt x="203" y="123"/>
                    </a:lnTo>
                    <a:lnTo>
                      <a:pt x="198" y="124"/>
                    </a:lnTo>
                    <a:lnTo>
                      <a:pt x="194" y="125"/>
                    </a:lnTo>
                    <a:lnTo>
                      <a:pt x="190" y="128"/>
                    </a:lnTo>
                    <a:lnTo>
                      <a:pt x="189" y="123"/>
                    </a:lnTo>
                    <a:lnTo>
                      <a:pt x="186" y="120"/>
                    </a:lnTo>
                    <a:lnTo>
                      <a:pt x="186" y="114"/>
                    </a:lnTo>
                    <a:lnTo>
                      <a:pt x="180" y="112"/>
                    </a:lnTo>
                    <a:lnTo>
                      <a:pt x="178" y="108"/>
                    </a:lnTo>
                    <a:lnTo>
                      <a:pt x="170" y="104"/>
                    </a:lnTo>
                    <a:lnTo>
                      <a:pt x="164" y="99"/>
                    </a:lnTo>
                    <a:lnTo>
                      <a:pt x="158" y="96"/>
                    </a:lnTo>
                    <a:lnTo>
                      <a:pt x="154" y="93"/>
                    </a:lnTo>
                    <a:lnTo>
                      <a:pt x="149" y="91"/>
                    </a:lnTo>
                    <a:lnTo>
                      <a:pt x="145" y="90"/>
                    </a:lnTo>
                    <a:lnTo>
                      <a:pt x="140" y="87"/>
                    </a:lnTo>
                    <a:lnTo>
                      <a:pt x="136" y="87"/>
                    </a:lnTo>
                    <a:lnTo>
                      <a:pt x="130" y="86"/>
                    </a:lnTo>
                    <a:lnTo>
                      <a:pt x="126" y="81"/>
                    </a:lnTo>
                    <a:lnTo>
                      <a:pt x="120" y="78"/>
                    </a:lnTo>
                    <a:lnTo>
                      <a:pt x="116" y="76"/>
                    </a:lnTo>
                    <a:lnTo>
                      <a:pt x="111" y="73"/>
                    </a:lnTo>
                    <a:lnTo>
                      <a:pt x="107" y="79"/>
                    </a:lnTo>
                    <a:lnTo>
                      <a:pt x="105" y="82"/>
                    </a:lnTo>
                    <a:lnTo>
                      <a:pt x="105" y="87"/>
                    </a:lnTo>
                    <a:lnTo>
                      <a:pt x="106" y="91"/>
                    </a:lnTo>
                    <a:lnTo>
                      <a:pt x="106" y="95"/>
                    </a:lnTo>
                    <a:lnTo>
                      <a:pt x="112" y="98"/>
                    </a:lnTo>
                    <a:lnTo>
                      <a:pt x="112" y="102"/>
                    </a:lnTo>
                    <a:lnTo>
                      <a:pt x="117" y="108"/>
                    </a:lnTo>
                    <a:lnTo>
                      <a:pt x="118" y="113"/>
                    </a:lnTo>
                    <a:lnTo>
                      <a:pt x="118" y="116"/>
                    </a:lnTo>
                    <a:lnTo>
                      <a:pt x="122" y="120"/>
                    </a:lnTo>
                    <a:lnTo>
                      <a:pt x="122" y="124"/>
                    </a:lnTo>
                    <a:lnTo>
                      <a:pt x="123" y="128"/>
                    </a:lnTo>
                    <a:lnTo>
                      <a:pt x="124" y="132"/>
                    </a:lnTo>
                    <a:lnTo>
                      <a:pt x="124" y="137"/>
                    </a:lnTo>
                    <a:lnTo>
                      <a:pt x="122" y="140"/>
                    </a:lnTo>
                    <a:lnTo>
                      <a:pt x="120" y="146"/>
                    </a:lnTo>
                    <a:lnTo>
                      <a:pt x="117" y="148"/>
                    </a:lnTo>
                    <a:lnTo>
                      <a:pt x="114" y="154"/>
                    </a:lnTo>
                    <a:lnTo>
                      <a:pt x="115" y="158"/>
                    </a:lnTo>
                    <a:lnTo>
                      <a:pt x="120" y="160"/>
                    </a:lnTo>
                    <a:lnTo>
                      <a:pt x="123" y="163"/>
                    </a:lnTo>
                    <a:lnTo>
                      <a:pt x="122" y="171"/>
                    </a:lnTo>
                    <a:lnTo>
                      <a:pt x="122" y="174"/>
                    </a:lnTo>
                    <a:lnTo>
                      <a:pt x="117" y="176"/>
                    </a:lnTo>
                    <a:lnTo>
                      <a:pt x="113" y="177"/>
                    </a:lnTo>
                    <a:lnTo>
                      <a:pt x="109" y="179"/>
                    </a:lnTo>
                    <a:lnTo>
                      <a:pt x="105" y="180"/>
                    </a:lnTo>
                    <a:lnTo>
                      <a:pt x="100" y="181"/>
                    </a:lnTo>
                    <a:lnTo>
                      <a:pt x="96" y="181"/>
                    </a:lnTo>
                    <a:lnTo>
                      <a:pt x="91" y="182"/>
                    </a:lnTo>
                    <a:lnTo>
                      <a:pt x="87" y="182"/>
                    </a:lnTo>
                    <a:lnTo>
                      <a:pt x="82" y="186"/>
                    </a:lnTo>
                    <a:lnTo>
                      <a:pt x="81" y="190"/>
                    </a:lnTo>
                    <a:lnTo>
                      <a:pt x="81" y="194"/>
                    </a:lnTo>
                    <a:lnTo>
                      <a:pt x="80" y="198"/>
                    </a:lnTo>
                    <a:lnTo>
                      <a:pt x="83" y="203"/>
                    </a:lnTo>
                    <a:lnTo>
                      <a:pt x="85" y="206"/>
                    </a:lnTo>
                    <a:lnTo>
                      <a:pt x="84" y="211"/>
                    </a:lnTo>
                    <a:lnTo>
                      <a:pt x="79" y="214"/>
                    </a:lnTo>
                    <a:lnTo>
                      <a:pt x="75" y="214"/>
                    </a:lnTo>
                    <a:lnTo>
                      <a:pt x="70" y="217"/>
                    </a:lnTo>
                    <a:lnTo>
                      <a:pt x="67" y="218"/>
                    </a:lnTo>
                    <a:lnTo>
                      <a:pt x="67" y="223"/>
                    </a:lnTo>
                    <a:lnTo>
                      <a:pt x="72" y="227"/>
                    </a:lnTo>
                    <a:lnTo>
                      <a:pt x="79" y="227"/>
                    </a:lnTo>
                    <a:lnTo>
                      <a:pt x="84" y="229"/>
                    </a:lnTo>
                    <a:lnTo>
                      <a:pt x="88" y="229"/>
                    </a:lnTo>
                    <a:lnTo>
                      <a:pt x="93" y="228"/>
                    </a:lnTo>
                    <a:lnTo>
                      <a:pt x="97" y="227"/>
                    </a:lnTo>
                    <a:lnTo>
                      <a:pt x="102" y="229"/>
                    </a:lnTo>
                    <a:lnTo>
                      <a:pt x="107" y="232"/>
                    </a:lnTo>
                    <a:lnTo>
                      <a:pt x="113" y="225"/>
                    </a:lnTo>
                    <a:lnTo>
                      <a:pt x="117" y="222"/>
                    </a:lnTo>
                    <a:lnTo>
                      <a:pt x="119" y="218"/>
                    </a:lnTo>
                    <a:lnTo>
                      <a:pt x="123" y="216"/>
                    </a:lnTo>
                    <a:lnTo>
                      <a:pt x="127" y="212"/>
                    </a:lnTo>
                    <a:lnTo>
                      <a:pt x="134" y="211"/>
                    </a:lnTo>
                    <a:lnTo>
                      <a:pt x="138" y="211"/>
                    </a:lnTo>
                    <a:lnTo>
                      <a:pt x="144" y="213"/>
                    </a:lnTo>
                    <a:lnTo>
                      <a:pt x="146" y="217"/>
                    </a:lnTo>
                    <a:lnTo>
                      <a:pt x="149" y="220"/>
                    </a:lnTo>
                    <a:lnTo>
                      <a:pt x="151" y="224"/>
                    </a:lnTo>
                    <a:lnTo>
                      <a:pt x="152" y="229"/>
                    </a:lnTo>
                    <a:lnTo>
                      <a:pt x="152" y="232"/>
                    </a:lnTo>
                    <a:lnTo>
                      <a:pt x="153" y="237"/>
                    </a:lnTo>
                    <a:lnTo>
                      <a:pt x="158" y="240"/>
                    </a:lnTo>
                    <a:lnTo>
                      <a:pt x="159" y="244"/>
                    </a:lnTo>
                    <a:lnTo>
                      <a:pt x="154" y="247"/>
                    </a:lnTo>
                    <a:lnTo>
                      <a:pt x="151" y="251"/>
                    </a:lnTo>
                    <a:lnTo>
                      <a:pt x="149" y="256"/>
                    </a:lnTo>
                    <a:lnTo>
                      <a:pt x="145" y="258"/>
                    </a:lnTo>
                    <a:lnTo>
                      <a:pt x="141" y="261"/>
                    </a:lnTo>
                    <a:lnTo>
                      <a:pt x="136" y="262"/>
                    </a:lnTo>
                    <a:lnTo>
                      <a:pt x="135" y="267"/>
                    </a:lnTo>
                    <a:lnTo>
                      <a:pt x="130" y="269"/>
                    </a:lnTo>
                    <a:lnTo>
                      <a:pt x="126" y="270"/>
                    </a:lnTo>
                    <a:lnTo>
                      <a:pt x="121" y="272"/>
                    </a:lnTo>
                    <a:lnTo>
                      <a:pt x="117" y="274"/>
                    </a:lnTo>
                    <a:lnTo>
                      <a:pt x="112" y="275"/>
                    </a:lnTo>
                    <a:lnTo>
                      <a:pt x="109" y="278"/>
                    </a:lnTo>
                    <a:lnTo>
                      <a:pt x="107" y="283"/>
                    </a:lnTo>
                    <a:lnTo>
                      <a:pt x="108" y="286"/>
                    </a:lnTo>
                    <a:lnTo>
                      <a:pt x="111" y="290"/>
                    </a:lnTo>
                    <a:lnTo>
                      <a:pt x="109" y="295"/>
                    </a:lnTo>
                    <a:lnTo>
                      <a:pt x="110" y="298"/>
                    </a:lnTo>
                    <a:lnTo>
                      <a:pt x="107" y="304"/>
                    </a:lnTo>
                    <a:lnTo>
                      <a:pt x="108" y="308"/>
                    </a:lnTo>
                    <a:lnTo>
                      <a:pt x="104" y="311"/>
                    </a:lnTo>
                    <a:lnTo>
                      <a:pt x="100" y="315"/>
                    </a:lnTo>
                    <a:lnTo>
                      <a:pt x="96" y="319"/>
                    </a:lnTo>
                    <a:lnTo>
                      <a:pt x="92" y="324"/>
                    </a:lnTo>
                    <a:lnTo>
                      <a:pt x="88" y="325"/>
                    </a:lnTo>
                    <a:lnTo>
                      <a:pt x="83" y="325"/>
                    </a:lnTo>
                    <a:lnTo>
                      <a:pt x="76" y="326"/>
                    </a:lnTo>
                    <a:lnTo>
                      <a:pt x="72" y="327"/>
                    </a:lnTo>
                    <a:lnTo>
                      <a:pt x="67" y="325"/>
                    </a:lnTo>
                    <a:lnTo>
                      <a:pt x="63" y="326"/>
                    </a:lnTo>
                    <a:lnTo>
                      <a:pt x="58" y="327"/>
                    </a:lnTo>
                    <a:lnTo>
                      <a:pt x="55" y="327"/>
                    </a:lnTo>
                    <a:lnTo>
                      <a:pt x="50" y="332"/>
                    </a:lnTo>
                    <a:lnTo>
                      <a:pt x="47" y="334"/>
                    </a:lnTo>
                    <a:lnTo>
                      <a:pt x="42" y="337"/>
                    </a:lnTo>
                    <a:lnTo>
                      <a:pt x="39" y="342"/>
                    </a:lnTo>
                    <a:lnTo>
                      <a:pt x="39" y="345"/>
                    </a:lnTo>
                    <a:lnTo>
                      <a:pt x="38" y="350"/>
                    </a:lnTo>
                    <a:lnTo>
                      <a:pt x="38" y="353"/>
                    </a:lnTo>
                    <a:lnTo>
                      <a:pt x="39" y="358"/>
                    </a:lnTo>
                    <a:lnTo>
                      <a:pt x="37" y="363"/>
                    </a:lnTo>
                    <a:lnTo>
                      <a:pt x="33" y="367"/>
                    </a:lnTo>
                    <a:lnTo>
                      <a:pt x="28" y="370"/>
                    </a:lnTo>
                    <a:lnTo>
                      <a:pt x="25" y="372"/>
                    </a:lnTo>
                    <a:lnTo>
                      <a:pt x="20" y="373"/>
                    </a:lnTo>
                    <a:lnTo>
                      <a:pt x="16" y="376"/>
                    </a:lnTo>
                    <a:lnTo>
                      <a:pt x="9" y="376"/>
                    </a:lnTo>
                    <a:lnTo>
                      <a:pt x="5" y="377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2" y="377"/>
                    </a:lnTo>
                    <a:lnTo>
                      <a:pt x="3" y="382"/>
                    </a:lnTo>
                    <a:lnTo>
                      <a:pt x="1" y="386"/>
                    </a:lnTo>
                    <a:lnTo>
                      <a:pt x="2" y="391"/>
                    </a:lnTo>
                    <a:lnTo>
                      <a:pt x="7" y="394"/>
                    </a:lnTo>
                    <a:lnTo>
                      <a:pt x="12" y="395"/>
                    </a:lnTo>
                    <a:lnTo>
                      <a:pt x="17" y="399"/>
                    </a:lnTo>
                    <a:lnTo>
                      <a:pt x="21" y="400"/>
                    </a:lnTo>
                    <a:lnTo>
                      <a:pt x="22" y="405"/>
                    </a:lnTo>
                    <a:lnTo>
                      <a:pt x="22" y="408"/>
                    </a:lnTo>
                    <a:lnTo>
                      <a:pt x="23" y="413"/>
                    </a:lnTo>
                    <a:lnTo>
                      <a:pt x="22" y="416"/>
                    </a:lnTo>
                    <a:lnTo>
                      <a:pt x="22" y="421"/>
                    </a:lnTo>
                    <a:lnTo>
                      <a:pt x="21" y="425"/>
                    </a:lnTo>
                    <a:lnTo>
                      <a:pt x="18" y="430"/>
                    </a:lnTo>
                    <a:lnTo>
                      <a:pt x="17" y="434"/>
                    </a:lnTo>
                    <a:lnTo>
                      <a:pt x="18" y="439"/>
                    </a:lnTo>
                    <a:lnTo>
                      <a:pt x="22" y="431"/>
                    </a:lnTo>
                    <a:lnTo>
                      <a:pt x="25" y="429"/>
                    </a:lnTo>
                    <a:lnTo>
                      <a:pt x="30" y="426"/>
                    </a:lnTo>
                    <a:lnTo>
                      <a:pt x="34" y="426"/>
                    </a:lnTo>
                    <a:lnTo>
                      <a:pt x="39" y="425"/>
                    </a:lnTo>
                    <a:lnTo>
                      <a:pt x="45" y="424"/>
                    </a:lnTo>
                    <a:lnTo>
                      <a:pt x="50" y="423"/>
                    </a:lnTo>
                    <a:lnTo>
                      <a:pt x="57" y="423"/>
                    </a:lnTo>
                    <a:lnTo>
                      <a:pt x="61" y="422"/>
                    </a:lnTo>
                    <a:lnTo>
                      <a:pt x="65" y="419"/>
                    </a:lnTo>
                    <a:lnTo>
                      <a:pt x="68" y="423"/>
                    </a:lnTo>
                    <a:lnTo>
                      <a:pt x="71" y="425"/>
                    </a:lnTo>
                    <a:lnTo>
                      <a:pt x="76" y="426"/>
                    </a:lnTo>
                    <a:lnTo>
                      <a:pt x="85" y="421"/>
                    </a:lnTo>
                    <a:lnTo>
                      <a:pt x="88" y="418"/>
                    </a:lnTo>
                    <a:lnTo>
                      <a:pt x="93" y="418"/>
                    </a:lnTo>
                    <a:lnTo>
                      <a:pt x="98" y="419"/>
                    </a:lnTo>
                    <a:lnTo>
                      <a:pt x="101" y="423"/>
                    </a:lnTo>
                    <a:lnTo>
                      <a:pt x="106" y="427"/>
                    </a:lnTo>
                    <a:lnTo>
                      <a:pt x="111" y="428"/>
                    </a:lnTo>
                    <a:lnTo>
                      <a:pt x="115" y="428"/>
                    </a:lnTo>
                    <a:lnTo>
                      <a:pt x="122" y="428"/>
                    </a:lnTo>
                    <a:lnTo>
                      <a:pt x="127" y="427"/>
                    </a:lnTo>
                    <a:lnTo>
                      <a:pt x="133" y="425"/>
                    </a:lnTo>
                    <a:lnTo>
                      <a:pt x="138" y="425"/>
                    </a:lnTo>
                    <a:lnTo>
                      <a:pt x="142" y="424"/>
                    </a:lnTo>
                    <a:lnTo>
                      <a:pt x="147" y="424"/>
                    </a:lnTo>
                    <a:lnTo>
                      <a:pt x="150" y="421"/>
                    </a:lnTo>
                    <a:lnTo>
                      <a:pt x="153" y="416"/>
                    </a:lnTo>
                    <a:lnTo>
                      <a:pt x="154" y="411"/>
                    </a:lnTo>
                    <a:lnTo>
                      <a:pt x="154" y="407"/>
                    </a:lnTo>
                    <a:lnTo>
                      <a:pt x="153" y="404"/>
                    </a:lnTo>
                    <a:lnTo>
                      <a:pt x="152" y="399"/>
                    </a:lnTo>
                    <a:lnTo>
                      <a:pt x="154" y="395"/>
                    </a:lnTo>
                    <a:lnTo>
                      <a:pt x="153" y="390"/>
                    </a:lnTo>
                    <a:lnTo>
                      <a:pt x="155" y="387"/>
                    </a:lnTo>
                    <a:lnTo>
                      <a:pt x="160" y="384"/>
                    </a:lnTo>
                    <a:lnTo>
                      <a:pt x="167" y="386"/>
                    </a:lnTo>
                    <a:lnTo>
                      <a:pt x="173" y="386"/>
                    </a:lnTo>
                    <a:lnTo>
                      <a:pt x="176" y="389"/>
                    </a:lnTo>
                    <a:lnTo>
                      <a:pt x="181" y="392"/>
                    </a:lnTo>
                    <a:lnTo>
                      <a:pt x="186" y="393"/>
                    </a:lnTo>
                    <a:lnTo>
                      <a:pt x="190" y="391"/>
                    </a:lnTo>
                    <a:lnTo>
                      <a:pt x="192" y="396"/>
                    </a:lnTo>
                    <a:lnTo>
                      <a:pt x="198" y="394"/>
                    </a:lnTo>
                    <a:lnTo>
                      <a:pt x="204" y="389"/>
                    </a:lnTo>
                    <a:lnTo>
                      <a:pt x="207" y="391"/>
                    </a:lnTo>
                    <a:lnTo>
                      <a:pt x="212" y="393"/>
                    </a:lnTo>
                    <a:lnTo>
                      <a:pt x="215" y="397"/>
                    </a:lnTo>
                    <a:lnTo>
                      <a:pt x="222" y="400"/>
                    </a:lnTo>
                    <a:lnTo>
                      <a:pt x="225" y="404"/>
                    </a:lnTo>
                    <a:lnTo>
                      <a:pt x="225" y="408"/>
                    </a:lnTo>
                    <a:lnTo>
                      <a:pt x="228" y="413"/>
                    </a:lnTo>
                    <a:lnTo>
                      <a:pt x="230" y="415"/>
                    </a:lnTo>
                    <a:lnTo>
                      <a:pt x="236" y="418"/>
                    </a:lnTo>
                    <a:lnTo>
                      <a:pt x="241" y="419"/>
                    </a:lnTo>
                    <a:lnTo>
                      <a:pt x="250" y="418"/>
                    </a:lnTo>
                    <a:lnTo>
                      <a:pt x="254" y="417"/>
                    </a:lnTo>
                    <a:lnTo>
                      <a:pt x="256" y="421"/>
                    </a:lnTo>
                    <a:lnTo>
                      <a:pt x="260" y="424"/>
                    </a:lnTo>
                    <a:lnTo>
                      <a:pt x="260" y="428"/>
                    </a:lnTo>
                    <a:lnTo>
                      <a:pt x="263" y="433"/>
                    </a:lnTo>
                    <a:lnTo>
                      <a:pt x="265" y="436"/>
                    </a:lnTo>
                    <a:lnTo>
                      <a:pt x="271" y="437"/>
                    </a:lnTo>
                    <a:lnTo>
                      <a:pt x="275" y="440"/>
                    </a:lnTo>
                    <a:lnTo>
                      <a:pt x="279" y="436"/>
                    </a:lnTo>
                    <a:lnTo>
                      <a:pt x="283" y="435"/>
                    </a:lnTo>
                    <a:lnTo>
                      <a:pt x="288" y="435"/>
                    </a:lnTo>
                    <a:lnTo>
                      <a:pt x="292" y="434"/>
                    </a:lnTo>
                    <a:lnTo>
                      <a:pt x="297" y="432"/>
                    </a:lnTo>
                    <a:lnTo>
                      <a:pt x="301" y="431"/>
                    </a:lnTo>
                    <a:lnTo>
                      <a:pt x="306" y="428"/>
                    </a:lnTo>
                    <a:lnTo>
                      <a:pt x="310" y="428"/>
                    </a:lnTo>
                    <a:lnTo>
                      <a:pt x="315" y="427"/>
                    </a:lnTo>
                    <a:lnTo>
                      <a:pt x="319" y="427"/>
                    </a:lnTo>
                    <a:lnTo>
                      <a:pt x="324" y="426"/>
                    </a:lnTo>
                    <a:lnTo>
                      <a:pt x="327" y="428"/>
                    </a:lnTo>
                    <a:lnTo>
                      <a:pt x="332" y="427"/>
                    </a:lnTo>
                    <a:lnTo>
                      <a:pt x="333" y="424"/>
                    </a:lnTo>
                    <a:lnTo>
                      <a:pt x="337" y="420"/>
                    </a:lnTo>
                    <a:lnTo>
                      <a:pt x="336" y="416"/>
                    </a:lnTo>
                    <a:lnTo>
                      <a:pt x="339" y="411"/>
                    </a:lnTo>
                    <a:lnTo>
                      <a:pt x="342" y="409"/>
                    </a:lnTo>
                    <a:lnTo>
                      <a:pt x="347" y="407"/>
                    </a:lnTo>
                    <a:lnTo>
                      <a:pt x="351" y="406"/>
                    </a:lnTo>
                    <a:lnTo>
                      <a:pt x="356" y="407"/>
                    </a:lnTo>
                    <a:lnTo>
                      <a:pt x="359" y="411"/>
                    </a:lnTo>
                    <a:lnTo>
                      <a:pt x="359" y="415"/>
                    </a:lnTo>
                    <a:lnTo>
                      <a:pt x="360" y="420"/>
                    </a:lnTo>
                    <a:lnTo>
                      <a:pt x="362" y="423"/>
                    </a:lnTo>
                    <a:lnTo>
                      <a:pt x="363" y="428"/>
                    </a:lnTo>
                    <a:lnTo>
                      <a:pt x="368" y="427"/>
                    </a:lnTo>
                    <a:lnTo>
                      <a:pt x="372" y="428"/>
                    </a:lnTo>
                    <a:lnTo>
                      <a:pt x="377" y="428"/>
                    </a:lnTo>
                    <a:lnTo>
                      <a:pt x="384" y="427"/>
                    </a:lnTo>
                    <a:lnTo>
                      <a:pt x="393" y="433"/>
                    </a:lnTo>
                    <a:lnTo>
                      <a:pt x="400" y="438"/>
                    </a:lnTo>
                    <a:lnTo>
                      <a:pt x="396" y="430"/>
                    </a:lnTo>
                    <a:lnTo>
                      <a:pt x="406" y="438"/>
                    </a:lnTo>
                    <a:lnTo>
                      <a:pt x="397" y="438"/>
                    </a:lnTo>
                    <a:lnTo>
                      <a:pt x="412" y="433"/>
                    </a:lnTo>
                    <a:lnTo>
                      <a:pt x="417" y="436"/>
                    </a:lnTo>
                    <a:lnTo>
                      <a:pt x="422" y="438"/>
                    </a:lnTo>
                    <a:lnTo>
                      <a:pt x="426" y="439"/>
                    </a:lnTo>
                    <a:lnTo>
                      <a:pt x="431" y="437"/>
                    </a:lnTo>
                    <a:lnTo>
                      <a:pt x="435" y="436"/>
                    </a:lnTo>
                    <a:lnTo>
                      <a:pt x="440" y="438"/>
                    </a:lnTo>
                    <a:lnTo>
                      <a:pt x="444" y="437"/>
                    </a:lnTo>
                    <a:lnTo>
                      <a:pt x="449" y="434"/>
                    </a:lnTo>
                    <a:lnTo>
                      <a:pt x="450" y="430"/>
                    </a:lnTo>
                    <a:lnTo>
                      <a:pt x="452" y="426"/>
                    </a:lnTo>
                    <a:lnTo>
                      <a:pt x="455" y="423"/>
                    </a:lnTo>
                    <a:lnTo>
                      <a:pt x="459" y="420"/>
                    </a:lnTo>
                    <a:lnTo>
                      <a:pt x="464" y="417"/>
                    </a:lnTo>
                    <a:lnTo>
                      <a:pt x="467" y="414"/>
                    </a:lnTo>
                    <a:lnTo>
                      <a:pt x="468" y="408"/>
                    </a:lnTo>
                    <a:lnTo>
                      <a:pt x="471" y="405"/>
                    </a:lnTo>
                    <a:lnTo>
                      <a:pt x="475" y="402"/>
                    </a:lnTo>
                    <a:lnTo>
                      <a:pt x="479" y="397"/>
                    </a:lnTo>
                    <a:lnTo>
                      <a:pt x="483" y="394"/>
                    </a:lnTo>
                    <a:lnTo>
                      <a:pt x="487" y="391"/>
                    </a:lnTo>
                    <a:lnTo>
                      <a:pt x="491" y="389"/>
                    </a:lnTo>
                    <a:lnTo>
                      <a:pt x="491" y="385"/>
                    </a:lnTo>
                    <a:lnTo>
                      <a:pt x="490" y="380"/>
                    </a:lnTo>
                    <a:lnTo>
                      <a:pt x="488" y="378"/>
                    </a:lnTo>
                    <a:lnTo>
                      <a:pt x="485" y="373"/>
                    </a:lnTo>
                    <a:lnTo>
                      <a:pt x="486" y="369"/>
                    </a:lnTo>
                    <a:lnTo>
                      <a:pt x="491" y="368"/>
                    </a:lnTo>
                    <a:lnTo>
                      <a:pt x="496" y="370"/>
                    </a:lnTo>
                    <a:lnTo>
                      <a:pt x="495" y="366"/>
                    </a:lnTo>
                    <a:lnTo>
                      <a:pt x="494" y="362"/>
                    </a:lnTo>
                    <a:lnTo>
                      <a:pt x="490" y="358"/>
                    </a:lnTo>
                    <a:lnTo>
                      <a:pt x="486" y="354"/>
                    </a:lnTo>
                    <a:lnTo>
                      <a:pt x="489" y="350"/>
                    </a:lnTo>
                    <a:lnTo>
                      <a:pt x="493" y="350"/>
                    </a:lnTo>
                    <a:lnTo>
                      <a:pt x="498" y="349"/>
                    </a:lnTo>
                    <a:lnTo>
                      <a:pt x="501" y="346"/>
                    </a:lnTo>
                    <a:lnTo>
                      <a:pt x="506" y="343"/>
                    </a:lnTo>
                    <a:lnTo>
                      <a:pt x="510" y="340"/>
                    </a:lnTo>
                    <a:lnTo>
                      <a:pt x="509" y="337"/>
                    </a:lnTo>
                    <a:lnTo>
                      <a:pt x="509" y="332"/>
                    </a:lnTo>
                    <a:lnTo>
                      <a:pt x="510" y="326"/>
                    </a:lnTo>
                    <a:lnTo>
                      <a:pt x="515" y="324"/>
                    </a:lnTo>
                    <a:lnTo>
                      <a:pt x="518" y="319"/>
                    </a:lnTo>
                    <a:lnTo>
                      <a:pt x="522" y="313"/>
                    </a:lnTo>
                    <a:lnTo>
                      <a:pt x="526" y="312"/>
                    </a:lnTo>
                    <a:lnTo>
                      <a:pt x="528" y="307"/>
                    </a:lnTo>
                    <a:lnTo>
                      <a:pt x="530" y="302"/>
                    </a:lnTo>
                    <a:lnTo>
                      <a:pt x="531" y="299"/>
                    </a:lnTo>
                    <a:lnTo>
                      <a:pt x="536" y="295"/>
                    </a:lnTo>
                    <a:lnTo>
                      <a:pt x="543" y="293"/>
                    </a:lnTo>
                    <a:lnTo>
                      <a:pt x="546" y="290"/>
                    </a:lnTo>
                    <a:lnTo>
                      <a:pt x="551" y="286"/>
                    </a:lnTo>
                    <a:lnTo>
                      <a:pt x="551" y="283"/>
                    </a:lnTo>
                    <a:lnTo>
                      <a:pt x="552" y="279"/>
                    </a:lnTo>
                    <a:lnTo>
                      <a:pt x="549" y="274"/>
                    </a:lnTo>
                    <a:lnTo>
                      <a:pt x="544" y="272"/>
                    </a:lnTo>
                    <a:lnTo>
                      <a:pt x="543" y="267"/>
                    </a:lnTo>
                    <a:lnTo>
                      <a:pt x="548" y="263"/>
                    </a:lnTo>
                    <a:lnTo>
                      <a:pt x="551" y="258"/>
                    </a:lnTo>
                    <a:lnTo>
                      <a:pt x="556" y="253"/>
                    </a:lnTo>
                    <a:lnTo>
                      <a:pt x="558" y="250"/>
                    </a:lnTo>
                    <a:lnTo>
                      <a:pt x="562" y="247"/>
                    </a:lnTo>
                    <a:lnTo>
                      <a:pt x="566" y="244"/>
                    </a:lnTo>
                    <a:lnTo>
                      <a:pt x="571" y="241"/>
                    </a:lnTo>
                    <a:lnTo>
                      <a:pt x="575" y="238"/>
                    </a:lnTo>
                    <a:lnTo>
                      <a:pt x="579" y="235"/>
                    </a:lnTo>
                    <a:lnTo>
                      <a:pt x="583" y="233"/>
                    </a:lnTo>
                    <a:lnTo>
                      <a:pt x="588" y="234"/>
                    </a:lnTo>
                    <a:lnTo>
                      <a:pt x="593" y="235"/>
                    </a:lnTo>
                    <a:lnTo>
                      <a:pt x="597" y="235"/>
                    </a:lnTo>
                    <a:lnTo>
                      <a:pt x="598" y="240"/>
                    </a:lnTo>
                    <a:lnTo>
                      <a:pt x="601" y="242"/>
                    </a:lnTo>
                    <a:lnTo>
                      <a:pt x="604" y="242"/>
                    </a:lnTo>
                    <a:lnTo>
                      <a:pt x="609" y="241"/>
                    </a:lnTo>
                    <a:lnTo>
                      <a:pt x="613" y="241"/>
                    </a:lnTo>
                    <a:lnTo>
                      <a:pt x="618" y="239"/>
                    </a:lnTo>
                    <a:lnTo>
                      <a:pt x="622" y="236"/>
                    </a:lnTo>
                    <a:lnTo>
                      <a:pt x="627" y="234"/>
                    </a:lnTo>
                    <a:lnTo>
                      <a:pt x="630" y="230"/>
                    </a:lnTo>
                    <a:lnTo>
                      <a:pt x="635" y="226"/>
                    </a:lnTo>
                    <a:lnTo>
                      <a:pt x="639" y="225"/>
                    </a:lnTo>
                    <a:lnTo>
                      <a:pt x="643" y="221"/>
                    </a:lnTo>
                    <a:lnTo>
                      <a:pt x="648" y="218"/>
                    </a:lnTo>
                    <a:lnTo>
                      <a:pt x="653" y="215"/>
                    </a:lnTo>
                    <a:lnTo>
                      <a:pt x="658" y="212"/>
                    </a:lnTo>
                    <a:lnTo>
                      <a:pt x="661" y="208"/>
                    </a:lnTo>
                    <a:lnTo>
                      <a:pt x="666" y="207"/>
                    </a:lnTo>
                    <a:lnTo>
                      <a:pt x="670" y="205"/>
                    </a:lnTo>
                    <a:lnTo>
                      <a:pt x="675" y="202"/>
                    </a:lnTo>
                    <a:lnTo>
                      <a:pt x="679" y="202"/>
                    </a:lnTo>
                    <a:lnTo>
                      <a:pt x="683" y="203"/>
                    </a:lnTo>
                    <a:lnTo>
                      <a:pt x="687" y="202"/>
                    </a:lnTo>
                    <a:lnTo>
                      <a:pt x="692" y="202"/>
                    </a:lnTo>
                    <a:lnTo>
                      <a:pt x="696" y="201"/>
                    </a:lnTo>
                    <a:lnTo>
                      <a:pt x="701" y="201"/>
                    </a:lnTo>
                    <a:lnTo>
                      <a:pt x="705" y="198"/>
                    </a:lnTo>
                    <a:lnTo>
                      <a:pt x="709" y="194"/>
                    </a:lnTo>
                    <a:lnTo>
                      <a:pt x="713" y="192"/>
                    </a:lnTo>
                    <a:lnTo>
                      <a:pt x="718" y="190"/>
                    </a:lnTo>
                    <a:lnTo>
                      <a:pt x="719" y="185"/>
                    </a:lnTo>
                    <a:lnTo>
                      <a:pt x="724" y="182"/>
                    </a:lnTo>
                    <a:lnTo>
                      <a:pt x="727" y="180"/>
                    </a:lnTo>
                    <a:lnTo>
                      <a:pt x="732" y="177"/>
                    </a:lnTo>
                    <a:lnTo>
                      <a:pt x="735" y="173"/>
                    </a:lnTo>
                    <a:lnTo>
                      <a:pt x="737" y="169"/>
                    </a:lnTo>
                    <a:lnTo>
                      <a:pt x="742" y="166"/>
                    </a:lnTo>
                    <a:lnTo>
                      <a:pt x="746" y="165"/>
                    </a:lnTo>
                    <a:lnTo>
                      <a:pt x="750" y="162"/>
                    </a:lnTo>
                    <a:lnTo>
                      <a:pt x="755" y="161"/>
                    </a:lnTo>
                    <a:lnTo>
                      <a:pt x="759" y="163"/>
                    </a:lnTo>
                    <a:lnTo>
                      <a:pt x="766" y="163"/>
                    </a:lnTo>
                    <a:lnTo>
                      <a:pt x="770" y="162"/>
                    </a:lnTo>
                    <a:lnTo>
                      <a:pt x="775" y="161"/>
                    </a:lnTo>
                    <a:lnTo>
                      <a:pt x="779" y="161"/>
                    </a:lnTo>
                    <a:lnTo>
                      <a:pt x="784" y="157"/>
                    </a:lnTo>
                    <a:lnTo>
                      <a:pt x="788" y="157"/>
                    </a:lnTo>
                    <a:lnTo>
                      <a:pt x="793" y="156"/>
                    </a:lnTo>
                    <a:lnTo>
                      <a:pt x="797" y="154"/>
                    </a:lnTo>
                    <a:lnTo>
                      <a:pt x="801" y="152"/>
                    </a:lnTo>
                    <a:lnTo>
                      <a:pt x="804" y="149"/>
                    </a:lnTo>
                    <a:lnTo>
                      <a:pt x="809" y="149"/>
                    </a:lnTo>
                    <a:lnTo>
                      <a:pt x="808" y="144"/>
                    </a:lnTo>
                    <a:lnTo>
                      <a:pt x="808" y="141"/>
                    </a:lnTo>
                    <a:lnTo>
                      <a:pt x="805" y="136"/>
                    </a:lnTo>
                    <a:lnTo>
                      <a:pt x="809" y="134"/>
                    </a:lnTo>
                    <a:lnTo>
                      <a:pt x="814" y="133"/>
                    </a:lnTo>
                    <a:lnTo>
                      <a:pt x="818" y="130"/>
                    </a:lnTo>
                    <a:lnTo>
                      <a:pt x="822" y="127"/>
                    </a:lnTo>
                    <a:lnTo>
                      <a:pt x="826" y="126"/>
                    </a:lnTo>
                    <a:lnTo>
                      <a:pt x="831" y="126"/>
                    </a:lnTo>
                    <a:lnTo>
                      <a:pt x="835" y="125"/>
                    </a:lnTo>
                    <a:lnTo>
                      <a:pt x="840" y="123"/>
                    </a:lnTo>
                    <a:lnTo>
                      <a:pt x="841" y="119"/>
                    </a:lnTo>
                    <a:lnTo>
                      <a:pt x="845" y="116"/>
                    </a:lnTo>
                    <a:lnTo>
                      <a:pt x="847" y="112"/>
                    </a:lnTo>
                    <a:lnTo>
                      <a:pt x="844" y="109"/>
                    </a:lnTo>
                    <a:lnTo>
                      <a:pt x="846" y="103"/>
                    </a:lnTo>
                    <a:lnTo>
                      <a:pt x="850" y="101"/>
                    </a:lnTo>
                    <a:lnTo>
                      <a:pt x="855" y="99"/>
                    </a:lnTo>
                    <a:lnTo>
                      <a:pt x="854" y="94"/>
                    </a:lnTo>
                    <a:lnTo>
                      <a:pt x="849" y="93"/>
                    </a:lnTo>
                    <a:lnTo>
                      <a:pt x="848" y="88"/>
                    </a:lnTo>
                    <a:lnTo>
                      <a:pt x="846" y="85"/>
                    </a:lnTo>
                    <a:lnTo>
                      <a:pt x="841" y="86"/>
                    </a:lnTo>
                    <a:lnTo>
                      <a:pt x="838" y="81"/>
                    </a:lnTo>
                    <a:lnTo>
                      <a:pt x="838" y="77"/>
                    </a:lnTo>
                    <a:lnTo>
                      <a:pt x="837" y="74"/>
                    </a:lnTo>
                    <a:lnTo>
                      <a:pt x="839" y="69"/>
                    </a:lnTo>
                    <a:lnTo>
                      <a:pt x="841" y="64"/>
                    </a:lnTo>
                    <a:lnTo>
                      <a:pt x="845" y="62"/>
                    </a:lnTo>
                    <a:lnTo>
                      <a:pt x="846" y="58"/>
                    </a:lnTo>
                    <a:lnTo>
                      <a:pt x="851" y="55"/>
                    </a:lnTo>
                    <a:lnTo>
                      <a:pt x="850" y="51"/>
                    </a:lnTo>
                    <a:lnTo>
                      <a:pt x="845" y="50"/>
                    </a:lnTo>
                    <a:lnTo>
                      <a:pt x="841" y="49"/>
                    </a:lnTo>
                    <a:lnTo>
                      <a:pt x="836" y="51"/>
                    </a:lnTo>
                    <a:lnTo>
                      <a:pt x="832" y="52"/>
                    </a:lnTo>
                    <a:lnTo>
                      <a:pt x="830" y="47"/>
                    </a:lnTo>
                    <a:lnTo>
                      <a:pt x="824" y="46"/>
                    </a:lnTo>
                    <a:lnTo>
                      <a:pt x="821" y="48"/>
                    </a:lnTo>
                    <a:lnTo>
                      <a:pt x="816" y="54"/>
                    </a:lnTo>
                    <a:lnTo>
                      <a:pt x="815" y="57"/>
                    </a:lnTo>
                    <a:lnTo>
                      <a:pt x="813" y="62"/>
                    </a:lnTo>
                    <a:lnTo>
                      <a:pt x="811" y="67"/>
                    </a:lnTo>
                    <a:lnTo>
                      <a:pt x="807" y="68"/>
                    </a:lnTo>
                    <a:lnTo>
                      <a:pt x="805" y="66"/>
                    </a:lnTo>
                    <a:lnTo>
                      <a:pt x="800" y="64"/>
                    </a:lnTo>
                    <a:lnTo>
                      <a:pt x="796" y="69"/>
                    </a:lnTo>
                    <a:lnTo>
                      <a:pt x="791" y="70"/>
                    </a:lnTo>
                    <a:lnTo>
                      <a:pt x="792" y="75"/>
                    </a:lnTo>
                    <a:lnTo>
                      <a:pt x="792" y="80"/>
                    </a:lnTo>
                    <a:lnTo>
                      <a:pt x="787" y="83"/>
                    </a:lnTo>
                    <a:lnTo>
                      <a:pt x="783" y="84"/>
                    </a:lnTo>
                    <a:lnTo>
                      <a:pt x="778" y="84"/>
                    </a:lnTo>
                    <a:lnTo>
                      <a:pt x="774" y="86"/>
                    </a:lnTo>
                    <a:lnTo>
                      <a:pt x="769" y="85"/>
                    </a:lnTo>
                    <a:lnTo>
                      <a:pt x="765" y="84"/>
                    </a:lnTo>
                    <a:lnTo>
                      <a:pt x="760" y="85"/>
                    </a:lnTo>
                    <a:lnTo>
                      <a:pt x="756" y="85"/>
                    </a:lnTo>
                    <a:lnTo>
                      <a:pt x="749" y="88"/>
                    </a:lnTo>
                    <a:lnTo>
                      <a:pt x="748" y="91"/>
                    </a:lnTo>
                    <a:lnTo>
                      <a:pt x="743" y="94"/>
                    </a:lnTo>
                    <a:lnTo>
                      <a:pt x="744" y="99"/>
                    </a:lnTo>
                    <a:lnTo>
                      <a:pt x="740" y="103"/>
                    </a:lnTo>
                    <a:lnTo>
                      <a:pt x="704" y="92"/>
                    </a:lnTo>
                    <a:lnTo>
                      <a:pt x="706" y="101"/>
                    </a:lnTo>
                    <a:lnTo>
                      <a:pt x="711" y="109"/>
                    </a:lnTo>
                    <a:lnTo>
                      <a:pt x="668" y="92"/>
                    </a:lnTo>
                    <a:lnTo>
                      <a:pt x="648" y="77"/>
                    </a:lnTo>
                    <a:lnTo>
                      <a:pt x="596" y="65"/>
                    </a:lnTo>
                    <a:cubicBezTo>
                      <a:pt x="589" y="62"/>
                      <a:pt x="610" y="80"/>
                      <a:pt x="613" y="81"/>
                    </a:cubicBezTo>
                    <a:lnTo>
                      <a:pt x="609" y="77"/>
                    </a:lnTo>
                    <a:lnTo>
                      <a:pt x="605" y="75"/>
                    </a:lnTo>
                    <a:lnTo>
                      <a:pt x="600" y="74"/>
                    </a:lnTo>
                    <a:lnTo>
                      <a:pt x="596" y="73"/>
                    </a:lnTo>
                    <a:lnTo>
                      <a:pt x="591" y="71"/>
                    </a:lnTo>
                    <a:lnTo>
                      <a:pt x="586" y="70"/>
                    </a:lnTo>
                    <a:lnTo>
                      <a:pt x="581" y="68"/>
                    </a:lnTo>
                    <a:lnTo>
                      <a:pt x="577" y="67"/>
                    </a:lnTo>
                    <a:lnTo>
                      <a:pt x="572" y="65"/>
                    </a:lnTo>
                    <a:lnTo>
                      <a:pt x="567" y="64"/>
                    </a:lnTo>
                    <a:lnTo>
                      <a:pt x="562" y="63"/>
                    </a:lnTo>
                    <a:lnTo>
                      <a:pt x="556" y="60"/>
                    </a:lnTo>
                    <a:lnTo>
                      <a:pt x="551" y="60"/>
                    </a:lnTo>
                    <a:lnTo>
                      <a:pt x="546" y="56"/>
                    </a:lnTo>
                    <a:lnTo>
                      <a:pt x="541" y="56"/>
                    </a:lnTo>
                    <a:lnTo>
                      <a:pt x="536" y="54"/>
                    </a:lnTo>
                    <a:lnTo>
                      <a:pt x="531" y="52"/>
                    </a:lnTo>
                    <a:lnTo>
                      <a:pt x="528" y="50"/>
                    </a:lnTo>
                    <a:lnTo>
                      <a:pt x="523" y="47"/>
                    </a:lnTo>
                    <a:lnTo>
                      <a:pt x="519" y="46"/>
                    </a:lnTo>
                    <a:lnTo>
                      <a:pt x="513" y="44"/>
                    </a:lnTo>
                    <a:lnTo>
                      <a:pt x="509" y="45"/>
                    </a:lnTo>
                    <a:lnTo>
                      <a:pt x="504" y="41"/>
                    </a:lnTo>
                    <a:lnTo>
                      <a:pt x="499" y="39"/>
                    </a:lnTo>
                    <a:lnTo>
                      <a:pt x="494" y="39"/>
                    </a:lnTo>
                    <a:lnTo>
                      <a:pt x="492" y="35"/>
                    </a:lnTo>
                    <a:lnTo>
                      <a:pt x="487" y="33"/>
                    </a:lnTo>
                    <a:lnTo>
                      <a:pt x="482" y="29"/>
                    </a:lnTo>
                    <a:lnTo>
                      <a:pt x="477" y="29"/>
                    </a:lnTo>
                    <a:lnTo>
                      <a:pt x="473" y="28"/>
                    </a:lnTo>
                    <a:lnTo>
                      <a:pt x="467" y="23"/>
                    </a:lnTo>
                    <a:lnTo>
                      <a:pt x="463" y="22"/>
                    </a:lnTo>
                    <a:lnTo>
                      <a:pt x="456" y="23"/>
                    </a:lnTo>
                    <a:lnTo>
                      <a:pt x="450" y="19"/>
                    </a:lnTo>
                    <a:lnTo>
                      <a:pt x="446" y="18"/>
                    </a:lnTo>
                    <a:lnTo>
                      <a:pt x="444" y="14"/>
                    </a:lnTo>
                    <a:lnTo>
                      <a:pt x="438" y="12"/>
                    </a:lnTo>
                    <a:lnTo>
                      <a:pt x="436" y="9"/>
                    </a:lnTo>
                    <a:lnTo>
                      <a:pt x="433" y="5"/>
                    </a:lnTo>
                    <a:lnTo>
                      <a:pt x="430" y="1"/>
                    </a:lnTo>
                    <a:lnTo>
                      <a:pt x="426" y="0"/>
                    </a:lnTo>
                    <a:lnTo>
                      <a:pt x="421" y="2"/>
                    </a:lnTo>
                    <a:lnTo>
                      <a:pt x="417" y="3"/>
                    </a:lnTo>
                    <a:lnTo>
                      <a:pt x="412" y="3"/>
                    </a:lnTo>
                    <a:lnTo>
                      <a:pt x="408" y="2"/>
                    </a:lnTo>
                    <a:lnTo>
                      <a:pt x="403" y="2"/>
                    </a:lnTo>
                    <a:lnTo>
                      <a:pt x="399" y="3"/>
                    </a:lnTo>
                    <a:lnTo>
                      <a:pt x="395" y="6"/>
                    </a:lnTo>
                    <a:lnTo>
                      <a:pt x="396" y="10"/>
                    </a:lnTo>
                    <a:lnTo>
                      <a:pt x="392" y="10"/>
                    </a:lnTo>
                    <a:lnTo>
                      <a:pt x="387" y="11"/>
                    </a:lnTo>
                    <a:lnTo>
                      <a:pt x="383" y="11"/>
                    </a:lnTo>
                    <a:lnTo>
                      <a:pt x="378" y="12"/>
                    </a:lnTo>
                    <a:lnTo>
                      <a:pt x="374" y="13"/>
                    </a:lnTo>
                    <a:lnTo>
                      <a:pt x="369" y="13"/>
                    </a:lnTo>
                    <a:lnTo>
                      <a:pt x="365" y="12"/>
                    </a:lnTo>
                    <a:lnTo>
                      <a:pt x="359" y="10"/>
                    </a:lnTo>
                    <a:lnTo>
                      <a:pt x="355" y="8"/>
                    </a:lnTo>
                    <a:lnTo>
                      <a:pt x="350" y="9"/>
                    </a:lnTo>
                    <a:lnTo>
                      <a:pt x="346" y="6"/>
                    </a:lnTo>
                    <a:lnTo>
                      <a:pt x="341" y="7"/>
                    </a:lnTo>
                    <a:lnTo>
                      <a:pt x="337" y="7"/>
                    </a:lnTo>
                    <a:lnTo>
                      <a:pt x="332" y="8"/>
                    </a:lnTo>
                    <a:lnTo>
                      <a:pt x="328" y="9"/>
                    </a:lnTo>
                    <a:lnTo>
                      <a:pt x="323" y="9"/>
                    </a:lnTo>
                    <a:lnTo>
                      <a:pt x="319" y="8"/>
                    </a:lnTo>
                    <a:lnTo>
                      <a:pt x="314" y="9"/>
                    </a:lnTo>
                    <a:lnTo>
                      <a:pt x="310" y="9"/>
                    </a:lnTo>
                    <a:lnTo>
                      <a:pt x="305" y="12"/>
                    </a:lnTo>
                    <a:lnTo>
                      <a:pt x="300" y="12"/>
                    </a:lnTo>
                    <a:lnTo>
                      <a:pt x="296" y="13"/>
                    </a:lnTo>
                    <a:lnTo>
                      <a:pt x="292" y="17"/>
                    </a:lnTo>
                    <a:lnTo>
                      <a:pt x="288" y="17"/>
                    </a:lnTo>
                    <a:lnTo>
                      <a:pt x="288" y="20"/>
                    </a:lnTo>
                    <a:lnTo>
                      <a:pt x="284" y="25"/>
                    </a:lnTo>
                    <a:lnTo>
                      <a:pt x="282" y="30"/>
                    </a:lnTo>
                    <a:lnTo>
                      <a:pt x="281" y="33"/>
                    </a:lnTo>
                    <a:lnTo>
                      <a:pt x="281" y="38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3" name="Freeform 64"/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 rot="21140016">
                <a:off x="1771148" y="3708285"/>
                <a:ext cx="426519" cy="337601"/>
              </a:xfrm>
              <a:custGeom>
                <a:avLst/>
                <a:gdLst>
                  <a:gd name="T0" fmla="*/ 2147483647 w 305"/>
                  <a:gd name="T1" fmla="*/ 2147483647 h 253"/>
                  <a:gd name="T2" fmla="*/ 2147483647 w 305"/>
                  <a:gd name="T3" fmla="*/ 2147483647 h 253"/>
                  <a:gd name="T4" fmla="*/ 2147483647 w 305"/>
                  <a:gd name="T5" fmla="*/ 2147483647 h 253"/>
                  <a:gd name="T6" fmla="*/ 2147483647 w 305"/>
                  <a:gd name="T7" fmla="*/ 2147483647 h 253"/>
                  <a:gd name="T8" fmla="*/ 2147483647 w 305"/>
                  <a:gd name="T9" fmla="*/ 2147483647 h 253"/>
                  <a:gd name="T10" fmla="*/ 2147483647 w 305"/>
                  <a:gd name="T11" fmla="*/ 2147483647 h 253"/>
                  <a:gd name="T12" fmla="*/ 2147483647 w 305"/>
                  <a:gd name="T13" fmla="*/ 2147483647 h 253"/>
                  <a:gd name="T14" fmla="*/ 2147483647 w 305"/>
                  <a:gd name="T15" fmla="*/ 2147483647 h 253"/>
                  <a:gd name="T16" fmla="*/ 2147483647 w 305"/>
                  <a:gd name="T17" fmla="*/ 2147483647 h 253"/>
                  <a:gd name="T18" fmla="*/ 2147483647 w 305"/>
                  <a:gd name="T19" fmla="*/ 2147483647 h 253"/>
                  <a:gd name="T20" fmla="*/ 2147483647 w 305"/>
                  <a:gd name="T21" fmla="*/ 0 h 253"/>
                  <a:gd name="T22" fmla="*/ 2147483647 w 305"/>
                  <a:gd name="T23" fmla="*/ 2147483647 h 253"/>
                  <a:gd name="T24" fmla="*/ 2147483647 w 305"/>
                  <a:gd name="T25" fmla="*/ 2147483647 h 253"/>
                  <a:gd name="T26" fmla="*/ 2147483647 w 305"/>
                  <a:gd name="T27" fmla="*/ 2147483647 h 253"/>
                  <a:gd name="T28" fmla="*/ 2147483647 w 305"/>
                  <a:gd name="T29" fmla="*/ 2147483647 h 253"/>
                  <a:gd name="T30" fmla="*/ 2147483647 w 305"/>
                  <a:gd name="T31" fmla="*/ 2147483647 h 253"/>
                  <a:gd name="T32" fmla="*/ 2147483647 w 305"/>
                  <a:gd name="T33" fmla="*/ 2147483647 h 253"/>
                  <a:gd name="T34" fmla="*/ 2147483647 w 305"/>
                  <a:gd name="T35" fmla="*/ 2147483647 h 253"/>
                  <a:gd name="T36" fmla="*/ 2147483647 w 305"/>
                  <a:gd name="T37" fmla="*/ 2147483647 h 253"/>
                  <a:gd name="T38" fmla="*/ 2147483647 w 305"/>
                  <a:gd name="T39" fmla="*/ 2147483647 h 253"/>
                  <a:gd name="T40" fmla="*/ 2147483647 w 305"/>
                  <a:gd name="T41" fmla="*/ 2147483647 h 253"/>
                  <a:gd name="T42" fmla="*/ 2147483647 w 305"/>
                  <a:gd name="T43" fmla="*/ 2147483647 h 253"/>
                  <a:gd name="T44" fmla="*/ 2147483647 w 305"/>
                  <a:gd name="T45" fmla="*/ 2147483647 h 253"/>
                  <a:gd name="T46" fmla="*/ 2147483647 w 305"/>
                  <a:gd name="T47" fmla="*/ 2147483647 h 253"/>
                  <a:gd name="T48" fmla="*/ 2147483647 w 305"/>
                  <a:gd name="T49" fmla="*/ 2147483647 h 253"/>
                  <a:gd name="T50" fmla="*/ 2147483647 w 305"/>
                  <a:gd name="T51" fmla="*/ 2147483647 h 253"/>
                  <a:gd name="T52" fmla="*/ 2147483647 w 305"/>
                  <a:gd name="T53" fmla="*/ 2147483647 h 253"/>
                  <a:gd name="T54" fmla="*/ 2147483647 w 305"/>
                  <a:gd name="T55" fmla="*/ 2147483647 h 253"/>
                  <a:gd name="T56" fmla="*/ 2147483647 w 305"/>
                  <a:gd name="T57" fmla="*/ 2147483647 h 253"/>
                  <a:gd name="T58" fmla="*/ 2147483647 w 305"/>
                  <a:gd name="T59" fmla="*/ 2147483647 h 253"/>
                  <a:gd name="T60" fmla="*/ 2147483647 w 305"/>
                  <a:gd name="T61" fmla="*/ 2147483647 h 253"/>
                  <a:gd name="T62" fmla="*/ 2147483647 w 305"/>
                  <a:gd name="T63" fmla="*/ 2147483647 h 253"/>
                  <a:gd name="T64" fmla="*/ 2147483647 w 305"/>
                  <a:gd name="T65" fmla="*/ 2147483647 h 253"/>
                  <a:gd name="T66" fmla="*/ 2147483647 w 305"/>
                  <a:gd name="T67" fmla="*/ 2147483647 h 253"/>
                  <a:gd name="T68" fmla="*/ 2147483647 w 305"/>
                  <a:gd name="T69" fmla="*/ 2147483647 h 253"/>
                  <a:gd name="T70" fmla="*/ 2147483647 w 305"/>
                  <a:gd name="T71" fmla="*/ 2147483647 h 253"/>
                  <a:gd name="T72" fmla="*/ 2147483647 w 305"/>
                  <a:gd name="T73" fmla="*/ 2147483647 h 253"/>
                  <a:gd name="T74" fmla="*/ 2147483647 w 305"/>
                  <a:gd name="T75" fmla="*/ 2147483647 h 253"/>
                  <a:gd name="T76" fmla="*/ 2147483647 w 305"/>
                  <a:gd name="T77" fmla="*/ 2147483647 h 253"/>
                  <a:gd name="T78" fmla="*/ 2147483647 w 305"/>
                  <a:gd name="T79" fmla="*/ 2147483647 h 253"/>
                  <a:gd name="T80" fmla="*/ 2147483647 w 305"/>
                  <a:gd name="T81" fmla="*/ 2147483647 h 253"/>
                  <a:gd name="T82" fmla="*/ 2147483647 w 305"/>
                  <a:gd name="T83" fmla="*/ 2147483647 h 253"/>
                  <a:gd name="T84" fmla="*/ 2147483647 w 305"/>
                  <a:gd name="T85" fmla="*/ 2147483647 h 253"/>
                  <a:gd name="T86" fmla="*/ 2147483647 w 305"/>
                  <a:gd name="T87" fmla="*/ 2147483647 h 253"/>
                  <a:gd name="T88" fmla="*/ 2147483647 w 305"/>
                  <a:gd name="T89" fmla="*/ 2147483647 h 253"/>
                  <a:gd name="T90" fmla="*/ 2147483647 w 305"/>
                  <a:gd name="T91" fmla="*/ 2147483647 h 253"/>
                  <a:gd name="T92" fmla="*/ 2147483647 w 305"/>
                  <a:gd name="T93" fmla="*/ 2147483647 h 253"/>
                  <a:gd name="T94" fmla="*/ 2147483647 w 305"/>
                  <a:gd name="T95" fmla="*/ 2147483647 h 253"/>
                  <a:gd name="T96" fmla="*/ 2147483647 w 305"/>
                  <a:gd name="T97" fmla="*/ 2147483647 h 253"/>
                  <a:gd name="T98" fmla="*/ 2147483647 w 305"/>
                  <a:gd name="T99" fmla="*/ 2147483647 h 253"/>
                  <a:gd name="T100" fmla="*/ 2147483647 w 305"/>
                  <a:gd name="T101" fmla="*/ 2147483647 h 253"/>
                  <a:gd name="T102" fmla="*/ 2147483647 w 305"/>
                  <a:gd name="T103" fmla="*/ 2147483647 h 253"/>
                  <a:gd name="T104" fmla="*/ 2147483647 w 305"/>
                  <a:gd name="T105" fmla="*/ 2147483647 h 253"/>
                  <a:gd name="T106" fmla="*/ 2147483647 w 305"/>
                  <a:gd name="T107" fmla="*/ 2147483647 h 253"/>
                  <a:gd name="T108" fmla="*/ 2147483647 w 305"/>
                  <a:gd name="T109" fmla="*/ 2147483647 h 253"/>
                  <a:gd name="T110" fmla="*/ 2147483647 w 305"/>
                  <a:gd name="T111" fmla="*/ 2147483647 h 253"/>
                  <a:gd name="T112" fmla="*/ 2147483647 w 305"/>
                  <a:gd name="T113" fmla="*/ 2147483647 h 253"/>
                  <a:gd name="T114" fmla="*/ 2147483647 w 305"/>
                  <a:gd name="T115" fmla="*/ 2147483647 h 253"/>
                  <a:gd name="T116" fmla="*/ 2147483647 w 305"/>
                  <a:gd name="T117" fmla="*/ 2147483647 h 253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05"/>
                  <a:gd name="T178" fmla="*/ 0 h 253"/>
                  <a:gd name="T179" fmla="*/ 305 w 305"/>
                  <a:gd name="T180" fmla="*/ 253 h 253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05" h="253">
                    <a:moveTo>
                      <a:pt x="209" y="80"/>
                    </a:moveTo>
                    <a:lnTo>
                      <a:pt x="205" y="79"/>
                    </a:lnTo>
                    <a:lnTo>
                      <a:pt x="201" y="77"/>
                    </a:lnTo>
                    <a:lnTo>
                      <a:pt x="197" y="75"/>
                    </a:lnTo>
                    <a:lnTo>
                      <a:pt x="193" y="73"/>
                    </a:lnTo>
                    <a:lnTo>
                      <a:pt x="189" y="71"/>
                    </a:lnTo>
                    <a:lnTo>
                      <a:pt x="185" y="69"/>
                    </a:lnTo>
                    <a:lnTo>
                      <a:pt x="181" y="69"/>
                    </a:lnTo>
                    <a:lnTo>
                      <a:pt x="177" y="69"/>
                    </a:lnTo>
                    <a:lnTo>
                      <a:pt x="173" y="69"/>
                    </a:lnTo>
                    <a:lnTo>
                      <a:pt x="169" y="69"/>
                    </a:lnTo>
                    <a:lnTo>
                      <a:pt x="165" y="69"/>
                    </a:lnTo>
                    <a:lnTo>
                      <a:pt x="165" y="66"/>
                    </a:lnTo>
                    <a:lnTo>
                      <a:pt x="163" y="62"/>
                    </a:lnTo>
                    <a:lnTo>
                      <a:pt x="163" y="58"/>
                    </a:lnTo>
                    <a:lnTo>
                      <a:pt x="159" y="57"/>
                    </a:lnTo>
                    <a:lnTo>
                      <a:pt x="155" y="55"/>
                    </a:lnTo>
                    <a:lnTo>
                      <a:pt x="151" y="55"/>
                    </a:lnTo>
                    <a:lnTo>
                      <a:pt x="147" y="55"/>
                    </a:lnTo>
                    <a:lnTo>
                      <a:pt x="143" y="53"/>
                    </a:lnTo>
                    <a:lnTo>
                      <a:pt x="139" y="53"/>
                    </a:lnTo>
                    <a:lnTo>
                      <a:pt x="135" y="53"/>
                    </a:lnTo>
                    <a:lnTo>
                      <a:pt x="131" y="51"/>
                    </a:lnTo>
                    <a:lnTo>
                      <a:pt x="127" y="49"/>
                    </a:lnTo>
                    <a:lnTo>
                      <a:pt x="123" y="47"/>
                    </a:lnTo>
                    <a:lnTo>
                      <a:pt x="123" y="44"/>
                    </a:lnTo>
                    <a:lnTo>
                      <a:pt x="121" y="40"/>
                    </a:lnTo>
                    <a:lnTo>
                      <a:pt x="121" y="37"/>
                    </a:lnTo>
                    <a:lnTo>
                      <a:pt x="117" y="35"/>
                    </a:lnTo>
                    <a:lnTo>
                      <a:pt x="113" y="33"/>
                    </a:lnTo>
                    <a:lnTo>
                      <a:pt x="109" y="31"/>
                    </a:lnTo>
                    <a:lnTo>
                      <a:pt x="105" y="29"/>
                    </a:lnTo>
                    <a:lnTo>
                      <a:pt x="101" y="24"/>
                    </a:lnTo>
                    <a:lnTo>
                      <a:pt x="97" y="20"/>
                    </a:lnTo>
                    <a:lnTo>
                      <a:pt x="95" y="16"/>
                    </a:lnTo>
                    <a:lnTo>
                      <a:pt x="93" y="13"/>
                    </a:lnTo>
                    <a:lnTo>
                      <a:pt x="89" y="11"/>
                    </a:lnTo>
                    <a:lnTo>
                      <a:pt x="85" y="9"/>
                    </a:lnTo>
                    <a:lnTo>
                      <a:pt x="83" y="5"/>
                    </a:lnTo>
                    <a:lnTo>
                      <a:pt x="79" y="4"/>
                    </a:lnTo>
                    <a:lnTo>
                      <a:pt x="76" y="2"/>
                    </a:lnTo>
                    <a:lnTo>
                      <a:pt x="72" y="2"/>
                    </a:lnTo>
                    <a:lnTo>
                      <a:pt x="68" y="2"/>
                    </a:lnTo>
                    <a:lnTo>
                      <a:pt x="64" y="0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2" y="0"/>
                    </a:lnTo>
                    <a:lnTo>
                      <a:pt x="48" y="2"/>
                    </a:lnTo>
                    <a:lnTo>
                      <a:pt x="44" y="2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2" y="7"/>
                    </a:lnTo>
                    <a:lnTo>
                      <a:pt x="28" y="7"/>
                    </a:lnTo>
                    <a:lnTo>
                      <a:pt x="24" y="9"/>
                    </a:lnTo>
                    <a:lnTo>
                      <a:pt x="20" y="13"/>
                    </a:lnTo>
                    <a:lnTo>
                      <a:pt x="16" y="15"/>
                    </a:lnTo>
                    <a:lnTo>
                      <a:pt x="14" y="18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10" y="27"/>
                    </a:lnTo>
                    <a:lnTo>
                      <a:pt x="10" y="31"/>
                    </a:lnTo>
                    <a:lnTo>
                      <a:pt x="6" y="33"/>
                    </a:lnTo>
                    <a:lnTo>
                      <a:pt x="6" y="37"/>
                    </a:lnTo>
                    <a:lnTo>
                      <a:pt x="2" y="40"/>
                    </a:lnTo>
                    <a:lnTo>
                      <a:pt x="0" y="44"/>
                    </a:lnTo>
                    <a:lnTo>
                      <a:pt x="0" y="47"/>
                    </a:lnTo>
                    <a:lnTo>
                      <a:pt x="2" y="51"/>
                    </a:lnTo>
                    <a:lnTo>
                      <a:pt x="6" y="53"/>
                    </a:lnTo>
                    <a:lnTo>
                      <a:pt x="8" y="57"/>
                    </a:lnTo>
                    <a:lnTo>
                      <a:pt x="10" y="60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8" y="68"/>
                    </a:lnTo>
                    <a:lnTo>
                      <a:pt x="30" y="71"/>
                    </a:lnTo>
                    <a:lnTo>
                      <a:pt x="32" y="75"/>
                    </a:lnTo>
                    <a:lnTo>
                      <a:pt x="36" y="77"/>
                    </a:lnTo>
                    <a:lnTo>
                      <a:pt x="38" y="80"/>
                    </a:lnTo>
                    <a:lnTo>
                      <a:pt x="42" y="80"/>
                    </a:lnTo>
                    <a:lnTo>
                      <a:pt x="46" y="79"/>
                    </a:lnTo>
                    <a:lnTo>
                      <a:pt x="50" y="79"/>
                    </a:lnTo>
                    <a:lnTo>
                      <a:pt x="54" y="80"/>
                    </a:lnTo>
                    <a:lnTo>
                      <a:pt x="60" y="84"/>
                    </a:lnTo>
                    <a:lnTo>
                      <a:pt x="66" y="88"/>
                    </a:lnTo>
                    <a:lnTo>
                      <a:pt x="70" y="90"/>
                    </a:lnTo>
                    <a:lnTo>
                      <a:pt x="74" y="93"/>
                    </a:lnTo>
                    <a:lnTo>
                      <a:pt x="74" y="97"/>
                    </a:lnTo>
                    <a:lnTo>
                      <a:pt x="74" y="100"/>
                    </a:lnTo>
                    <a:lnTo>
                      <a:pt x="72" y="104"/>
                    </a:lnTo>
                    <a:lnTo>
                      <a:pt x="72" y="110"/>
                    </a:lnTo>
                    <a:lnTo>
                      <a:pt x="70" y="113"/>
                    </a:lnTo>
                    <a:lnTo>
                      <a:pt x="68" y="117"/>
                    </a:lnTo>
                    <a:lnTo>
                      <a:pt x="64" y="121"/>
                    </a:lnTo>
                    <a:lnTo>
                      <a:pt x="60" y="122"/>
                    </a:lnTo>
                    <a:lnTo>
                      <a:pt x="56" y="126"/>
                    </a:lnTo>
                    <a:lnTo>
                      <a:pt x="54" y="130"/>
                    </a:lnTo>
                    <a:lnTo>
                      <a:pt x="54" y="133"/>
                    </a:lnTo>
                    <a:lnTo>
                      <a:pt x="52" y="137"/>
                    </a:lnTo>
                    <a:lnTo>
                      <a:pt x="52" y="141"/>
                    </a:lnTo>
                    <a:lnTo>
                      <a:pt x="56" y="141"/>
                    </a:lnTo>
                    <a:lnTo>
                      <a:pt x="60" y="142"/>
                    </a:lnTo>
                    <a:lnTo>
                      <a:pt x="64" y="142"/>
                    </a:lnTo>
                    <a:lnTo>
                      <a:pt x="68" y="144"/>
                    </a:lnTo>
                    <a:lnTo>
                      <a:pt x="72" y="146"/>
                    </a:lnTo>
                    <a:lnTo>
                      <a:pt x="76" y="148"/>
                    </a:lnTo>
                    <a:lnTo>
                      <a:pt x="77" y="152"/>
                    </a:lnTo>
                    <a:lnTo>
                      <a:pt x="79" y="155"/>
                    </a:lnTo>
                    <a:lnTo>
                      <a:pt x="81" y="159"/>
                    </a:lnTo>
                    <a:lnTo>
                      <a:pt x="83" y="163"/>
                    </a:lnTo>
                    <a:lnTo>
                      <a:pt x="87" y="164"/>
                    </a:lnTo>
                    <a:lnTo>
                      <a:pt x="91" y="164"/>
                    </a:lnTo>
                    <a:lnTo>
                      <a:pt x="95" y="164"/>
                    </a:lnTo>
                    <a:lnTo>
                      <a:pt x="99" y="164"/>
                    </a:lnTo>
                    <a:lnTo>
                      <a:pt x="103" y="166"/>
                    </a:lnTo>
                    <a:lnTo>
                      <a:pt x="107" y="168"/>
                    </a:lnTo>
                    <a:lnTo>
                      <a:pt x="111" y="172"/>
                    </a:lnTo>
                    <a:lnTo>
                      <a:pt x="111" y="175"/>
                    </a:lnTo>
                    <a:lnTo>
                      <a:pt x="111" y="179"/>
                    </a:lnTo>
                    <a:lnTo>
                      <a:pt x="111" y="183"/>
                    </a:lnTo>
                    <a:lnTo>
                      <a:pt x="111" y="186"/>
                    </a:lnTo>
                    <a:lnTo>
                      <a:pt x="109" y="190"/>
                    </a:lnTo>
                    <a:lnTo>
                      <a:pt x="109" y="194"/>
                    </a:lnTo>
                    <a:lnTo>
                      <a:pt x="109" y="197"/>
                    </a:lnTo>
                    <a:lnTo>
                      <a:pt x="111" y="201"/>
                    </a:lnTo>
                    <a:lnTo>
                      <a:pt x="115" y="201"/>
                    </a:lnTo>
                    <a:lnTo>
                      <a:pt x="119" y="201"/>
                    </a:lnTo>
                    <a:lnTo>
                      <a:pt x="123" y="201"/>
                    </a:lnTo>
                    <a:lnTo>
                      <a:pt x="125" y="205"/>
                    </a:lnTo>
                    <a:lnTo>
                      <a:pt x="125" y="208"/>
                    </a:lnTo>
                    <a:lnTo>
                      <a:pt x="125" y="212"/>
                    </a:lnTo>
                    <a:lnTo>
                      <a:pt x="125" y="216"/>
                    </a:lnTo>
                    <a:lnTo>
                      <a:pt x="125" y="221"/>
                    </a:lnTo>
                    <a:lnTo>
                      <a:pt x="127" y="225"/>
                    </a:lnTo>
                    <a:lnTo>
                      <a:pt x="127" y="230"/>
                    </a:lnTo>
                    <a:lnTo>
                      <a:pt x="127" y="234"/>
                    </a:lnTo>
                    <a:lnTo>
                      <a:pt x="127" y="237"/>
                    </a:lnTo>
                    <a:lnTo>
                      <a:pt x="127" y="241"/>
                    </a:lnTo>
                    <a:lnTo>
                      <a:pt x="131" y="243"/>
                    </a:lnTo>
                    <a:lnTo>
                      <a:pt x="133" y="247"/>
                    </a:lnTo>
                    <a:lnTo>
                      <a:pt x="137" y="247"/>
                    </a:lnTo>
                    <a:lnTo>
                      <a:pt x="141" y="248"/>
                    </a:lnTo>
                    <a:lnTo>
                      <a:pt x="145" y="250"/>
                    </a:lnTo>
                    <a:lnTo>
                      <a:pt x="149" y="252"/>
                    </a:lnTo>
                    <a:lnTo>
                      <a:pt x="153" y="250"/>
                    </a:lnTo>
                    <a:lnTo>
                      <a:pt x="153" y="247"/>
                    </a:lnTo>
                    <a:lnTo>
                      <a:pt x="157" y="243"/>
                    </a:lnTo>
                    <a:lnTo>
                      <a:pt x="159" y="239"/>
                    </a:lnTo>
                    <a:lnTo>
                      <a:pt x="161" y="236"/>
                    </a:lnTo>
                    <a:lnTo>
                      <a:pt x="161" y="232"/>
                    </a:lnTo>
                    <a:lnTo>
                      <a:pt x="163" y="228"/>
                    </a:lnTo>
                    <a:lnTo>
                      <a:pt x="167" y="225"/>
                    </a:lnTo>
                    <a:lnTo>
                      <a:pt x="171" y="223"/>
                    </a:lnTo>
                    <a:lnTo>
                      <a:pt x="175" y="223"/>
                    </a:lnTo>
                    <a:lnTo>
                      <a:pt x="179" y="223"/>
                    </a:lnTo>
                    <a:lnTo>
                      <a:pt x="183" y="223"/>
                    </a:lnTo>
                    <a:lnTo>
                      <a:pt x="187" y="223"/>
                    </a:lnTo>
                    <a:lnTo>
                      <a:pt x="191" y="223"/>
                    </a:lnTo>
                    <a:lnTo>
                      <a:pt x="195" y="225"/>
                    </a:lnTo>
                    <a:lnTo>
                      <a:pt x="199" y="225"/>
                    </a:lnTo>
                    <a:lnTo>
                      <a:pt x="203" y="227"/>
                    </a:lnTo>
                    <a:lnTo>
                      <a:pt x="207" y="227"/>
                    </a:lnTo>
                    <a:lnTo>
                      <a:pt x="211" y="225"/>
                    </a:lnTo>
                    <a:lnTo>
                      <a:pt x="215" y="223"/>
                    </a:lnTo>
                    <a:lnTo>
                      <a:pt x="215" y="219"/>
                    </a:lnTo>
                    <a:lnTo>
                      <a:pt x="219" y="217"/>
                    </a:lnTo>
                    <a:lnTo>
                      <a:pt x="223" y="217"/>
                    </a:lnTo>
                    <a:lnTo>
                      <a:pt x="227" y="219"/>
                    </a:lnTo>
                    <a:lnTo>
                      <a:pt x="230" y="219"/>
                    </a:lnTo>
                    <a:lnTo>
                      <a:pt x="234" y="221"/>
                    </a:lnTo>
                    <a:lnTo>
                      <a:pt x="238" y="223"/>
                    </a:lnTo>
                    <a:lnTo>
                      <a:pt x="242" y="223"/>
                    </a:lnTo>
                    <a:lnTo>
                      <a:pt x="246" y="223"/>
                    </a:lnTo>
                    <a:lnTo>
                      <a:pt x="250" y="223"/>
                    </a:lnTo>
                    <a:lnTo>
                      <a:pt x="254" y="225"/>
                    </a:lnTo>
                    <a:lnTo>
                      <a:pt x="254" y="228"/>
                    </a:lnTo>
                    <a:lnTo>
                      <a:pt x="258" y="230"/>
                    </a:lnTo>
                    <a:lnTo>
                      <a:pt x="262" y="228"/>
                    </a:lnTo>
                    <a:lnTo>
                      <a:pt x="266" y="225"/>
                    </a:lnTo>
                    <a:lnTo>
                      <a:pt x="268" y="221"/>
                    </a:lnTo>
                    <a:lnTo>
                      <a:pt x="272" y="219"/>
                    </a:lnTo>
                    <a:lnTo>
                      <a:pt x="276" y="217"/>
                    </a:lnTo>
                    <a:lnTo>
                      <a:pt x="280" y="217"/>
                    </a:lnTo>
                    <a:lnTo>
                      <a:pt x="284" y="217"/>
                    </a:lnTo>
                    <a:lnTo>
                      <a:pt x="288" y="217"/>
                    </a:lnTo>
                    <a:lnTo>
                      <a:pt x="292" y="217"/>
                    </a:lnTo>
                    <a:lnTo>
                      <a:pt x="296" y="217"/>
                    </a:lnTo>
                    <a:lnTo>
                      <a:pt x="300" y="216"/>
                    </a:lnTo>
                    <a:lnTo>
                      <a:pt x="302" y="212"/>
                    </a:lnTo>
                    <a:lnTo>
                      <a:pt x="304" y="208"/>
                    </a:lnTo>
                    <a:lnTo>
                      <a:pt x="304" y="205"/>
                    </a:lnTo>
                    <a:lnTo>
                      <a:pt x="300" y="205"/>
                    </a:lnTo>
                    <a:lnTo>
                      <a:pt x="296" y="201"/>
                    </a:lnTo>
                    <a:lnTo>
                      <a:pt x="294" y="197"/>
                    </a:lnTo>
                    <a:lnTo>
                      <a:pt x="290" y="195"/>
                    </a:lnTo>
                    <a:lnTo>
                      <a:pt x="290" y="192"/>
                    </a:lnTo>
                    <a:lnTo>
                      <a:pt x="290" y="188"/>
                    </a:lnTo>
                    <a:lnTo>
                      <a:pt x="290" y="184"/>
                    </a:lnTo>
                    <a:lnTo>
                      <a:pt x="292" y="181"/>
                    </a:lnTo>
                    <a:lnTo>
                      <a:pt x="292" y="177"/>
                    </a:lnTo>
                    <a:lnTo>
                      <a:pt x="292" y="174"/>
                    </a:lnTo>
                    <a:lnTo>
                      <a:pt x="288" y="172"/>
                    </a:lnTo>
                    <a:lnTo>
                      <a:pt x="284" y="170"/>
                    </a:lnTo>
                    <a:lnTo>
                      <a:pt x="284" y="166"/>
                    </a:lnTo>
                    <a:lnTo>
                      <a:pt x="282" y="163"/>
                    </a:lnTo>
                    <a:lnTo>
                      <a:pt x="282" y="159"/>
                    </a:lnTo>
                    <a:lnTo>
                      <a:pt x="282" y="155"/>
                    </a:lnTo>
                    <a:lnTo>
                      <a:pt x="278" y="153"/>
                    </a:lnTo>
                    <a:lnTo>
                      <a:pt x="274" y="152"/>
                    </a:lnTo>
                    <a:lnTo>
                      <a:pt x="270" y="150"/>
                    </a:lnTo>
                    <a:lnTo>
                      <a:pt x="266" y="146"/>
                    </a:lnTo>
                    <a:lnTo>
                      <a:pt x="264" y="142"/>
                    </a:lnTo>
                    <a:lnTo>
                      <a:pt x="264" y="139"/>
                    </a:lnTo>
                    <a:lnTo>
                      <a:pt x="264" y="135"/>
                    </a:lnTo>
                    <a:lnTo>
                      <a:pt x="264" y="132"/>
                    </a:lnTo>
                    <a:lnTo>
                      <a:pt x="264" y="128"/>
                    </a:lnTo>
                    <a:lnTo>
                      <a:pt x="264" y="124"/>
                    </a:lnTo>
                    <a:lnTo>
                      <a:pt x="262" y="121"/>
                    </a:lnTo>
                    <a:lnTo>
                      <a:pt x="260" y="117"/>
                    </a:lnTo>
                    <a:lnTo>
                      <a:pt x="256" y="115"/>
                    </a:lnTo>
                    <a:lnTo>
                      <a:pt x="254" y="111"/>
                    </a:lnTo>
                    <a:lnTo>
                      <a:pt x="250" y="110"/>
                    </a:lnTo>
                    <a:lnTo>
                      <a:pt x="246" y="108"/>
                    </a:lnTo>
                    <a:lnTo>
                      <a:pt x="244" y="104"/>
                    </a:lnTo>
                    <a:lnTo>
                      <a:pt x="240" y="104"/>
                    </a:lnTo>
                    <a:lnTo>
                      <a:pt x="236" y="104"/>
                    </a:lnTo>
                    <a:lnTo>
                      <a:pt x="232" y="104"/>
                    </a:lnTo>
                    <a:lnTo>
                      <a:pt x="229" y="104"/>
                    </a:lnTo>
                    <a:lnTo>
                      <a:pt x="225" y="102"/>
                    </a:lnTo>
                    <a:lnTo>
                      <a:pt x="221" y="100"/>
                    </a:lnTo>
                    <a:lnTo>
                      <a:pt x="219" y="97"/>
                    </a:lnTo>
                    <a:lnTo>
                      <a:pt x="215" y="95"/>
                    </a:lnTo>
                    <a:lnTo>
                      <a:pt x="211" y="93"/>
                    </a:lnTo>
                    <a:lnTo>
                      <a:pt x="207" y="91"/>
                    </a:lnTo>
                    <a:lnTo>
                      <a:pt x="207" y="88"/>
                    </a:lnTo>
                    <a:lnTo>
                      <a:pt x="207" y="84"/>
                    </a:lnTo>
                    <a:lnTo>
                      <a:pt x="209" y="80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4" name="Freeform 69"/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2202157" y="3829355"/>
                <a:ext cx="565699" cy="433059"/>
              </a:xfrm>
              <a:custGeom>
                <a:avLst/>
                <a:gdLst>
                  <a:gd name="T0" fmla="*/ 2147483647 w 455"/>
                  <a:gd name="T1" fmla="*/ 2147483647 h 367"/>
                  <a:gd name="T2" fmla="*/ 2147483647 w 455"/>
                  <a:gd name="T3" fmla="*/ 2147483647 h 367"/>
                  <a:gd name="T4" fmla="*/ 2147483647 w 455"/>
                  <a:gd name="T5" fmla="*/ 2147483647 h 367"/>
                  <a:gd name="T6" fmla="*/ 2147483647 w 455"/>
                  <a:gd name="T7" fmla="*/ 2147483647 h 367"/>
                  <a:gd name="T8" fmla="*/ 2147483647 w 455"/>
                  <a:gd name="T9" fmla="*/ 2147483647 h 367"/>
                  <a:gd name="T10" fmla="*/ 2147483647 w 455"/>
                  <a:gd name="T11" fmla="*/ 2147483647 h 367"/>
                  <a:gd name="T12" fmla="*/ 2147483647 w 455"/>
                  <a:gd name="T13" fmla="*/ 2147483647 h 367"/>
                  <a:gd name="T14" fmla="*/ 2147483647 w 455"/>
                  <a:gd name="T15" fmla="*/ 2147483647 h 367"/>
                  <a:gd name="T16" fmla="*/ 2147483647 w 455"/>
                  <a:gd name="T17" fmla="*/ 2147483647 h 367"/>
                  <a:gd name="T18" fmla="*/ 2147483647 w 455"/>
                  <a:gd name="T19" fmla="*/ 2147483647 h 367"/>
                  <a:gd name="T20" fmla="*/ 2147483647 w 455"/>
                  <a:gd name="T21" fmla="*/ 2147483647 h 367"/>
                  <a:gd name="T22" fmla="*/ 2147483647 w 455"/>
                  <a:gd name="T23" fmla="*/ 2147483647 h 367"/>
                  <a:gd name="T24" fmla="*/ 2147483647 w 455"/>
                  <a:gd name="T25" fmla="*/ 2147483647 h 367"/>
                  <a:gd name="T26" fmla="*/ 2147483647 w 455"/>
                  <a:gd name="T27" fmla="*/ 2147483647 h 367"/>
                  <a:gd name="T28" fmla="*/ 2147483647 w 455"/>
                  <a:gd name="T29" fmla="*/ 2147483647 h 367"/>
                  <a:gd name="T30" fmla="*/ 2147483647 w 455"/>
                  <a:gd name="T31" fmla="*/ 2147483647 h 367"/>
                  <a:gd name="T32" fmla="*/ 2147483647 w 455"/>
                  <a:gd name="T33" fmla="*/ 2147483647 h 367"/>
                  <a:gd name="T34" fmla="*/ 2147483647 w 455"/>
                  <a:gd name="T35" fmla="*/ 2147483647 h 367"/>
                  <a:gd name="T36" fmla="*/ 2147483647 w 455"/>
                  <a:gd name="T37" fmla="*/ 2147483647 h 367"/>
                  <a:gd name="T38" fmla="*/ 2147483647 w 455"/>
                  <a:gd name="T39" fmla="*/ 2147483647 h 367"/>
                  <a:gd name="T40" fmla="*/ 2147483647 w 455"/>
                  <a:gd name="T41" fmla="*/ 2147483647 h 367"/>
                  <a:gd name="T42" fmla="*/ 2147483647 w 455"/>
                  <a:gd name="T43" fmla="*/ 2147483647 h 367"/>
                  <a:gd name="T44" fmla="*/ 2147483647 w 455"/>
                  <a:gd name="T45" fmla="*/ 2147483647 h 367"/>
                  <a:gd name="T46" fmla="*/ 2147483647 w 455"/>
                  <a:gd name="T47" fmla="*/ 2147483647 h 367"/>
                  <a:gd name="T48" fmla="*/ 2147483647 w 455"/>
                  <a:gd name="T49" fmla="*/ 2147483647 h 367"/>
                  <a:gd name="T50" fmla="*/ 2147483647 w 455"/>
                  <a:gd name="T51" fmla="*/ 2147483647 h 367"/>
                  <a:gd name="T52" fmla="*/ 2147483647 w 455"/>
                  <a:gd name="T53" fmla="*/ 2147483647 h 367"/>
                  <a:gd name="T54" fmla="*/ 2147483647 w 455"/>
                  <a:gd name="T55" fmla="*/ 2147483647 h 367"/>
                  <a:gd name="T56" fmla="*/ 2147483647 w 455"/>
                  <a:gd name="T57" fmla="*/ 2147483647 h 367"/>
                  <a:gd name="T58" fmla="*/ 2147483647 w 455"/>
                  <a:gd name="T59" fmla="*/ 2147483647 h 367"/>
                  <a:gd name="T60" fmla="*/ 2147483647 w 455"/>
                  <a:gd name="T61" fmla="*/ 2147483647 h 367"/>
                  <a:gd name="T62" fmla="*/ 2147483647 w 455"/>
                  <a:gd name="T63" fmla="*/ 2147483647 h 367"/>
                  <a:gd name="T64" fmla="*/ 2147483647 w 455"/>
                  <a:gd name="T65" fmla="*/ 2147483647 h 367"/>
                  <a:gd name="T66" fmla="*/ 2147483647 w 455"/>
                  <a:gd name="T67" fmla="*/ 2147483647 h 367"/>
                  <a:gd name="T68" fmla="*/ 2147483647 w 455"/>
                  <a:gd name="T69" fmla="*/ 2147483647 h 367"/>
                  <a:gd name="T70" fmla="*/ 2147483647 w 455"/>
                  <a:gd name="T71" fmla="*/ 2147483647 h 367"/>
                  <a:gd name="T72" fmla="*/ 2147483647 w 455"/>
                  <a:gd name="T73" fmla="*/ 2147483647 h 367"/>
                  <a:gd name="T74" fmla="*/ 2147483647 w 455"/>
                  <a:gd name="T75" fmla="*/ 2147483647 h 367"/>
                  <a:gd name="T76" fmla="*/ 2147483647 w 455"/>
                  <a:gd name="T77" fmla="*/ 2147483647 h 367"/>
                  <a:gd name="T78" fmla="*/ 2147483647 w 455"/>
                  <a:gd name="T79" fmla="*/ 2147483647 h 367"/>
                  <a:gd name="T80" fmla="*/ 2147483647 w 455"/>
                  <a:gd name="T81" fmla="*/ 2147483647 h 367"/>
                  <a:gd name="T82" fmla="*/ 2147483647 w 455"/>
                  <a:gd name="T83" fmla="*/ 2147483647 h 367"/>
                  <a:gd name="T84" fmla="*/ 2147483647 w 455"/>
                  <a:gd name="T85" fmla="*/ 2147483647 h 367"/>
                  <a:gd name="T86" fmla="*/ 2147483647 w 455"/>
                  <a:gd name="T87" fmla="*/ 2147483647 h 367"/>
                  <a:gd name="T88" fmla="*/ 2147483647 w 455"/>
                  <a:gd name="T89" fmla="*/ 2147483647 h 367"/>
                  <a:gd name="T90" fmla="*/ 2147483647 w 455"/>
                  <a:gd name="T91" fmla="*/ 2147483647 h 367"/>
                  <a:gd name="T92" fmla="*/ 2147483647 w 455"/>
                  <a:gd name="T93" fmla="*/ 2147483647 h 367"/>
                  <a:gd name="T94" fmla="*/ 2147483647 w 455"/>
                  <a:gd name="T95" fmla="*/ 2147483647 h 367"/>
                  <a:gd name="T96" fmla="*/ 2147483647 w 455"/>
                  <a:gd name="T97" fmla="*/ 2147483647 h 367"/>
                  <a:gd name="T98" fmla="*/ 2147483647 w 455"/>
                  <a:gd name="T99" fmla="*/ 2147483647 h 367"/>
                  <a:gd name="T100" fmla="*/ 2147483647 w 455"/>
                  <a:gd name="T101" fmla="*/ 2147483647 h 367"/>
                  <a:gd name="T102" fmla="*/ 2147483647 w 455"/>
                  <a:gd name="T103" fmla="*/ 2147483647 h 367"/>
                  <a:gd name="T104" fmla="*/ 2147483647 w 455"/>
                  <a:gd name="T105" fmla="*/ 2147483647 h 367"/>
                  <a:gd name="T106" fmla="*/ 2147483647 w 455"/>
                  <a:gd name="T107" fmla="*/ 2147483647 h 367"/>
                  <a:gd name="T108" fmla="*/ 2147483647 w 455"/>
                  <a:gd name="T109" fmla="*/ 2147483647 h 367"/>
                  <a:gd name="T110" fmla="*/ 2147483647 w 455"/>
                  <a:gd name="T111" fmla="*/ 2147483647 h 367"/>
                  <a:gd name="T112" fmla="*/ 2147483647 w 455"/>
                  <a:gd name="T113" fmla="*/ 2147483647 h 367"/>
                  <a:gd name="T114" fmla="*/ 2147483647 w 455"/>
                  <a:gd name="T115" fmla="*/ 2147483647 h 367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455"/>
                  <a:gd name="T175" fmla="*/ 0 h 367"/>
                  <a:gd name="T176" fmla="*/ 455 w 455"/>
                  <a:gd name="T177" fmla="*/ 367 h 367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455" h="367">
                    <a:moveTo>
                      <a:pt x="199" y="34"/>
                    </a:moveTo>
                    <a:lnTo>
                      <a:pt x="193" y="28"/>
                    </a:lnTo>
                    <a:lnTo>
                      <a:pt x="190" y="23"/>
                    </a:lnTo>
                    <a:lnTo>
                      <a:pt x="187" y="17"/>
                    </a:lnTo>
                    <a:lnTo>
                      <a:pt x="185" y="14"/>
                    </a:lnTo>
                    <a:lnTo>
                      <a:pt x="181" y="9"/>
                    </a:lnTo>
                    <a:lnTo>
                      <a:pt x="181" y="5"/>
                    </a:lnTo>
                    <a:lnTo>
                      <a:pt x="177" y="5"/>
                    </a:lnTo>
                    <a:lnTo>
                      <a:pt x="174" y="0"/>
                    </a:lnTo>
                    <a:lnTo>
                      <a:pt x="169" y="1"/>
                    </a:lnTo>
                    <a:lnTo>
                      <a:pt x="165" y="4"/>
                    </a:lnTo>
                    <a:lnTo>
                      <a:pt x="163" y="8"/>
                    </a:lnTo>
                    <a:lnTo>
                      <a:pt x="162" y="12"/>
                    </a:lnTo>
                    <a:lnTo>
                      <a:pt x="160" y="17"/>
                    </a:lnTo>
                    <a:lnTo>
                      <a:pt x="158" y="21"/>
                    </a:lnTo>
                    <a:lnTo>
                      <a:pt x="154" y="23"/>
                    </a:lnTo>
                    <a:lnTo>
                      <a:pt x="149" y="27"/>
                    </a:lnTo>
                    <a:lnTo>
                      <a:pt x="145" y="27"/>
                    </a:lnTo>
                    <a:lnTo>
                      <a:pt x="140" y="30"/>
                    </a:lnTo>
                    <a:lnTo>
                      <a:pt x="136" y="31"/>
                    </a:lnTo>
                    <a:lnTo>
                      <a:pt x="131" y="33"/>
                    </a:lnTo>
                    <a:lnTo>
                      <a:pt x="130" y="36"/>
                    </a:lnTo>
                    <a:lnTo>
                      <a:pt x="128" y="42"/>
                    </a:lnTo>
                    <a:lnTo>
                      <a:pt x="124" y="44"/>
                    </a:lnTo>
                    <a:lnTo>
                      <a:pt x="122" y="50"/>
                    </a:lnTo>
                    <a:lnTo>
                      <a:pt x="117" y="50"/>
                    </a:lnTo>
                    <a:lnTo>
                      <a:pt x="113" y="52"/>
                    </a:lnTo>
                    <a:lnTo>
                      <a:pt x="107" y="55"/>
                    </a:lnTo>
                    <a:lnTo>
                      <a:pt x="103" y="57"/>
                    </a:lnTo>
                    <a:lnTo>
                      <a:pt x="101" y="63"/>
                    </a:lnTo>
                    <a:lnTo>
                      <a:pt x="97" y="63"/>
                    </a:lnTo>
                    <a:lnTo>
                      <a:pt x="92" y="67"/>
                    </a:lnTo>
                    <a:lnTo>
                      <a:pt x="91" y="72"/>
                    </a:lnTo>
                    <a:lnTo>
                      <a:pt x="88" y="76"/>
                    </a:lnTo>
                    <a:lnTo>
                      <a:pt x="83" y="80"/>
                    </a:lnTo>
                    <a:lnTo>
                      <a:pt x="79" y="82"/>
                    </a:lnTo>
                    <a:lnTo>
                      <a:pt x="74" y="82"/>
                    </a:lnTo>
                    <a:lnTo>
                      <a:pt x="70" y="83"/>
                    </a:lnTo>
                    <a:lnTo>
                      <a:pt x="65" y="83"/>
                    </a:lnTo>
                    <a:lnTo>
                      <a:pt x="62" y="86"/>
                    </a:lnTo>
                    <a:lnTo>
                      <a:pt x="55" y="89"/>
                    </a:lnTo>
                    <a:lnTo>
                      <a:pt x="48" y="92"/>
                    </a:lnTo>
                    <a:lnTo>
                      <a:pt x="46" y="95"/>
                    </a:lnTo>
                    <a:lnTo>
                      <a:pt x="41" y="97"/>
                    </a:lnTo>
                    <a:lnTo>
                      <a:pt x="37" y="99"/>
                    </a:lnTo>
                    <a:lnTo>
                      <a:pt x="35" y="105"/>
                    </a:lnTo>
                    <a:lnTo>
                      <a:pt x="33" y="109"/>
                    </a:lnTo>
                    <a:lnTo>
                      <a:pt x="30" y="110"/>
                    </a:lnTo>
                    <a:lnTo>
                      <a:pt x="25" y="113"/>
                    </a:lnTo>
                    <a:lnTo>
                      <a:pt x="21" y="117"/>
                    </a:lnTo>
                    <a:lnTo>
                      <a:pt x="17" y="119"/>
                    </a:lnTo>
                    <a:lnTo>
                      <a:pt x="13" y="120"/>
                    </a:lnTo>
                    <a:lnTo>
                      <a:pt x="8" y="120"/>
                    </a:lnTo>
                    <a:lnTo>
                      <a:pt x="4" y="121"/>
                    </a:lnTo>
                    <a:lnTo>
                      <a:pt x="1" y="126"/>
                    </a:lnTo>
                    <a:lnTo>
                      <a:pt x="0" y="130"/>
                    </a:lnTo>
                    <a:lnTo>
                      <a:pt x="0" y="134"/>
                    </a:lnTo>
                    <a:lnTo>
                      <a:pt x="3" y="138"/>
                    </a:lnTo>
                    <a:lnTo>
                      <a:pt x="8" y="139"/>
                    </a:lnTo>
                    <a:lnTo>
                      <a:pt x="11" y="143"/>
                    </a:lnTo>
                    <a:lnTo>
                      <a:pt x="16" y="145"/>
                    </a:lnTo>
                    <a:lnTo>
                      <a:pt x="19" y="148"/>
                    </a:lnTo>
                    <a:lnTo>
                      <a:pt x="19" y="152"/>
                    </a:lnTo>
                    <a:lnTo>
                      <a:pt x="23" y="154"/>
                    </a:lnTo>
                    <a:lnTo>
                      <a:pt x="27" y="157"/>
                    </a:lnTo>
                    <a:lnTo>
                      <a:pt x="31" y="157"/>
                    </a:lnTo>
                    <a:lnTo>
                      <a:pt x="36" y="156"/>
                    </a:lnTo>
                    <a:lnTo>
                      <a:pt x="39" y="154"/>
                    </a:lnTo>
                    <a:lnTo>
                      <a:pt x="44" y="153"/>
                    </a:lnTo>
                    <a:lnTo>
                      <a:pt x="48" y="152"/>
                    </a:lnTo>
                    <a:lnTo>
                      <a:pt x="53" y="152"/>
                    </a:lnTo>
                    <a:lnTo>
                      <a:pt x="56" y="156"/>
                    </a:lnTo>
                    <a:lnTo>
                      <a:pt x="57" y="159"/>
                    </a:lnTo>
                    <a:lnTo>
                      <a:pt x="60" y="164"/>
                    </a:lnTo>
                    <a:lnTo>
                      <a:pt x="61" y="169"/>
                    </a:lnTo>
                    <a:lnTo>
                      <a:pt x="61" y="174"/>
                    </a:lnTo>
                    <a:lnTo>
                      <a:pt x="62" y="178"/>
                    </a:lnTo>
                    <a:lnTo>
                      <a:pt x="67" y="177"/>
                    </a:lnTo>
                    <a:lnTo>
                      <a:pt x="71" y="178"/>
                    </a:lnTo>
                    <a:lnTo>
                      <a:pt x="77" y="182"/>
                    </a:lnTo>
                    <a:lnTo>
                      <a:pt x="81" y="183"/>
                    </a:lnTo>
                    <a:lnTo>
                      <a:pt x="84" y="188"/>
                    </a:lnTo>
                    <a:lnTo>
                      <a:pt x="88" y="188"/>
                    </a:lnTo>
                    <a:lnTo>
                      <a:pt x="94" y="190"/>
                    </a:lnTo>
                    <a:lnTo>
                      <a:pt x="96" y="194"/>
                    </a:lnTo>
                    <a:lnTo>
                      <a:pt x="97" y="198"/>
                    </a:lnTo>
                    <a:lnTo>
                      <a:pt x="97" y="201"/>
                    </a:lnTo>
                    <a:lnTo>
                      <a:pt x="98" y="206"/>
                    </a:lnTo>
                    <a:lnTo>
                      <a:pt x="99" y="211"/>
                    </a:lnTo>
                    <a:lnTo>
                      <a:pt x="99" y="214"/>
                    </a:lnTo>
                    <a:lnTo>
                      <a:pt x="104" y="218"/>
                    </a:lnTo>
                    <a:lnTo>
                      <a:pt x="104" y="223"/>
                    </a:lnTo>
                    <a:lnTo>
                      <a:pt x="105" y="228"/>
                    </a:lnTo>
                    <a:lnTo>
                      <a:pt x="106" y="232"/>
                    </a:lnTo>
                    <a:lnTo>
                      <a:pt x="106" y="235"/>
                    </a:lnTo>
                    <a:lnTo>
                      <a:pt x="105" y="241"/>
                    </a:lnTo>
                    <a:lnTo>
                      <a:pt x="105" y="245"/>
                    </a:lnTo>
                    <a:lnTo>
                      <a:pt x="108" y="248"/>
                    </a:lnTo>
                    <a:lnTo>
                      <a:pt x="108" y="252"/>
                    </a:lnTo>
                    <a:lnTo>
                      <a:pt x="109" y="258"/>
                    </a:lnTo>
                    <a:lnTo>
                      <a:pt x="110" y="263"/>
                    </a:lnTo>
                    <a:lnTo>
                      <a:pt x="110" y="267"/>
                    </a:lnTo>
                    <a:lnTo>
                      <a:pt x="115" y="268"/>
                    </a:lnTo>
                    <a:lnTo>
                      <a:pt x="119" y="266"/>
                    </a:lnTo>
                    <a:lnTo>
                      <a:pt x="119" y="262"/>
                    </a:lnTo>
                    <a:lnTo>
                      <a:pt x="118" y="257"/>
                    </a:lnTo>
                    <a:lnTo>
                      <a:pt x="118" y="254"/>
                    </a:lnTo>
                    <a:lnTo>
                      <a:pt x="117" y="249"/>
                    </a:lnTo>
                    <a:lnTo>
                      <a:pt x="122" y="246"/>
                    </a:lnTo>
                    <a:lnTo>
                      <a:pt x="125" y="242"/>
                    </a:lnTo>
                    <a:lnTo>
                      <a:pt x="129" y="237"/>
                    </a:lnTo>
                    <a:lnTo>
                      <a:pt x="132" y="241"/>
                    </a:lnTo>
                    <a:lnTo>
                      <a:pt x="132" y="245"/>
                    </a:lnTo>
                    <a:lnTo>
                      <a:pt x="133" y="249"/>
                    </a:lnTo>
                    <a:lnTo>
                      <a:pt x="134" y="254"/>
                    </a:lnTo>
                    <a:lnTo>
                      <a:pt x="134" y="257"/>
                    </a:lnTo>
                    <a:lnTo>
                      <a:pt x="140" y="261"/>
                    </a:lnTo>
                    <a:lnTo>
                      <a:pt x="140" y="265"/>
                    </a:lnTo>
                    <a:lnTo>
                      <a:pt x="141" y="269"/>
                    </a:lnTo>
                    <a:lnTo>
                      <a:pt x="143" y="273"/>
                    </a:lnTo>
                    <a:lnTo>
                      <a:pt x="147" y="274"/>
                    </a:lnTo>
                    <a:lnTo>
                      <a:pt x="151" y="278"/>
                    </a:lnTo>
                    <a:lnTo>
                      <a:pt x="153" y="281"/>
                    </a:lnTo>
                    <a:lnTo>
                      <a:pt x="156" y="286"/>
                    </a:lnTo>
                    <a:lnTo>
                      <a:pt x="161" y="288"/>
                    </a:lnTo>
                    <a:lnTo>
                      <a:pt x="166" y="290"/>
                    </a:lnTo>
                    <a:lnTo>
                      <a:pt x="171" y="289"/>
                    </a:lnTo>
                    <a:lnTo>
                      <a:pt x="175" y="292"/>
                    </a:lnTo>
                    <a:lnTo>
                      <a:pt x="180" y="293"/>
                    </a:lnTo>
                    <a:lnTo>
                      <a:pt x="183" y="293"/>
                    </a:lnTo>
                    <a:lnTo>
                      <a:pt x="188" y="290"/>
                    </a:lnTo>
                    <a:lnTo>
                      <a:pt x="189" y="285"/>
                    </a:lnTo>
                    <a:lnTo>
                      <a:pt x="193" y="283"/>
                    </a:lnTo>
                    <a:lnTo>
                      <a:pt x="198" y="283"/>
                    </a:lnTo>
                    <a:lnTo>
                      <a:pt x="202" y="282"/>
                    </a:lnTo>
                    <a:lnTo>
                      <a:pt x="209" y="281"/>
                    </a:lnTo>
                    <a:lnTo>
                      <a:pt x="214" y="280"/>
                    </a:lnTo>
                    <a:lnTo>
                      <a:pt x="218" y="280"/>
                    </a:lnTo>
                    <a:lnTo>
                      <a:pt x="223" y="279"/>
                    </a:lnTo>
                    <a:lnTo>
                      <a:pt x="227" y="279"/>
                    </a:lnTo>
                    <a:lnTo>
                      <a:pt x="232" y="279"/>
                    </a:lnTo>
                    <a:lnTo>
                      <a:pt x="239" y="283"/>
                    </a:lnTo>
                    <a:lnTo>
                      <a:pt x="244" y="286"/>
                    </a:lnTo>
                    <a:lnTo>
                      <a:pt x="249" y="290"/>
                    </a:lnTo>
                    <a:lnTo>
                      <a:pt x="250" y="294"/>
                    </a:lnTo>
                    <a:lnTo>
                      <a:pt x="251" y="299"/>
                    </a:lnTo>
                    <a:lnTo>
                      <a:pt x="251" y="302"/>
                    </a:lnTo>
                    <a:lnTo>
                      <a:pt x="254" y="306"/>
                    </a:lnTo>
                    <a:lnTo>
                      <a:pt x="258" y="306"/>
                    </a:lnTo>
                    <a:lnTo>
                      <a:pt x="263" y="305"/>
                    </a:lnTo>
                    <a:lnTo>
                      <a:pt x="267" y="305"/>
                    </a:lnTo>
                    <a:lnTo>
                      <a:pt x="269" y="299"/>
                    </a:lnTo>
                    <a:lnTo>
                      <a:pt x="272" y="296"/>
                    </a:lnTo>
                    <a:lnTo>
                      <a:pt x="277" y="295"/>
                    </a:lnTo>
                    <a:lnTo>
                      <a:pt x="282" y="296"/>
                    </a:lnTo>
                    <a:lnTo>
                      <a:pt x="287" y="297"/>
                    </a:lnTo>
                    <a:lnTo>
                      <a:pt x="287" y="302"/>
                    </a:lnTo>
                    <a:lnTo>
                      <a:pt x="291" y="303"/>
                    </a:lnTo>
                    <a:lnTo>
                      <a:pt x="296" y="305"/>
                    </a:lnTo>
                    <a:lnTo>
                      <a:pt x="300" y="305"/>
                    </a:lnTo>
                    <a:lnTo>
                      <a:pt x="301" y="310"/>
                    </a:lnTo>
                    <a:lnTo>
                      <a:pt x="303" y="314"/>
                    </a:lnTo>
                    <a:lnTo>
                      <a:pt x="304" y="318"/>
                    </a:lnTo>
                    <a:lnTo>
                      <a:pt x="304" y="322"/>
                    </a:lnTo>
                    <a:lnTo>
                      <a:pt x="305" y="327"/>
                    </a:lnTo>
                    <a:lnTo>
                      <a:pt x="305" y="330"/>
                    </a:lnTo>
                    <a:lnTo>
                      <a:pt x="306" y="335"/>
                    </a:lnTo>
                    <a:lnTo>
                      <a:pt x="309" y="338"/>
                    </a:lnTo>
                    <a:lnTo>
                      <a:pt x="316" y="340"/>
                    </a:lnTo>
                    <a:lnTo>
                      <a:pt x="321" y="345"/>
                    </a:lnTo>
                    <a:lnTo>
                      <a:pt x="322" y="349"/>
                    </a:lnTo>
                    <a:lnTo>
                      <a:pt x="324" y="352"/>
                    </a:lnTo>
                    <a:lnTo>
                      <a:pt x="327" y="356"/>
                    </a:lnTo>
                    <a:lnTo>
                      <a:pt x="331" y="361"/>
                    </a:lnTo>
                    <a:lnTo>
                      <a:pt x="333" y="363"/>
                    </a:lnTo>
                    <a:lnTo>
                      <a:pt x="337" y="363"/>
                    </a:lnTo>
                    <a:lnTo>
                      <a:pt x="342" y="360"/>
                    </a:lnTo>
                    <a:lnTo>
                      <a:pt x="346" y="360"/>
                    </a:lnTo>
                    <a:lnTo>
                      <a:pt x="350" y="358"/>
                    </a:lnTo>
                    <a:lnTo>
                      <a:pt x="357" y="357"/>
                    </a:lnTo>
                    <a:lnTo>
                      <a:pt x="361" y="356"/>
                    </a:lnTo>
                    <a:lnTo>
                      <a:pt x="364" y="351"/>
                    </a:lnTo>
                    <a:lnTo>
                      <a:pt x="367" y="349"/>
                    </a:lnTo>
                    <a:lnTo>
                      <a:pt x="372" y="346"/>
                    </a:lnTo>
                    <a:lnTo>
                      <a:pt x="375" y="350"/>
                    </a:lnTo>
                    <a:lnTo>
                      <a:pt x="375" y="355"/>
                    </a:lnTo>
                    <a:lnTo>
                      <a:pt x="376" y="358"/>
                    </a:lnTo>
                    <a:lnTo>
                      <a:pt x="378" y="362"/>
                    </a:lnTo>
                    <a:lnTo>
                      <a:pt x="379" y="366"/>
                    </a:lnTo>
                    <a:lnTo>
                      <a:pt x="384" y="366"/>
                    </a:lnTo>
                    <a:lnTo>
                      <a:pt x="388" y="366"/>
                    </a:lnTo>
                    <a:lnTo>
                      <a:pt x="393" y="365"/>
                    </a:lnTo>
                    <a:lnTo>
                      <a:pt x="397" y="365"/>
                    </a:lnTo>
                    <a:lnTo>
                      <a:pt x="402" y="367"/>
                    </a:lnTo>
                    <a:lnTo>
                      <a:pt x="405" y="367"/>
                    </a:lnTo>
                    <a:lnTo>
                      <a:pt x="409" y="366"/>
                    </a:lnTo>
                    <a:lnTo>
                      <a:pt x="414" y="365"/>
                    </a:lnTo>
                    <a:lnTo>
                      <a:pt x="421" y="365"/>
                    </a:lnTo>
                    <a:lnTo>
                      <a:pt x="425" y="364"/>
                    </a:lnTo>
                    <a:lnTo>
                      <a:pt x="430" y="363"/>
                    </a:lnTo>
                    <a:lnTo>
                      <a:pt x="434" y="365"/>
                    </a:lnTo>
                    <a:lnTo>
                      <a:pt x="439" y="364"/>
                    </a:lnTo>
                    <a:lnTo>
                      <a:pt x="443" y="362"/>
                    </a:lnTo>
                    <a:lnTo>
                      <a:pt x="442" y="358"/>
                    </a:lnTo>
                    <a:lnTo>
                      <a:pt x="442" y="354"/>
                    </a:lnTo>
                    <a:lnTo>
                      <a:pt x="446" y="350"/>
                    </a:lnTo>
                    <a:lnTo>
                      <a:pt x="450" y="350"/>
                    </a:lnTo>
                    <a:lnTo>
                      <a:pt x="455" y="345"/>
                    </a:lnTo>
                    <a:lnTo>
                      <a:pt x="452" y="339"/>
                    </a:lnTo>
                    <a:lnTo>
                      <a:pt x="448" y="336"/>
                    </a:lnTo>
                    <a:lnTo>
                      <a:pt x="444" y="334"/>
                    </a:lnTo>
                    <a:lnTo>
                      <a:pt x="444" y="330"/>
                    </a:lnTo>
                    <a:lnTo>
                      <a:pt x="438" y="329"/>
                    </a:lnTo>
                    <a:lnTo>
                      <a:pt x="434" y="329"/>
                    </a:lnTo>
                    <a:lnTo>
                      <a:pt x="432" y="325"/>
                    </a:lnTo>
                    <a:lnTo>
                      <a:pt x="427" y="324"/>
                    </a:lnTo>
                    <a:lnTo>
                      <a:pt x="424" y="321"/>
                    </a:lnTo>
                    <a:lnTo>
                      <a:pt x="425" y="316"/>
                    </a:lnTo>
                    <a:lnTo>
                      <a:pt x="425" y="313"/>
                    </a:lnTo>
                    <a:lnTo>
                      <a:pt x="420" y="308"/>
                    </a:lnTo>
                    <a:lnTo>
                      <a:pt x="415" y="307"/>
                    </a:lnTo>
                    <a:lnTo>
                      <a:pt x="413" y="303"/>
                    </a:lnTo>
                    <a:lnTo>
                      <a:pt x="412" y="299"/>
                    </a:lnTo>
                    <a:lnTo>
                      <a:pt x="410" y="295"/>
                    </a:lnTo>
                    <a:lnTo>
                      <a:pt x="409" y="290"/>
                    </a:lnTo>
                    <a:lnTo>
                      <a:pt x="406" y="288"/>
                    </a:lnTo>
                    <a:lnTo>
                      <a:pt x="420" y="286"/>
                    </a:lnTo>
                    <a:lnTo>
                      <a:pt x="417" y="282"/>
                    </a:lnTo>
                    <a:lnTo>
                      <a:pt x="417" y="276"/>
                    </a:lnTo>
                    <a:lnTo>
                      <a:pt x="422" y="280"/>
                    </a:lnTo>
                    <a:lnTo>
                      <a:pt x="422" y="273"/>
                    </a:lnTo>
                    <a:lnTo>
                      <a:pt x="420" y="267"/>
                    </a:lnTo>
                    <a:lnTo>
                      <a:pt x="422" y="261"/>
                    </a:lnTo>
                    <a:lnTo>
                      <a:pt x="425" y="259"/>
                    </a:lnTo>
                    <a:lnTo>
                      <a:pt x="419" y="246"/>
                    </a:lnTo>
                    <a:lnTo>
                      <a:pt x="422" y="252"/>
                    </a:lnTo>
                    <a:lnTo>
                      <a:pt x="423" y="248"/>
                    </a:lnTo>
                    <a:lnTo>
                      <a:pt x="421" y="243"/>
                    </a:lnTo>
                    <a:lnTo>
                      <a:pt x="416" y="244"/>
                    </a:lnTo>
                    <a:lnTo>
                      <a:pt x="412" y="243"/>
                    </a:lnTo>
                    <a:lnTo>
                      <a:pt x="407" y="243"/>
                    </a:lnTo>
                    <a:lnTo>
                      <a:pt x="410" y="235"/>
                    </a:lnTo>
                    <a:lnTo>
                      <a:pt x="399" y="238"/>
                    </a:lnTo>
                    <a:lnTo>
                      <a:pt x="398" y="234"/>
                    </a:lnTo>
                    <a:lnTo>
                      <a:pt x="396" y="231"/>
                    </a:lnTo>
                    <a:lnTo>
                      <a:pt x="391" y="229"/>
                    </a:lnTo>
                    <a:lnTo>
                      <a:pt x="385" y="228"/>
                    </a:lnTo>
                    <a:lnTo>
                      <a:pt x="381" y="231"/>
                    </a:lnTo>
                    <a:lnTo>
                      <a:pt x="377" y="233"/>
                    </a:lnTo>
                    <a:lnTo>
                      <a:pt x="377" y="226"/>
                    </a:lnTo>
                    <a:lnTo>
                      <a:pt x="371" y="229"/>
                    </a:lnTo>
                    <a:lnTo>
                      <a:pt x="366" y="231"/>
                    </a:lnTo>
                    <a:lnTo>
                      <a:pt x="361" y="236"/>
                    </a:lnTo>
                    <a:lnTo>
                      <a:pt x="361" y="233"/>
                    </a:lnTo>
                    <a:lnTo>
                      <a:pt x="357" y="234"/>
                    </a:lnTo>
                    <a:lnTo>
                      <a:pt x="352" y="235"/>
                    </a:lnTo>
                    <a:lnTo>
                      <a:pt x="350" y="238"/>
                    </a:lnTo>
                    <a:lnTo>
                      <a:pt x="346" y="241"/>
                    </a:lnTo>
                    <a:lnTo>
                      <a:pt x="346" y="245"/>
                    </a:lnTo>
                    <a:lnTo>
                      <a:pt x="343" y="248"/>
                    </a:lnTo>
                    <a:lnTo>
                      <a:pt x="340" y="252"/>
                    </a:lnTo>
                    <a:lnTo>
                      <a:pt x="337" y="255"/>
                    </a:lnTo>
                    <a:lnTo>
                      <a:pt x="332" y="257"/>
                    </a:lnTo>
                    <a:lnTo>
                      <a:pt x="328" y="258"/>
                    </a:lnTo>
                    <a:lnTo>
                      <a:pt x="323" y="262"/>
                    </a:lnTo>
                    <a:lnTo>
                      <a:pt x="320" y="264"/>
                    </a:lnTo>
                    <a:lnTo>
                      <a:pt x="317" y="259"/>
                    </a:lnTo>
                    <a:lnTo>
                      <a:pt x="312" y="258"/>
                    </a:lnTo>
                    <a:lnTo>
                      <a:pt x="309" y="255"/>
                    </a:lnTo>
                    <a:lnTo>
                      <a:pt x="304" y="253"/>
                    </a:lnTo>
                    <a:lnTo>
                      <a:pt x="300" y="252"/>
                    </a:lnTo>
                    <a:lnTo>
                      <a:pt x="297" y="248"/>
                    </a:lnTo>
                    <a:lnTo>
                      <a:pt x="292" y="249"/>
                    </a:lnTo>
                    <a:lnTo>
                      <a:pt x="288" y="249"/>
                    </a:lnTo>
                    <a:lnTo>
                      <a:pt x="284" y="252"/>
                    </a:lnTo>
                    <a:lnTo>
                      <a:pt x="281" y="252"/>
                    </a:lnTo>
                    <a:lnTo>
                      <a:pt x="276" y="253"/>
                    </a:lnTo>
                    <a:lnTo>
                      <a:pt x="272" y="251"/>
                    </a:lnTo>
                    <a:lnTo>
                      <a:pt x="266" y="249"/>
                    </a:lnTo>
                    <a:lnTo>
                      <a:pt x="262" y="250"/>
                    </a:lnTo>
                    <a:lnTo>
                      <a:pt x="258" y="253"/>
                    </a:lnTo>
                    <a:lnTo>
                      <a:pt x="255" y="250"/>
                    </a:lnTo>
                    <a:lnTo>
                      <a:pt x="255" y="246"/>
                    </a:lnTo>
                    <a:lnTo>
                      <a:pt x="254" y="241"/>
                    </a:lnTo>
                    <a:lnTo>
                      <a:pt x="249" y="241"/>
                    </a:lnTo>
                    <a:lnTo>
                      <a:pt x="247" y="239"/>
                    </a:lnTo>
                    <a:lnTo>
                      <a:pt x="248" y="233"/>
                    </a:lnTo>
                    <a:lnTo>
                      <a:pt x="250" y="229"/>
                    </a:lnTo>
                    <a:lnTo>
                      <a:pt x="254" y="227"/>
                    </a:lnTo>
                    <a:lnTo>
                      <a:pt x="253" y="221"/>
                    </a:lnTo>
                    <a:lnTo>
                      <a:pt x="253" y="216"/>
                    </a:lnTo>
                    <a:lnTo>
                      <a:pt x="252" y="213"/>
                    </a:lnTo>
                    <a:lnTo>
                      <a:pt x="252" y="209"/>
                    </a:lnTo>
                    <a:lnTo>
                      <a:pt x="247" y="206"/>
                    </a:lnTo>
                    <a:lnTo>
                      <a:pt x="242" y="207"/>
                    </a:lnTo>
                    <a:lnTo>
                      <a:pt x="240" y="204"/>
                    </a:lnTo>
                    <a:lnTo>
                      <a:pt x="241" y="199"/>
                    </a:lnTo>
                    <a:lnTo>
                      <a:pt x="246" y="198"/>
                    </a:lnTo>
                    <a:lnTo>
                      <a:pt x="250" y="198"/>
                    </a:lnTo>
                    <a:lnTo>
                      <a:pt x="255" y="195"/>
                    </a:lnTo>
                    <a:lnTo>
                      <a:pt x="259" y="193"/>
                    </a:lnTo>
                    <a:lnTo>
                      <a:pt x="258" y="190"/>
                    </a:lnTo>
                    <a:lnTo>
                      <a:pt x="258" y="185"/>
                    </a:lnTo>
                    <a:lnTo>
                      <a:pt x="257" y="180"/>
                    </a:lnTo>
                    <a:lnTo>
                      <a:pt x="256" y="177"/>
                    </a:lnTo>
                    <a:lnTo>
                      <a:pt x="256" y="173"/>
                    </a:lnTo>
                    <a:lnTo>
                      <a:pt x="252" y="170"/>
                    </a:lnTo>
                    <a:lnTo>
                      <a:pt x="247" y="171"/>
                    </a:lnTo>
                    <a:lnTo>
                      <a:pt x="243" y="172"/>
                    </a:lnTo>
                    <a:lnTo>
                      <a:pt x="238" y="175"/>
                    </a:lnTo>
                    <a:lnTo>
                      <a:pt x="234" y="176"/>
                    </a:lnTo>
                    <a:lnTo>
                      <a:pt x="230" y="169"/>
                    </a:lnTo>
                    <a:lnTo>
                      <a:pt x="228" y="166"/>
                    </a:lnTo>
                    <a:lnTo>
                      <a:pt x="229" y="161"/>
                    </a:lnTo>
                    <a:lnTo>
                      <a:pt x="228" y="156"/>
                    </a:lnTo>
                    <a:lnTo>
                      <a:pt x="226" y="154"/>
                    </a:lnTo>
                    <a:lnTo>
                      <a:pt x="226" y="150"/>
                    </a:lnTo>
                    <a:lnTo>
                      <a:pt x="230" y="146"/>
                    </a:lnTo>
                    <a:lnTo>
                      <a:pt x="232" y="143"/>
                    </a:lnTo>
                    <a:lnTo>
                      <a:pt x="231" y="138"/>
                    </a:lnTo>
                    <a:lnTo>
                      <a:pt x="226" y="135"/>
                    </a:lnTo>
                    <a:lnTo>
                      <a:pt x="225" y="131"/>
                    </a:lnTo>
                    <a:lnTo>
                      <a:pt x="227" y="124"/>
                    </a:lnTo>
                    <a:lnTo>
                      <a:pt x="229" y="120"/>
                    </a:lnTo>
                    <a:lnTo>
                      <a:pt x="226" y="116"/>
                    </a:lnTo>
                    <a:lnTo>
                      <a:pt x="221" y="117"/>
                    </a:lnTo>
                    <a:lnTo>
                      <a:pt x="218" y="112"/>
                    </a:lnTo>
                    <a:lnTo>
                      <a:pt x="216" y="110"/>
                    </a:lnTo>
                    <a:lnTo>
                      <a:pt x="212" y="105"/>
                    </a:lnTo>
                    <a:lnTo>
                      <a:pt x="212" y="101"/>
                    </a:lnTo>
                    <a:lnTo>
                      <a:pt x="212" y="98"/>
                    </a:lnTo>
                    <a:lnTo>
                      <a:pt x="207" y="96"/>
                    </a:lnTo>
                    <a:lnTo>
                      <a:pt x="202" y="92"/>
                    </a:lnTo>
                    <a:lnTo>
                      <a:pt x="198" y="93"/>
                    </a:lnTo>
                    <a:lnTo>
                      <a:pt x="195" y="88"/>
                    </a:lnTo>
                    <a:lnTo>
                      <a:pt x="197" y="85"/>
                    </a:lnTo>
                    <a:lnTo>
                      <a:pt x="196" y="80"/>
                    </a:lnTo>
                    <a:lnTo>
                      <a:pt x="197" y="76"/>
                    </a:lnTo>
                    <a:lnTo>
                      <a:pt x="197" y="70"/>
                    </a:lnTo>
                    <a:lnTo>
                      <a:pt x="194" y="66"/>
                    </a:lnTo>
                    <a:lnTo>
                      <a:pt x="194" y="62"/>
                    </a:lnTo>
                    <a:lnTo>
                      <a:pt x="193" y="58"/>
                    </a:lnTo>
                    <a:lnTo>
                      <a:pt x="192" y="53"/>
                    </a:lnTo>
                    <a:lnTo>
                      <a:pt x="192" y="50"/>
                    </a:lnTo>
                    <a:lnTo>
                      <a:pt x="196" y="48"/>
                    </a:lnTo>
                    <a:lnTo>
                      <a:pt x="198" y="42"/>
                    </a:lnTo>
                    <a:lnTo>
                      <a:pt x="198" y="39"/>
                    </a:lnTo>
                    <a:lnTo>
                      <a:pt x="197" y="34"/>
                    </a:lnTo>
                    <a:lnTo>
                      <a:pt x="199" y="34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5" name="Freeform 70"/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2435620" y="3717598"/>
                <a:ext cx="390602" cy="412105"/>
              </a:xfrm>
              <a:custGeom>
                <a:avLst/>
                <a:gdLst>
                  <a:gd name="T0" fmla="*/ 2147483647 w 314"/>
                  <a:gd name="T1" fmla="*/ 2147483647 h 348"/>
                  <a:gd name="T2" fmla="*/ 2147483647 w 314"/>
                  <a:gd name="T3" fmla="*/ 2147483647 h 348"/>
                  <a:gd name="T4" fmla="*/ 2147483647 w 314"/>
                  <a:gd name="T5" fmla="*/ 2147483647 h 348"/>
                  <a:gd name="T6" fmla="*/ 2147483647 w 314"/>
                  <a:gd name="T7" fmla="*/ 2147483647 h 348"/>
                  <a:gd name="T8" fmla="*/ 2147483647 w 314"/>
                  <a:gd name="T9" fmla="*/ 2147483647 h 348"/>
                  <a:gd name="T10" fmla="*/ 2147483647 w 314"/>
                  <a:gd name="T11" fmla="*/ 2147483647 h 348"/>
                  <a:gd name="T12" fmla="*/ 2147483647 w 314"/>
                  <a:gd name="T13" fmla="*/ 2147483647 h 348"/>
                  <a:gd name="T14" fmla="*/ 2147483647 w 314"/>
                  <a:gd name="T15" fmla="*/ 2147483647 h 348"/>
                  <a:gd name="T16" fmla="*/ 2147483647 w 314"/>
                  <a:gd name="T17" fmla="*/ 2147483647 h 348"/>
                  <a:gd name="T18" fmla="*/ 2147483647 w 314"/>
                  <a:gd name="T19" fmla="*/ 2147483647 h 348"/>
                  <a:gd name="T20" fmla="*/ 2147483647 w 314"/>
                  <a:gd name="T21" fmla="*/ 2147483647 h 348"/>
                  <a:gd name="T22" fmla="*/ 2147483647 w 314"/>
                  <a:gd name="T23" fmla="*/ 2147483647 h 348"/>
                  <a:gd name="T24" fmla="*/ 2147483647 w 314"/>
                  <a:gd name="T25" fmla="*/ 2147483647 h 348"/>
                  <a:gd name="T26" fmla="*/ 2147483647 w 314"/>
                  <a:gd name="T27" fmla="*/ 2147483647 h 348"/>
                  <a:gd name="T28" fmla="*/ 2147483647 w 314"/>
                  <a:gd name="T29" fmla="*/ 2147483647 h 348"/>
                  <a:gd name="T30" fmla="*/ 2147483647 w 314"/>
                  <a:gd name="T31" fmla="*/ 2147483647 h 348"/>
                  <a:gd name="T32" fmla="*/ 2147483647 w 314"/>
                  <a:gd name="T33" fmla="*/ 2147483647 h 348"/>
                  <a:gd name="T34" fmla="*/ 2147483647 w 314"/>
                  <a:gd name="T35" fmla="*/ 2147483647 h 348"/>
                  <a:gd name="T36" fmla="*/ 2147483647 w 314"/>
                  <a:gd name="T37" fmla="*/ 2147483647 h 348"/>
                  <a:gd name="T38" fmla="*/ 2147483647 w 314"/>
                  <a:gd name="T39" fmla="*/ 2147483647 h 348"/>
                  <a:gd name="T40" fmla="*/ 2147483647 w 314"/>
                  <a:gd name="T41" fmla="*/ 2147483647 h 348"/>
                  <a:gd name="T42" fmla="*/ 2147483647 w 314"/>
                  <a:gd name="T43" fmla="*/ 2147483647 h 348"/>
                  <a:gd name="T44" fmla="*/ 2147483647 w 314"/>
                  <a:gd name="T45" fmla="*/ 2147483647 h 348"/>
                  <a:gd name="T46" fmla="*/ 2147483647 w 314"/>
                  <a:gd name="T47" fmla="*/ 2147483647 h 348"/>
                  <a:gd name="T48" fmla="*/ 2147483647 w 314"/>
                  <a:gd name="T49" fmla="*/ 2147483647 h 348"/>
                  <a:gd name="T50" fmla="*/ 2147483647 w 314"/>
                  <a:gd name="T51" fmla="*/ 2147483647 h 348"/>
                  <a:gd name="T52" fmla="*/ 2147483647 w 314"/>
                  <a:gd name="T53" fmla="*/ 2147483647 h 348"/>
                  <a:gd name="T54" fmla="*/ 2147483647 w 314"/>
                  <a:gd name="T55" fmla="*/ 2147483647 h 348"/>
                  <a:gd name="T56" fmla="*/ 2147483647 w 314"/>
                  <a:gd name="T57" fmla="*/ 2147483647 h 348"/>
                  <a:gd name="T58" fmla="*/ 2147483647 w 314"/>
                  <a:gd name="T59" fmla="*/ 2147483647 h 348"/>
                  <a:gd name="T60" fmla="*/ 2147483647 w 314"/>
                  <a:gd name="T61" fmla="*/ 2147483647 h 348"/>
                  <a:gd name="T62" fmla="*/ 2147483647 w 314"/>
                  <a:gd name="T63" fmla="*/ 2147483647 h 348"/>
                  <a:gd name="T64" fmla="*/ 2147483647 w 314"/>
                  <a:gd name="T65" fmla="*/ 2147483647 h 348"/>
                  <a:gd name="T66" fmla="*/ 2147483647 w 314"/>
                  <a:gd name="T67" fmla="*/ 2147483647 h 348"/>
                  <a:gd name="T68" fmla="*/ 2147483647 w 314"/>
                  <a:gd name="T69" fmla="*/ 2147483647 h 348"/>
                  <a:gd name="T70" fmla="*/ 2147483647 w 314"/>
                  <a:gd name="T71" fmla="*/ 2147483647 h 348"/>
                  <a:gd name="T72" fmla="*/ 2147483647 w 314"/>
                  <a:gd name="T73" fmla="*/ 2147483647 h 348"/>
                  <a:gd name="T74" fmla="*/ 2147483647 w 314"/>
                  <a:gd name="T75" fmla="*/ 2147483647 h 348"/>
                  <a:gd name="T76" fmla="*/ 2147483647 w 314"/>
                  <a:gd name="T77" fmla="*/ 2147483647 h 348"/>
                  <a:gd name="T78" fmla="*/ 2147483647 w 314"/>
                  <a:gd name="T79" fmla="*/ 2147483647 h 348"/>
                  <a:gd name="T80" fmla="*/ 2147483647 w 314"/>
                  <a:gd name="T81" fmla="*/ 2147483647 h 348"/>
                  <a:gd name="T82" fmla="*/ 2147483647 w 314"/>
                  <a:gd name="T83" fmla="*/ 2147483647 h 348"/>
                  <a:gd name="T84" fmla="*/ 2147483647 w 314"/>
                  <a:gd name="T85" fmla="*/ 2147483647 h 348"/>
                  <a:gd name="T86" fmla="*/ 2147483647 w 314"/>
                  <a:gd name="T87" fmla="*/ 2147483647 h 348"/>
                  <a:gd name="T88" fmla="*/ 2147483647 w 314"/>
                  <a:gd name="T89" fmla="*/ 2147483647 h 348"/>
                  <a:gd name="T90" fmla="*/ 2147483647 w 314"/>
                  <a:gd name="T91" fmla="*/ 2147483647 h 348"/>
                  <a:gd name="T92" fmla="*/ 2147483647 w 314"/>
                  <a:gd name="T93" fmla="*/ 2147483647 h 348"/>
                  <a:gd name="T94" fmla="*/ 2147483647 w 314"/>
                  <a:gd name="T95" fmla="*/ 2147483647 h 348"/>
                  <a:gd name="T96" fmla="*/ 2147483647 w 314"/>
                  <a:gd name="T97" fmla="*/ 2147483647 h 348"/>
                  <a:gd name="T98" fmla="*/ 2147483647 w 314"/>
                  <a:gd name="T99" fmla="*/ 2147483647 h 348"/>
                  <a:gd name="T100" fmla="*/ 2147483647 w 314"/>
                  <a:gd name="T101" fmla="*/ 2147483647 h 348"/>
                  <a:gd name="T102" fmla="*/ 2147483647 w 314"/>
                  <a:gd name="T103" fmla="*/ 2147483647 h 348"/>
                  <a:gd name="T104" fmla="*/ 2147483647 w 314"/>
                  <a:gd name="T105" fmla="*/ 2147483647 h 348"/>
                  <a:gd name="T106" fmla="*/ 2147483647 w 314"/>
                  <a:gd name="T107" fmla="*/ 2147483647 h 34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314"/>
                  <a:gd name="T163" fmla="*/ 0 h 348"/>
                  <a:gd name="T164" fmla="*/ 314 w 314"/>
                  <a:gd name="T165" fmla="*/ 348 h 348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314" h="348">
                    <a:moveTo>
                      <a:pt x="247" y="49"/>
                    </a:moveTo>
                    <a:lnTo>
                      <a:pt x="242" y="50"/>
                    </a:lnTo>
                    <a:lnTo>
                      <a:pt x="236" y="51"/>
                    </a:lnTo>
                    <a:lnTo>
                      <a:pt x="231" y="51"/>
                    </a:lnTo>
                    <a:lnTo>
                      <a:pt x="227" y="50"/>
                    </a:lnTo>
                    <a:lnTo>
                      <a:pt x="222" y="50"/>
                    </a:lnTo>
                    <a:lnTo>
                      <a:pt x="219" y="46"/>
                    </a:lnTo>
                    <a:lnTo>
                      <a:pt x="217" y="43"/>
                    </a:lnTo>
                    <a:lnTo>
                      <a:pt x="216" y="38"/>
                    </a:lnTo>
                    <a:lnTo>
                      <a:pt x="216" y="34"/>
                    </a:lnTo>
                    <a:lnTo>
                      <a:pt x="211" y="34"/>
                    </a:lnTo>
                    <a:lnTo>
                      <a:pt x="206" y="31"/>
                    </a:lnTo>
                    <a:lnTo>
                      <a:pt x="201" y="30"/>
                    </a:lnTo>
                    <a:lnTo>
                      <a:pt x="196" y="27"/>
                    </a:lnTo>
                    <a:lnTo>
                      <a:pt x="193" y="23"/>
                    </a:lnTo>
                    <a:lnTo>
                      <a:pt x="190" y="19"/>
                    </a:lnTo>
                    <a:lnTo>
                      <a:pt x="186" y="18"/>
                    </a:lnTo>
                    <a:lnTo>
                      <a:pt x="181" y="16"/>
                    </a:lnTo>
                    <a:lnTo>
                      <a:pt x="177" y="16"/>
                    </a:lnTo>
                    <a:lnTo>
                      <a:pt x="172" y="17"/>
                    </a:lnTo>
                    <a:lnTo>
                      <a:pt x="167" y="18"/>
                    </a:lnTo>
                    <a:lnTo>
                      <a:pt x="163" y="16"/>
                    </a:lnTo>
                    <a:lnTo>
                      <a:pt x="158" y="16"/>
                    </a:lnTo>
                    <a:lnTo>
                      <a:pt x="155" y="11"/>
                    </a:lnTo>
                    <a:lnTo>
                      <a:pt x="154" y="7"/>
                    </a:lnTo>
                    <a:lnTo>
                      <a:pt x="154" y="4"/>
                    </a:lnTo>
                    <a:lnTo>
                      <a:pt x="150" y="2"/>
                    </a:lnTo>
                    <a:lnTo>
                      <a:pt x="145" y="0"/>
                    </a:lnTo>
                    <a:lnTo>
                      <a:pt x="141" y="1"/>
                    </a:lnTo>
                    <a:lnTo>
                      <a:pt x="137" y="6"/>
                    </a:lnTo>
                    <a:lnTo>
                      <a:pt x="133" y="7"/>
                    </a:lnTo>
                    <a:lnTo>
                      <a:pt x="126" y="8"/>
                    </a:lnTo>
                    <a:lnTo>
                      <a:pt x="121" y="9"/>
                    </a:lnTo>
                    <a:lnTo>
                      <a:pt x="117" y="9"/>
                    </a:lnTo>
                    <a:lnTo>
                      <a:pt x="112" y="10"/>
                    </a:lnTo>
                    <a:lnTo>
                      <a:pt x="109" y="10"/>
                    </a:lnTo>
                    <a:lnTo>
                      <a:pt x="104" y="11"/>
                    </a:lnTo>
                    <a:lnTo>
                      <a:pt x="100" y="11"/>
                    </a:lnTo>
                    <a:lnTo>
                      <a:pt x="94" y="9"/>
                    </a:lnTo>
                    <a:lnTo>
                      <a:pt x="90" y="10"/>
                    </a:lnTo>
                    <a:lnTo>
                      <a:pt x="85" y="10"/>
                    </a:lnTo>
                    <a:lnTo>
                      <a:pt x="82" y="14"/>
                    </a:lnTo>
                    <a:lnTo>
                      <a:pt x="82" y="17"/>
                    </a:lnTo>
                    <a:lnTo>
                      <a:pt x="83" y="21"/>
                    </a:lnTo>
                    <a:lnTo>
                      <a:pt x="87" y="25"/>
                    </a:lnTo>
                    <a:lnTo>
                      <a:pt x="91" y="28"/>
                    </a:lnTo>
                    <a:lnTo>
                      <a:pt x="95" y="27"/>
                    </a:lnTo>
                    <a:lnTo>
                      <a:pt x="95" y="32"/>
                    </a:lnTo>
                    <a:lnTo>
                      <a:pt x="98" y="36"/>
                    </a:lnTo>
                    <a:lnTo>
                      <a:pt x="94" y="37"/>
                    </a:lnTo>
                    <a:lnTo>
                      <a:pt x="89" y="41"/>
                    </a:lnTo>
                    <a:lnTo>
                      <a:pt x="86" y="44"/>
                    </a:lnTo>
                    <a:lnTo>
                      <a:pt x="81" y="46"/>
                    </a:lnTo>
                    <a:lnTo>
                      <a:pt x="77" y="47"/>
                    </a:lnTo>
                    <a:lnTo>
                      <a:pt x="72" y="47"/>
                    </a:lnTo>
                    <a:lnTo>
                      <a:pt x="65" y="50"/>
                    </a:lnTo>
                    <a:lnTo>
                      <a:pt x="62" y="51"/>
                    </a:lnTo>
                    <a:lnTo>
                      <a:pt x="55" y="52"/>
                    </a:lnTo>
                    <a:lnTo>
                      <a:pt x="51" y="52"/>
                    </a:lnTo>
                    <a:lnTo>
                      <a:pt x="46" y="53"/>
                    </a:lnTo>
                    <a:lnTo>
                      <a:pt x="42" y="57"/>
                    </a:lnTo>
                    <a:lnTo>
                      <a:pt x="38" y="58"/>
                    </a:lnTo>
                    <a:lnTo>
                      <a:pt x="37" y="62"/>
                    </a:lnTo>
                    <a:lnTo>
                      <a:pt x="37" y="67"/>
                    </a:lnTo>
                    <a:lnTo>
                      <a:pt x="40" y="70"/>
                    </a:lnTo>
                    <a:lnTo>
                      <a:pt x="42" y="75"/>
                    </a:lnTo>
                    <a:lnTo>
                      <a:pt x="45" y="78"/>
                    </a:lnTo>
                    <a:lnTo>
                      <a:pt x="46" y="82"/>
                    </a:lnTo>
                    <a:lnTo>
                      <a:pt x="42" y="87"/>
                    </a:lnTo>
                    <a:lnTo>
                      <a:pt x="38" y="89"/>
                    </a:lnTo>
                    <a:lnTo>
                      <a:pt x="34" y="93"/>
                    </a:lnTo>
                    <a:lnTo>
                      <a:pt x="30" y="95"/>
                    </a:lnTo>
                    <a:lnTo>
                      <a:pt x="26" y="99"/>
                    </a:lnTo>
                    <a:lnTo>
                      <a:pt x="24" y="104"/>
                    </a:lnTo>
                    <a:lnTo>
                      <a:pt x="25" y="108"/>
                    </a:lnTo>
                    <a:lnTo>
                      <a:pt x="23" y="113"/>
                    </a:lnTo>
                    <a:lnTo>
                      <a:pt x="19" y="115"/>
                    </a:lnTo>
                    <a:lnTo>
                      <a:pt x="12" y="118"/>
                    </a:lnTo>
                    <a:lnTo>
                      <a:pt x="9" y="124"/>
                    </a:lnTo>
                    <a:lnTo>
                      <a:pt x="7" y="129"/>
                    </a:lnTo>
                    <a:lnTo>
                      <a:pt x="8" y="134"/>
                    </a:lnTo>
                    <a:lnTo>
                      <a:pt x="6" y="137"/>
                    </a:lnTo>
                    <a:lnTo>
                      <a:pt x="4" y="142"/>
                    </a:lnTo>
                    <a:lnTo>
                      <a:pt x="3" y="147"/>
                    </a:lnTo>
                    <a:lnTo>
                      <a:pt x="1" y="151"/>
                    </a:lnTo>
                    <a:lnTo>
                      <a:pt x="2" y="155"/>
                    </a:lnTo>
                    <a:lnTo>
                      <a:pt x="4" y="159"/>
                    </a:lnTo>
                    <a:lnTo>
                      <a:pt x="5" y="162"/>
                    </a:lnTo>
                    <a:lnTo>
                      <a:pt x="4" y="168"/>
                    </a:lnTo>
                    <a:lnTo>
                      <a:pt x="1" y="172"/>
                    </a:lnTo>
                    <a:lnTo>
                      <a:pt x="2" y="178"/>
                    </a:lnTo>
                    <a:lnTo>
                      <a:pt x="0" y="182"/>
                    </a:lnTo>
                    <a:lnTo>
                      <a:pt x="1" y="188"/>
                    </a:lnTo>
                    <a:lnTo>
                      <a:pt x="4" y="192"/>
                    </a:lnTo>
                    <a:lnTo>
                      <a:pt x="11" y="194"/>
                    </a:lnTo>
                    <a:lnTo>
                      <a:pt x="16" y="195"/>
                    </a:lnTo>
                    <a:lnTo>
                      <a:pt x="19" y="198"/>
                    </a:lnTo>
                    <a:lnTo>
                      <a:pt x="23" y="200"/>
                    </a:lnTo>
                    <a:lnTo>
                      <a:pt x="28" y="202"/>
                    </a:lnTo>
                    <a:lnTo>
                      <a:pt x="36" y="205"/>
                    </a:lnTo>
                    <a:lnTo>
                      <a:pt x="40" y="207"/>
                    </a:lnTo>
                    <a:lnTo>
                      <a:pt x="41" y="210"/>
                    </a:lnTo>
                    <a:lnTo>
                      <a:pt x="39" y="215"/>
                    </a:lnTo>
                    <a:lnTo>
                      <a:pt x="38" y="220"/>
                    </a:lnTo>
                    <a:lnTo>
                      <a:pt x="35" y="223"/>
                    </a:lnTo>
                    <a:lnTo>
                      <a:pt x="34" y="228"/>
                    </a:lnTo>
                    <a:lnTo>
                      <a:pt x="32" y="232"/>
                    </a:lnTo>
                    <a:lnTo>
                      <a:pt x="33" y="236"/>
                    </a:lnTo>
                    <a:lnTo>
                      <a:pt x="34" y="240"/>
                    </a:lnTo>
                    <a:lnTo>
                      <a:pt x="36" y="245"/>
                    </a:lnTo>
                    <a:lnTo>
                      <a:pt x="39" y="250"/>
                    </a:lnTo>
                    <a:lnTo>
                      <a:pt x="42" y="254"/>
                    </a:lnTo>
                    <a:lnTo>
                      <a:pt x="43" y="260"/>
                    </a:lnTo>
                    <a:lnTo>
                      <a:pt x="46" y="268"/>
                    </a:lnTo>
                    <a:lnTo>
                      <a:pt x="49" y="272"/>
                    </a:lnTo>
                    <a:lnTo>
                      <a:pt x="50" y="278"/>
                    </a:lnTo>
                    <a:lnTo>
                      <a:pt x="52" y="281"/>
                    </a:lnTo>
                    <a:lnTo>
                      <a:pt x="53" y="286"/>
                    </a:lnTo>
                    <a:lnTo>
                      <a:pt x="55" y="281"/>
                    </a:lnTo>
                    <a:lnTo>
                      <a:pt x="57" y="278"/>
                    </a:lnTo>
                    <a:lnTo>
                      <a:pt x="55" y="279"/>
                    </a:lnTo>
                    <a:lnTo>
                      <a:pt x="55" y="283"/>
                    </a:lnTo>
                    <a:lnTo>
                      <a:pt x="59" y="285"/>
                    </a:lnTo>
                    <a:lnTo>
                      <a:pt x="64" y="280"/>
                    </a:lnTo>
                    <a:lnTo>
                      <a:pt x="65" y="285"/>
                    </a:lnTo>
                    <a:lnTo>
                      <a:pt x="62" y="289"/>
                    </a:lnTo>
                    <a:lnTo>
                      <a:pt x="58" y="290"/>
                    </a:lnTo>
                    <a:lnTo>
                      <a:pt x="53" y="291"/>
                    </a:lnTo>
                    <a:lnTo>
                      <a:pt x="49" y="291"/>
                    </a:lnTo>
                    <a:lnTo>
                      <a:pt x="44" y="291"/>
                    </a:lnTo>
                    <a:lnTo>
                      <a:pt x="43" y="296"/>
                    </a:lnTo>
                    <a:lnTo>
                      <a:pt x="48" y="297"/>
                    </a:lnTo>
                    <a:lnTo>
                      <a:pt x="52" y="298"/>
                    </a:lnTo>
                    <a:lnTo>
                      <a:pt x="57" y="298"/>
                    </a:lnTo>
                    <a:lnTo>
                      <a:pt x="61" y="297"/>
                    </a:lnTo>
                    <a:lnTo>
                      <a:pt x="64" y="303"/>
                    </a:lnTo>
                    <a:lnTo>
                      <a:pt x="63" y="307"/>
                    </a:lnTo>
                    <a:lnTo>
                      <a:pt x="61" y="312"/>
                    </a:lnTo>
                    <a:lnTo>
                      <a:pt x="57" y="316"/>
                    </a:lnTo>
                    <a:lnTo>
                      <a:pt x="56" y="321"/>
                    </a:lnTo>
                    <a:lnTo>
                      <a:pt x="52" y="324"/>
                    </a:lnTo>
                    <a:lnTo>
                      <a:pt x="54" y="327"/>
                    </a:lnTo>
                    <a:lnTo>
                      <a:pt x="62" y="330"/>
                    </a:lnTo>
                    <a:lnTo>
                      <a:pt x="66" y="334"/>
                    </a:lnTo>
                    <a:lnTo>
                      <a:pt x="71" y="333"/>
                    </a:lnTo>
                    <a:lnTo>
                      <a:pt x="72" y="338"/>
                    </a:lnTo>
                    <a:lnTo>
                      <a:pt x="76" y="338"/>
                    </a:lnTo>
                    <a:lnTo>
                      <a:pt x="77" y="340"/>
                    </a:lnTo>
                    <a:lnTo>
                      <a:pt x="82" y="340"/>
                    </a:lnTo>
                    <a:lnTo>
                      <a:pt x="86" y="339"/>
                    </a:lnTo>
                    <a:lnTo>
                      <a:pt x="91" y="340"/>
                    </a:lnTo>
                    <a:lnTo>
                      <a:pt x="95" y="340"/>
                    </a:lnTo>
                    <a:lnTo>
                      <a:pt x="100" y="339"/>
                    </a:lnTo>
                    <a:lnTo>
                      <a:pt x="104" y="339"/>
                    </a:lnTo>
                    <a:lnTo>
                      <a:pt x="112" y="343"/>
                    </a:lnTo>
                    <a:lnTo>
                      <a:pt x="117" y="342"/>
                    </a:lnTo>
                    <a:lnTo>
                      <a:pt x="121" y="345"/>
                    </a:lnTo>
                    <a:lnTo>
                      <a:pt x="127" y="347"/>
                    </a:lnTo>
                    <a:lnTo>
                      <a:pt x="131" y="348"/>
                    </a:lnTo>
                    <a:lnTo>
                      <a:pt x="136" y="348"/>
                    </a:lnTo>
                    <a:lnTo>
                      <a:pt x="140" y="347"/>
                    </a:lnTo>
                    <a:lnTo>
                      <a:pt x="145" y="346"/>
                    </a:lnTo>
                    <a:lnTo>
                      <a:pt x="148" y="344"/>
                    </a:lnTo>
                    <a:lnTo>
                      <a:pt x="153" y="340"/>
                    </a:lnTo>
                    <a:lnTo>
                      <a:pt x="157" y="340"/>
                    </a:lnTo>
                    <a:lnTo>
                      <a:pt x="159" y="336"/>
                    </a:lnTo>
                    <a:lnTo>
                      <a:pt x="163" y="336"/>
                    </a:lnTo>
                    <a:lnTo>
                      <a:pt x="163" y="331"/>
                    </a:lnTo>
                    <a:lnTo>
                      <a:pt x="167" y="328"/>
                    </a:lnTo>
                    <a:lnTo>
                      <a:pt x="169" y="325"/>
                    </a:lnTo>
                    <a:lnTo>
                      <a:pt x="173" y="322"/>
                    </a:lnTo>
                    <a:lnTo>
                      <a:pt x="175" y="317"/>
                    </a:lnTo>
                    <a:lnTo>
                      <a:pt x="176" y="313"/>
                    </a:lnTo>
                    <a:lnTo>
                      <a:pt x="176" y="309"/>
                    </a:lnTo>
                    <a:lnTo>
                      <a:pt x="175" y="305"/>
                    </a:lnTo>
                    <a:lnTo>
                      <a:pt x="177" y="300"/>
                    </a:lnTo>
                    <a:lnTo>
                      <a:pt x="181" y="298"/>
                    </a:lnTo>
                    <a:lnTo>
                      <a:pt x="182" y="294"/>
                    </a:lnTo>
                    <a:lnTo>
                      <a:pt x="186" y="290"/>
                    </a:lnTo>
                    <a:lnTo>
                      <a:pt x="190" y="288"/>
                    </a:lnTo>
                    <a:lnTo>
                      <a:pt x="194" y="287"/>
                    </a:lnTo>
                    <a:lnTo>
                      <a:pt x="199" y="285"/>
                    </a:lnTo>
                    <a:lnTo>
                      <a:pt x="200" y="280"/>
                    </a:lnTo>
                    <a:lnTo>
                      <a:pt x="200" y="276"/>
                    </a:lnTo>
                    <a:lnTo>
                      <a:pt x="201" y="271"/>
                    </a:lnTo>
                    <a:lnTo>
                      <a:pt x="201" y="268"/>
                    </a:lnTo>
                    <a:lnTo>
                      <a:pt x="203" y="263"/>
                    </a:lnTo>
                    <a:lnTo>
                      <a:pt x="207" y="260"/>
                    </a:lnTo>
                    <a:lnTo>
                      <a:pt x="209" y="257"/>
                    </a:lnTo>
                    <a:lnTo>
                      <a:pt x="211" y="252"/>
                    </a:lnTo>
                    <a:lnTo>
                      <a:pt x="214" y="249"/>
                    </a:lnTo>
                    <a:lnTo>
                      <a:pt x="217" y="245"/>
                    </a:lnTo>
                    <a:lnTo>
                      <a:pt x="220" y="242"/>
                    </a:lnTo>
                    <a:lnTo>
                      <a:pt x="222" y="238"/>
                    </a:lnTo>
                    <a:lnTo>
                      <a:pt x="224" y="233"/>
                    </a:lnTo>
                    <a:lnTo>
                      <a:pt x="224" y="230"/>
                    </a:lnTo>
                    <a:lnTo>
                      <a:pt x="228" y="227"/>
                    </a:lnTo>
                    <a:lnTo>
                      <a:pt x="235" y="229"/>
                    </a:lnTo>
                    <a:lnTo>
                      <a:pt x="236" y="228"/>
                    </a:lnTo>
                    <a:lnTo>
                      <a:pt x="241" y="229"/>
                    </a:lnTo>
                    <a:lnTo>
                      <a:pt x="247" y="231"/>
                    </a:lnTo>
                    <a:lnTo>
                      <a:pt x="251" y="231"/>
                    </a:lnTo>
                    <a:lnTo>
                      <a:pt x="257" y="235"/>
                    </a:lnTo>
                    <a:lnTo>
                      <a:pt x="263" y="237"/>
                    </a:lnTo>
                    <a:lnTo>
                      <a:pt x="260" y="228"/>
                    </a:lnTo>
                    <a:lnTo>
                      <a:pt x="264" y="227"/>
                    </a:lnTo>
                    <a:lnTo>
                      <a:pt x="269" y="227"/>
                    </a:lnTo>
                    <a:lnTo>
                      <a:pt x="273" y="226"/>
                    </a:lnTo>
                    <a:lnTo>
                      <a:pt x="277" y="224"/>
                    </a:lnTo>
                    <a:lnTo>
                      <a:pt x="280" y="222"/>
                    </a:lnTo>
                    <a:lnTo>
                      <a:pt x="282" y="217"/>
                    </a:lnTo>
                    <a:lnTo>
                      <a:pt x="279" y="213"/>
                    </a:lnTo>
                    <a:lnTo>
                      <a:pt x="277" y="211"/>
                    </a:lnTo>
                    <a:lnTo>
                      <a:pt x="275" y="206"/>
                    </a:lnTo>
                    <a:lnTo>
                      <a:pt x="276" y="202"/>
                    </a:lnTo>
                    <a:lnTo>
                      <a:pt x="279" y="199"/>
                    </a:lnTo>
                    <a:lnTo>
                      <a:pt x="284" y="199"/>
                    </a:lnTo>
                    <a:lnTo>
                      <a:pt x="288" y="196"/>
                    </a:lnTo>
                    <a:lnTo>
                      <a:pt x="295" y="195"/>
                    </a:lnTo>
                    <a:lnTo>
                      <a:pt x="300" y="192"/>
                    </a:lnTo>
                    <a:lnTo>
                      <a:pt x="299" y="187"/>
                    </a:lnTo>
                    <a:lnTo>
                      <a:pt x="298" y="184"/>
                    </a:lnTo>
                    <a:lnTo>
                      <a:pt x="293" y="183"/>
                    </a:lnTo>
                    <a:lnTo>
                      <a:pt x="289" y="184"/>
                    </a:lnTo>
                    <a:lnTo>
                      <a:pt x="284" y="182"/>
                    </a:lnTo>
                    <a:lnTo>
                      <a:pt x="280" y="180"/>
                    </a:lnTo>
                    <a:lnTo>
                      <a:pt x="275" y="181"/>
                    </a:lnTo>
                    <a:lnTo>
                      <a:pt x="272" y="181"/>
                    </a:lnTo>
                    <a:lnTo>
                      <a:pt x="267" y="185"/>
                    </a:lnTo>
                    <a:lnTo>
                      <a:pt x="263" y="185"/>
                    </a:lnTo>
                    <a:lnTo>
                      <a:pt x="259" y="188"/>
                    </a:lnTo>
                    <a:lnTo>
                      <a:pt x="255" y="188"/>
                    </a:lnTo>
                    <a:lnTo>
                      <a:pt x="250" y="189"/>
                    </a:lnTo>
                    <a:lnTo>
                      <a:pt x="245" y="188"/>
                    </a:lnTo>
                    <a:lnTo>
                      <a:pt x="242" y="183"/>
                    </a:lnTo>
                    <a:lnTo>
                      <a:pt x="238" y="182"/>
                    </a:lnTo>
                    <a:lnTo>
                      <a:pt x="233" y="182"/>
                    </a:lnTo>
                    <a:lnTo>
                      <a:pt x="228" y="182"/>
                    </a:lnTo>
                    <a:lnTo>
                      <a:pt x="224" y="182"/>
                    </a:lnTo>
                    <a:lnTo>
                      <a:pt x="220" y="183"/>
                    </a:lnTo>
                    <a:lnTo>
                      <a:pt x="221" y="180"/>
                    </a:lnTo>
                    <a:lnTo>
                      <a:pt x="211" y="184"/>
                    </a:lnTo>
                    <a:lnTo>
                      <a:pt x="212" y="177"/>
                    </a:lnTo>
                    <a:lnTo>
                      <a:pt x="205" y="172"/>
                    </a:lnTo>
                    <a:lnTo>
                      <a:pt x="199" y="165"/>
                    </a:lnTo>
                    <a:lnTo>
                      <a:pt x="197" y="166"/>
                    </a:lnTo>
                    <a:lnTo>
                      <a:pt x="197" y="162"/>
                    </a:lnTo>
                    <a:lnTo>
                      <a:pt x="193" y="156"/>
                    </a:lnTo>
                    <a:lnTo>
                      <a:pt x="192" y="152"/>
                    </a:lnTo>
                    <a:lnTo>
                      <a:pt x="190" y="149"/>
                    </a:lnTo>
                    <a:lnTo>
                      <a:pt x="187" y="145"/>
                    </a:lnTo>
                    <a:lnTo>
                      <a:pt x="187" y="140"/>
                    </a:lnTo>
                    <a:lnTo>
                      <a:pt x="186" y="137"/>
                    </a:lnTo>
                    <a:lnTo>
                      <a:pt x="190" y="135"/>
                    </a:lnTo>
                    <a:lnTo>
                      <a:pt x="192" y="129"/>
                    </a:lnTo>
                    <a:lnTo>
                      <a:pt x="196" y="127"/>
                    </a:lnTo>
                    <a:lnTo>
                      <a:pt x="201" y="124"/>
                    </a:lnTo>
                    <a:lnTo>
                      <a:pt x="204" y="123"/>
                    </a:lnTo>
                    <a:lnTo>
                      <a:pt x="209" y="123"/>
                    </a:lnTo>
                    <a:lnTo>
                      <a:pt x="213" y="122"/>
                    </a:lnTo>
                    <a:lnTo>
                      <a:pt x="219" y="124"/>
                    </a:lnTo>
                    <a:lnTo>
                      <a:pt x="223" y="125"/>
                    </a:lnTo>
                    <a:lnTo>
                      <a:pt x="224" y="130"/>
                    </a:lnTo>
                    <a:lnTo>
                      <a:pt x="229" y="131"/>
                    </a:lnTo>
                    <a:lnTo>
                      <a:pt x="229" y="134"/>
                    </a:lnTo>
                    <a:lnTo>
                      <a:pt x="230" y="139"/>
                    </a:lnTo>
                    <a:lnTo>
                      <a:pt x="227" y="144"/>
                    </a:lnTo>
                    <a:lnTo>
                      <a:pt x="226" y="148"/>
                    </a:lnTo>
                    <a:lnTo>
                      <a:pt x="224" y="152"/>
                    </a:lnTo>
                    <a:lnTo>
                      <a:pt x="223" y="157"/>
                    </a:lnTo>
                    <a:lnTo>
                      <a:pt x="227" y="155"/>
                    </a:lnTo>
                    <a:lnTo>
                      <a:pt x="232" y="160"/>
                    </a:lnTo>
                    <a:lnTo>
                      <a:pt x="239" y="157"/>
                    </a:lnTo>
                    <a:lnTo>
                      <a:pt x="227" y="160"/>
                    </a:lnTo>
                    <a:lnTo>
                      <a:pt x="242" y="148"/>
                    </a:lnTo>
                    <a:lnTo>
                      <a:pt x="245" y="152"/>
                    </a:lnTo>
                    <a:lnTo>
                      <a:pt x="245" y="155"/>
                    </a:lnTo>
                    <a:lnTo>
                      <a:pt x="250" y="157"/>
                    </a:lnTo>
                    <a:lnTo>
                      <a:pt x="254" y="154"/>
                    </a:lnTo>
                    <a:lnTo>
                      <a:pt x="257" y="158"/>
                    </a:lnTo>
                    <a:lnTo>
                      <a:pt x="261" y="155"/>
                    </a:lnTo>
                    <a:lnTo>
                      <a:pt x="263" y="152"/>
                    </a:lnTo>
                    <a:lnTo>
                      <a:pt x="262" y="147"/>
                    </a:lnTo>
                    <a:lnTo>
                      <a:pt x="268" y="146"/>
                    </a:lnTo>
                    <a:lnTo>
                      <a:pt x="272" y="144"/>
                    </a:lnTo>
                    <a:lnTo>
                      <a:pt x="277" y="143"/>
                    </a:lnTo>
                    <a:lnTo>
                      <a:pt x="281" y="142"/>
                    </a:lnTo>
                    <a:lnTo>
                      <a:pt x="285" y="138"/>
                    </a:lnTo>
                    <a:lnTo>
                      <a:pt x="290" y="137"/>
                    </a:lnTo>
                    <a:lnTo>
                      <a:pt x="294" y="137"/>
                    </a:lnTo>
                    <a:lnTo>
                      <a:pt x="299" y="136"/>
                    </a:lnTo>
                    <a:lnTo>
                      <a:pt x="303" y="133"/>
                    </a:lnTo>
                    <a:lnTo>
                      <a:pt x="304" y="129"/>
                    </a:lnTo>
                    <a:lnTo>
                      <a:pt x="301" y="125"/>
                    </a:lnTo>
                    <a:lnTo>
                      <a:pt x="301" y="122"/>
                    </a:lnTo>
                    <a:lnTo>
                      <a:pt x="298" y="117"/>
                    </a:lnTo>
                    <a:lnTo>
                      <a:pt x="298" y="113"/>
                    </a:lnTo>
                    <a:lnTo>
                      <a:pt x="299" y="110"/>
                    </a:lnTo>
                    <a:lnTo>
                      <a:pt x="304" y="106"/>
                    </a:lnTo>
                    <a:lnTo>
                      <a:pt x="308" y="104"/>
                    </a:lnTo>
                    <a:lnTo>
                      <a:pt x="309" y="99"/>
                    </a:lnTo>
                    <a:lnTo>
                      <a:pt x="314" y="96"/>
                    </a:lnTo>
                    <a:lnTo>
                      <a:pt x="311" y="93"/>
                    </a:lnTo>
                    <a:lnTo>
                      <a:pt x="308" y="88"/>
                    </a:lnTo>
                    <a:lnTo>
                      <a:pt x="303" y="87"/>
                    </a:lnTo>
                    <a:lnTo>
                      <a:pt x="302" y="82"/>
                    </a:lnTo>
                    <a:lnTo>
                      <a:pt x="284" y="79"/>
                    </a:lnTo>
                    <a:lnTo>
                      <a:pt x="295" y="81"/>
                    </a:lnTo>
                    <a:lnTo>
                      <a:pt x="287" y="84"/>
                    </a:lnTo>
                    <a:lnTo>
                      <a:pt x="284" y="79"/>
                    </a:lnTo>
                    <a:lnTo>
                      <a:pt x="279" y="78"/>
                    </a:lnTo>
                    <a:lnTo>
                      <a:pt x="275" y="76"/>
                    </a:lnTo>
                    <a:lnTo>
                      <a:pt x="270" y="75"/>
                    </a:lnTo>
                    <a:lnTo>
                      <a:pt x="266" y="76"/>
                    </a:lnTo>
                    <a:lnTo>
                      <a:pt x="260" y="75"/>
                    </a:lnTo>
                    <a:lnTo>
                      <a:pt x="258" y="71"/>
                    </a:lnTo>
                    <a:lnTo>
                      <a:pt x="254" y="66"/>
                    </a:lnTo>
                    <a:lnTo>
                      <a:pt x="249" y="66"/>
                    </a:lnTo>
                    <a:lnTo>
                      <a:pt x="249" y="61"/>
                    </a:lnTo>
                    <a:lnTo>
                      <a:pt x="248" y="57"/>
                    </a:lnTo>
                    <a:lnTo>
                      <a:pt x="246" y="54"/>
                    </a:lnTo>
                    <a:lnTo>
                      <a:pt x="240" y="52"/>
                    </a:lnTo>
                    <a:lnTo>
                      <a:pt x="247" y="49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6" name="Freeform 77"/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2642145" y="3810729"/>
                <a:ext cx="332236" cy="353898"/>
              </a:xfrm>
              <a:custGeom>
                <a:avLst/>
                <a:gdLst>
                  <a:gd name="T0" fmla="*/ 2147483647 w 269"/>
                  <a:gd name="T1" fmla="*/ 2147483647 h 301"/>
                  <a:gd name="T2" fmla="*/ 2147483647 w 269"/>
                  <a:gd name="T3" fmla="*/ 2147483647 h 301"/>
                  <a:gd name="T4" fmla="*/ 2147483647 w 269"/>
                  <a:gd name="T5" fmla="*/ 2147483647 h 301"/>
                  <a:gd name="T6" fmla="*/ 2147483647 w 269"/>
                  <a:gd name="T7" fmla="*/ 2147483647 h 301"/>
                  <a:gd name="T8" fmla="*/ 2147483647 w 269"/>
                  <a:gd name="T9" fmla="*/ 2147483647 h 301"/>
                  <a:gd name="T10" fmla="*/ 2147483647 w 269"/>
                  <a:gd name="T11" fmla="*/ 2147483647 h 301"/>
                  <a:gd name="T12" fmla="*/ 2147483647 w 269"/>
                  <a:gd name="T13" fmla="*/ 2147483647 h 301"/>
                  <a:gd name="T14" fmla="*/ 2147483647 w 269"/>
                  <a:gd name="T15" fmla="*/ 2147483647 h 301"/>
                  <a:gd name="T16" fmla="*/ 2147483647 w 269"/>
                  <a:gd name="T17" fmla="*/ 2147483647 h 301"/>
                  <a:gd name="T18" fmla="*/ 2147483647 w 269"/>
                  <a:gd name="T19" fmla="*/ 2147483647 h 301"/>
                  <a:gd name="T20" fmla="*/ 2147483647 w 269"/>
                  <a:gd name="T21" fmla="*/ 2147483647 h 301"/>
                  <a:gd name="T22" fmla="*/ 2147483647 w 269"/>
                  <a:gd name="T23" fmla="*/ 2147483647 h 301"/>
                  <a:gd name="T24" fmla="*/ 2147483647 w 269"/>
                  <a:gd name="T25" fmla="*/ 2147483647 h 301"/>
                  <a:gd name="T26" fmla="*/ 2147483647 w 269"/>
                  <a:gd name="T27" fmla="*/ 2147483647 h 301"/>
                  <a:gd name="T28" fmla="*/ 2147483647 w 269"/>
                  <a:gd name="T29" fmla="*/ 2147483647 h 301"/>
                  <a:gd name="T30" fmla="*/ 2147483647 w 269"/>
                  <a:gd name="T31" fmla="*/ 2147483647 h 301"/>
                  <a:gd name="T32" fmla="*/ 2147483647 w 269"/>
                  <a:gd name="T33" fmla="*/ 2147483647 h 301"/>
                  <a:gd name="T34" fmla="*/ 2147483647 w 269"/>
                  <a:gd name="T35" fmla="*/ 2147483647 h 301"/>
                  <a:gd name="T36" fmla="*/ 2147483647 w 269"/>
                  <a:gd name="T37" fmla="*/ 2147483647 h 301"/>
                  <a:gd name="T38" fmla="*/ 2147483647 w 269"/>
                  <a:gd name="T39" fmla="*/ 2147483647 h 301"/>
                  <a:gd name="T40" fmla="*/ 2147483647 w 269"/>
                  <a:gd name="T41" fmla="*/ 2147483647 h 301"/>
                  <a:gd name="T42" fmla="*/ 2147483647 w 269"/>
                  <a:gd name="T43" fmla="*/ 2147483647 h 301"/>
                  <a:gd name="T44" fmla="*/ 2147483647 w 269"/>
                  <a:gd name="T45" fmla="*/ 2147483647 h 301"/>
                  <a:gd name="T46" fmla="*/ 2147483647 w 269"/>
                  <a:gd name="T47" fmla="*/ 2147483647 h 301"/>
                  <a:gd name="T48" fmla="*/ 2147483647 w 269"/>
                  <a:gd name="T49" fmla="*/ 2147483647 h 301"/>
                  <a:gd name="T50" fmla="*/ 2147483647 w 269"/>
                  <a:gd name="T51" fmla="*/ 2147483647 h 301"/>
                  <a:gd name="T52" fmla="*/ 2147483647 w 269"/>
                  <a:gd name="T53" fmla="*/ 2147483647 h 301"/>
                  <a:gd name="T54" fmla="*/ 2147483647 w 269"/>
                  <a:gd name="T55" fmla="*/ 2147483647 h 301"/>
                  <a:gd name="T56" fmla="*/ 2147483647 w 269"/>
                  <a:gd name="T57" fmla="*/ 2147483647 h 301"/>
                  <a:gd name="T58" fmla="*/ 2147483647 w 269"/>
                  <a:gd name="T59" fmla="*/ 2147483647 h 301"/>
                  <a:gd name="T60" fmla="*/ 2147483647 w 269"/>
                  <a:gd name="T61" fmla="*/ 2147483647 h 301"/>
                  <a:gd name="T62" fmla="*/ 2147483647 w 269"/>
                  <a:gd name="T63" fmla="*/ 2147483647 h 301"/>
                  <a:gd name="T64" fmla="*/ 2147483647 w 269"/>
                  <a:gd name="T65" fmla="*/ 2147483647 h 301"/>
                  <a:gd name="T66" fmla="*/ 2147483647 w 269"/>
                  <a:gd name="T67" fmla="*/ 2147483647 h 301"/>
                  <a:gd name="T68" fmla="*/ 2147483647 w 269"/>
                  <a:gd name="T69" fmla="*/ 2147483647 h 301"/>
                  <a:gd name="T70" fmla="*/ 2147483647 w 269"/>
                  <a:gd name="T71" fmla="*/ 2147483647 h 301"/>
                  <a:gd name="T72" fmla="*/ 2147483647 w 269"/>
                  <a:gd name="T73" fmla="*/ 2147483647 h 301"/>
                  <a:gd name="T74" fmla="*/ 2147483647 w 269"/>
                  <a:gd name="T75" fmla="*/ 2147483647 h 301"/>
                  <a:gd name="T76" fmla="*/ 2147483647 w 269"/>
                  <a:gd name="T77" fmla="*/ 2147483647 h 301"/>
                  <a:gd name="T78" fmla="*/ 2147483647 w 269"/>
                  <a:gd name="T79" fmla="*/ 2147483647 h 301"/>
                  <a:gd name="T80" fmla="*/ 2147483647 w 269"/>
                  <a:gd name="T81" fmla="*/ 2147483647 h 301"/>
                  <a:gd name="T82" fmla="*/ 2147483647 w 269"/>
                  <a:gd name="T83" fmla="*/ 2147483647 h 301"/>
                  <a:gd name="T84" fmla="*/ 2147483647 w 269"/>
                  <a:gd name="T85" fmla="*/ 2147483647 h 301"/>
                  <a:gd name="T86" fmla="*/ 2147483647 w 269"/>
                  <a:gd name="T87" fmla="*/ 2147483647 h 301"/>
                  <a:gd name="T88" fmla="*/ 2147483647 w 269"/>
                  <a:gd name="T89" fmla="*/ 2147483647 h 301"/>
                  <a:gd name="T90" fmla="*/ 2147483647 w 269"/>
                  <a:gd name="T91" fmla="*/ 2147483647 h 301"/>
                  <a:gd name="T92" fmla="*/ 2147483647 w 269"/>
                  <a:gd name="T93" fmla="*/ 2147483647 h 301"/>
                  <a:gd name="T94" fmla="*/ 2147483647 w 269"/>
                  <a:gd name="T95" fmla="*/ 2147483647 h 301"/>
                  <a:gd name="T96" fmla="*/ 2147483647 w 269"/>
                  <a:gd name="T97" fmla="*/ 2147483647 h 301"/>
                  <a:gd name="T98" fmla="*/ 2147483647 w 269"/>
                  <a:gd name="T99" fmla="*/ 2147483647 h 301"/>
                  <a:gd name="T100" fmla="*/ 2147483647 w 269"/>
                  <a:gd name="T101" fmla="*/ 2147483647 h 301"/>
                  <a:gd name="T102" fmla="*/ 2147483647 w 269"/>
                  <a:gd name="T103" fmla="*/ 2147483647 h 301"/>
                  <a:gd name="T104" fmla="*/ 2147483647 w 269"/>
                  <a:gd name="T105" fmla="*/ 2147483647 h 301"/>
                  <a:gd name="T106" fmla="*/ 2147483647 w 269"/>
                  <a:gd name="T107" fmla="*/ 2147483647 h 301"/>
                  <a:gd name="T108" fmla="*/ 2147483647 w 269"/>
                  <a:gd name="T109" fmla="*/ 2147483647 h 301"/>
                  <a:gd name="T110" fmla="*/ 2147483647 w 269"/>
                  <a:gd name="T111" fmla="*/ 2147483647 h 301"/>
                  <a:gd name="T112" fmla="*/ 2147483647 w 269"/>
                  <a:gd name="T113" fmla="*/ 2147483647 h 301"/>
                  <a:gd name="T114" fmla="*/ 2147483647 w 269"/>
                  <a:gd name="T115" fmla="*/ 2147483647 h 301"/>
                  <a:gd name="T116" fmla="*/ 2147483647 w 269"/>
                  <a:gd name="T117" fmla="*/ 2147483647 h 301"/>
                  <a:gd name="T118" fmla="*/ 2147483647 w 269"/>
                  <a:gd name="T119" fmla="*/ 2147483647 h 301"/>
                  <a:gd name="T120" fmla="*/ 2147483647 w 269"/>
                  <a:gd name="T121" fmla="*/ 2147483647 h 30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69"/>
                  <a:gd name="T184" fmla="*/ 0 h 301"/>
                  <a:gd name="T185" fmla="*/ 269 w 269"/>
                  <a:gd name="T186" fmla="*/ 301 h 301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69" h="301">
                    <a:moveTo>
                      <a:pt x="267" y="46"/>
                    </a:moveTo>
                    <a:lnTo>
                      <a:pt x="266" y="41"/>
                    </a:lnTo>
                    <a:lnTo>
                      <a:pt x="264" y="38"/>
                    </a:lnTo>
                    <a:lnTo>
                      <a:pt x="259" y="37"/>
                    </a:lnTo>
                    <a:lnTo>
                      <a:pt x="255" y="35"/>
                    </a:lnTo>
                    <a:lnTo>
                      <a:pt x="249" y="33"/>
                    </a:lnTo>
                    <a:lnTo>
                      <a:pt x="245" y="32"/>
                    </a:lnTo>
                    <a:lnTo>
                      <a:pt x="242" y="29"/>
                    </a:lnTo>
                    <a:lnTo>
                      <a:pt x="238" y="30"/>
                    </a:lnTo>
                    <a:lnTo>
                      <a:pt x="232" y="28"/>
                    </a:lnTo>
                    <a:lnTo>
                      <a:pt x="228" y="28"/>
                    </a:lnTo>
                    <a:lnTo>
                      <a:pt x="224" y="32"/>
                    </a:lnTo>
                    <a:lnTo>
                      <a:pt x="220" y="34"/>
                    </a:lnTo>
                    <a:lnTo>
                      <a:pt x="215" y="35"/>
                    </a:lnTo>
                    <a:lnTo>
                      <a:pt x="213" y="30"/>
                    </a:lnTo>
                    <a:lnTo>
                      <a:pt x="207" y="29"/>
                    </a:lnTo>
                    <a:lnTo>
                      <a:pt x="205" y="25"/>
                    </a:lnTo>
                    <a:lnTo>
                      <a:pt x="201" y="26"/>
                    </a:lnTo>
                    <a:lnTo>
                      <a:pt x="196" y="26"/>
                    </a:lnTo>
                    <a:lnTo>
                      <a:pt x="193" y="25"/>
                    </a:lnTo>
                    <a:lnTo>
                      <a:pt x="187" y="23"/>
                    </a:lnTo>
                    <a:lnTo>
                      <a:pt x="187" y="20"/>
                    </a:lnTo>
                    <a:lnTo>
                      <a:pt x="183" y="17"/>
                    </a:lnTo>
                    <a:lnTo>
                      <a:pt x="177" y="16"/>
                    </a:lnTo>
                    <a:lnTo>
                      <a:pt x="173" y="15"/>
                    </a:lnTo>
                    <a:lnTo>
                      <a:pt x="159" y="2"/>
                    </a:lnTo>
                    <a:lnTo>
                      <a:pt x="159" y="0"/>
                    </a:lnTo>
                    <a:lnTo>
                      <a:pt x="155" y="1"/>
                    </a:lnTo>
                    <a:lnTo>
                      <a:pt x="150" y="1"/>
                    </a:lnTo>
                    <a:lnTo>
                      <a:pt x="146" y="2"/>
                    </a:lnTo>
                    <a:lnTo>
                      <a:pt x="145" y="7"/>
                    </a:lnTo>
                    <a:lnTo>
                      <a:pt x="142" y="10"/>
                    </a:lnTo>
                    <a:lnTo>
                      <a:pt x="143" y="14"/>
                    </a:lnTo>
                    <a:lnTo>
                      <a:pt x="143" y="19"/>
                    </a:lnTo>
                    <a:lnTo>
                      <a:pt x="144" y="22"/>
                    </a:lnTo>
                    <a:lnTo>
                      <a:pt x="145" y="27"/>
                    </a:lnTo>
                    <a:lnTo>
                      <a:pt x="145" y="31"/>
                    </a:lnTo>
                    <a:lnTo>
                      <a:pt x="144" y="35"/>
                    </a:lnTo>
                    <a:lnTo>
                      <a:pt x="140" y="36"/>
                    </a:lnTo>
                    <a:lnTo>
                      <a:pt x="135" y="41"/>
                    </a:lnTo>
                    <a:lnTo>
                      <a:pt x="136" y="46"/>
                    </a:lnTo>
                    <a:lnTo>
                      <a:pt x="138" y="48"/>
                    </a:lnTo>
                    <a:lnTo>
                      <a:pt x="139" y="53"/>
                    </a:lnTo>
                    <a:lnTo>
                      <a:pt x="142" y="56"/>
                    </a:lnTo>
                    <a:lnTo>
                      <a:pt x="143" y="61"/>
                    </a:lnTo>
                    <a:lnTo>
                      <a:pt x="138" y="61"/>
                    </a:lnTo>
                    <a:lnTo>
                      <a:pt x="134" y="62"/>
                    </a:lnTo>
                    <a:lnTo>
                      <a:pt x="129" y="65"/>
                    </a:lnTo>
                    <a:lnTo>
                      <a:pt x="122" y="66"/>
                    </a:lnTo>
                    <a:lnTo>
                      <a:pt x="118" y="66"/>
                    </a:lnTo>
                    <a:lnTo>
                      <a:pt x="110" y="67"/>
                    </a:lnTo>
                    <a:lnTo>
                      <a:pt x="105" y="68"/>
                    </a:lnTo>
                    <a:lnTo>
                      <a:pt x="98" y="69"/>
                    </a:lnTo>
                    <a:lnTo>
                      <a:pt x="94" y="69"/>
                    </a:lnTo>
                    <a:lnTo>
                      <a:pt x="89" y="70"/>
                    </a:lnTo>
                    <a:lnTo>
                      <a:pt x="85" y="73"/>
                    </a:lnTo>
                    <a:lnTo>
                      <a:pt x="80" y="73"/>
                    </a:lnTo>
                    <a:lnTo>
                      <a:pt x="76" y="76"/>
                    </a:lnTo>
                    <a:lnTo>
                      <a:pt x="71" y="76"/>
                    </a:lnTo>
                    <a:lnTo>
                      <a:pt x="68" y="79"/>
                    </a:lnTo>
                    <a:lnTo>
                      <a:pt x="66" y="83"/>
                    </a:lnTo>
                    <a:lnTo>
                      <a:pt x="61" y="84"/>
                    </a:lnTo>
                    <a:lnTo>
                      <a:pt x="61" y="80"/>
                    </a:lnTo>
                    <a:lnTo>
                      <a:pt x="62" y="76"/>
                    </a:lnTo>
                    <a:lnTo>
                      <a:pt x="62" y="72"/>
                    </a:lnTo>
                    <a:lnTo>
                      <a:pt x="64" y="66"/>
                    </a:lnTo>
                    <a:lnTo>
                      <a:pt x="66" y="63"/>
                    </a:lnTo>
                    <a:lnTo>
                      <a:pt x="67" y="58"/>
                    </a:lnTo>
                    <a:lnTo>
                      <a:pt x="67" y="55"/>
                    </a:lnTo>
                    <a:lnTo>
                      <a:pt x="62" y="53"/>
                    </a:lnTo>
                    <a:lnTo>
                      <a:pt x="57" y="54"/>
                    </a:lnTo>
                    <a:lnTo>
                      <a:pt x="53" y="52"/>
                    </a:lnTo>
                    <a:lnTo>
                      <a:pt x="49" y="48"/>
                    </a:lnTo>
                    <a:lnTo>
                      <a:pt x="49" y="44"/>
                    </a:lnTo>
                    <a:lnTo>
                      <a:pt x="46" y="43"/>
                    </a:lnTo>
                    <a:lnTo>
                      <a:pt x="41" y="43"/>
                    </a:lnTo>
                    <a:lnTo>
                      <a:pt x="35" y="44"/>
                    </a:lnTo>
                    <a:lnTo>
                      <a:pt x="30" y="45"/>
                    </a:lnTo>
                    <a:lnTo>
                      <a:pt x="28" y="49"/>
                    </a:lnTo>
                    <a:lnTo>
                      <a:pt x="29" y="53"/>
                    </a:lnTo>
                    <a:lnTo>
                      <a:pt x="28" y="58"/>
                    </a:lnTo>
                    <a:lnTo>
                      <a:pt x="28" y="61"/>
                    </a:lnTo>
                    <a:lnTo>
                      <a:pt x="29" y="65"/>
                    </a:lnTo>
                    <a:lnTo>
                      <a:pt x="29" y="70"/>
                    </a:lnTo>
                    <a:lnTo>
                      <a:pt x="30" y="73"/>
                    </a:lnTo>
                    <a:lnTo>
                      <a:pt x="27" y="78"/>
                    </a:lnTo>
                    <a:lnTo>
                      <a:pt x="31" y="82"/>
                    </a:lnTo>
                    <a:lnTo>
                      <a:pt x="33" y="86"/>
                    </a:lnTo>
                    <a:lnTo>
                      <a:pt x="36" y="89"/>
                    </a:lnTo>
                    <a:lnTo>
                      <a:pt x="41" y="92"/>
                    </a:lnTo>
                    <a:lnTo>
                      <a:pt x="44" y="94"/>
                    </a:lnTo>
                    <a:lnTo>
                      <a:pt x="46" y="99"/>
                    </a:lnTo>
                    <a:lnTo>
                      <a:pt x="51" y="100"/>
                    </a:lnTo>
                    <a:lnTo>
                      <a:pt x="55" y="100"/>
                    </a:lnTo>
                    <a:lnTo>
                      <a:pt x="60" y="101"/>
                    </a:lnTo>
                    <a:lnTo>
                      <a:pt x="64" y="101"/>
                    </a:lnTo>
                    <a:lnTo>
                      <a:pt x="71" y="100"/>
                    </a:lnTo>
                    <a:lnTo>
                      <a:pt x="75" y="101"/>
                    </a:lnTo>
                    <a:lnTo>
                      <a:pt x="80" y="101"/>
                    </a:lnTo>
                    <a:lnTo>
                      <a:pt x="87" y="100"/>
                    </a:lnTo>
                    <a:lnTo>
                      <a:pt x="96" y="102"/>
                    </a:lnTo>
                    <a:lnTo>
                      <a:pt x="102" y="102"/>
                    </a:lnTo>
                    <a:lnTo>
                      <a:pt x="107" y="103"/>
                    </a:lnTo>
                    <a:lnTo>
                      <a:pt x="113" y="104"/>
                    </a:lnTo>
                    <a:lnTo>
                      <a:pt x="115" y="109"/>
                    </a:lnTo>
                    <a:lnTo>
                      <a:pt x="119" y="109"/>
                    </a:lnTo>
                    <a:lnTo>
                      <a:pt x="124" y="105"/>
                    </a:lnTo>
                    <a:lnTo>
                      <a:pt x="127" y="100"/>
                    </a:lnTo>
                    <a:lnTo>
                      <a:pt x="131" y="104"/>
                    </a:lnTo>
                    <a:lnTo>
                      <a:pt x="128" y="108"/>
                    </a:lnTo>
                    <a:lnTo>
                      <a:pt x="127" y="112"/>
                    </a:lnTo>
                    <a:lnTo>
                      <a:pt x="125" y="118"/>
                    </a:lnTo>
                    <a:lnTo>
                      <a:pt x="120" y="118"/>
                    </a:lnTo>
                    <a:lnTo>
                      <a:pt x="117" y="122"/>
                    </a:lnTo>
                    <a:lnTo>
                      <a:pt x="112" y="125"/>
                    </a:lnTo>
                    <a:lnTo>
                      <a:pt x="111" y="130"/>
                    </a:lnTo>
                    <a:lnTo>
                      <a:pt x="109" y="133"/>
                    </a:lnTo>
                    <a:lnTo>
                      <a:pt x="112" y="138"/>
                    </a:lnTo>
                    <a:lnTo>
                      <a:pt x="115" y="142"/>
                    </a:lnTo>
                    <a:lnTo>
                      <a:pt x="113" y="145"/>
                    </a:lnTo>
                    <a:lnTo>
                      <a:pt x="108" y="148"/>
                    </a:lnTo>
                    <a:lnTo>
                      <a:pt x="105" y="154"/>
                    </a:lnTo>
                    <a:lnTo>
                      <a:pt x="100" y="156"/>
                    </a:lnTo>
                    <a:lnTo>
                      <a:pt x="96" y="157"/>
                    </a:lnTo>
                    <a:lnTo>
                      <a:pt x="91" y="155"/>
                    </a:lnTo>
                    <a:lnTo>
                      <a:pt x="87" y="156"/>
                    </a:lnTo>
                    <a:lnTo>
                      <a:pt x="82" y="157"/>
                    </a:lnTo>
                    <a:lnTo>
                      <a:pt x="80" y="152"/>
                    </a:lnTo>
                    <a:lnTo>
                      <a:pt x="76" y="153"/>
                    </a:lnTo>
                    <a:lnTo>
                      <a:pt x="70" y="151"/>
                    </a:lnTo>
                    <a:lnTo>
                      <a:pt x="66" y="152"/>
                    </a:lnTo>
                    <a:lnTo>
                      <a:pt x="62" y="152"/>
                    </a:lnTo>
                    <a:lnTo>
                      <a:pt x="59" y="155"/>
                    </a:lnTo>
                    <a:lnTo>
                      <a:pt x="54" y="157"/>
                    </a:lnTo>
                    <a:lnTo>
                      <a:pt x="51" y="161"/>
                    </a:lnTo>
                    <a:lnTo>
                      <a:pt x="48" y="165"/>
                    </a:lnTo>
                    <a:lnTo>
                      <a:pt x="44" y="167"/>
                    </a:lnTo>
                    <a:lnTo>
                      <a:pt x="40" y="172"/>
                    </a:lnTo>
                    <a:lnTo>
                      <a:pt x="39" y="177"/>
                    </a:lnTo>
                    <a:lnTo>
                      <a:pt x="37" y="181"/>
                    </a:lnTo>
                    <a:lnTo>
                      <a:pt x="38" y="185"/>
                    </a:lnTo>
                    <a:lnTo>
                      <a:pt x="38" y="190"/>
                    </a:lnTo>
                    <a:lnTo>
                      <a:pt x="37" y="193"/>
                    </a:lnTo>
                    <a:lnTo>
                      <a:pt x="32" y="196"/>
                    </a:lnTo>
                    <a:lnTo>
                      <a:pt x="28" y="199"/>
                    </a:lnTo>
                    <a:lnTo>
                      <a:pt x="26" y="204"/>
                    </a:lnTo>
                    <a:lnTo>
                      <a:pt x="23" y="208"/>
                    </a:lnTo>
                    <a:lnTo>
                      <a:pt x="21" y="212"/>
                    </a:lnTo>
                    <a:lnTo>
                      <a:pt x="16" y="215"/>
                    </a:lnTo>
                    <a:lnTo>
                      <a:pt x="13" y="218"/>
                    </a:lnTo>
                    <a:lnTo>
                      <a:pt x="6" y="220"/>
                    </a:lnTo>
                    <a:lnTo>
                      <a:pt x="1" y="223"/>
                    </a:lnTo>
                    <a:lnTo>
                      <a:pt x="2" y="228"/>
                    </a:lnTo>
                    <a:lnTo>
                      <a:pt x="0" y="231"/>
                    </a:lnTo>
                    <a:lnTo>
                      <a:pt x="1" y="236"/>
                    </a:lnTo>
                    <a:lnTo>
                      <a:pt x="7" y="240"/>
                    </a:lnTo>
                    <a:lnTo>
                      <a:pt x="11" y="241"/>
                    </a:lnTo>
                    <a:lnTo>
                      <a:pt x="16" y="241"/>
                    </a:lnTo>
                    <a:lnTo>
                      <a:pt x="20" y="244"/>
                    </a:lnTo>
                    <a:lnTo>
                      <a:pt x="25" y="243"/>
                    </a:lnTo>
                    <a:lnTo>
                      <a:pt x="29" y="243"/>
                    </a:lnTo>
                    <a:lnTo>
                      <a:pt x="34" y="242"/>
                    </a:lnTo>
                    <a:lnTo>
                      <a:pt x="38" y="243"/>
                    </a:lnTo>
                    <a:lnTo>
                      <a:pt x="43" y="243"/>
                    </a:lnTo>
                    <a:lnTo>
                      <a:pt x="48" y="244"/>
                    </a:lnTo>
                    <a:lnTo>
                      <a:pt x="53" y="245"/>
                    </a:lnTo>
                    <a:lnTo>
                      <a:pt x="53" y="249"/>
                    </a:lnTo>
                    <a:lnTo>
                      <a:pt x="54" y="253"/>
                    </a:lnTo>
                    <a:lnTo>
                      <a:pt x="55" y="258"/>
                    </a:lnTo>
                    <a:lnTo>
                      <a:pt x="55" y="261"/>
                    </a:lnTo>
                    <a:lnTo>
                      <a:pt x="53" y="267"/>
                    </a:lnTo>
                    <a:lnTo>
                      <a:pt x="58" y="268"/>
                    </a:lnTo>
                    <a:lnTo>
                      <a:pt x="59" y="273"/>
                    </a:lnTo>
                    <a:lnTo>
                      <a:pt x="63" y="275"/>
                    </a:lnTo>
                    <a:lnTo>
                      <a:pt x="64" y="280"/>
                    </a:lnTo>
                    <a:lnTo>
                      <a:pt x="62" y="284"/>
                    </a:lnTo>
                    <a:lnTo>
                      <a:pt x="61" y="288"/>
                    </a:lnTo>
                    <a:lnTo>
                      <a:pt x="59" y="293"/>
                    </a:lnTo>
                    <a:lnTo>
                      <a:pt x="57" y="296"/>
                    </a:lnTo>
                    <a:lnTo>
                      <a:pt x="57" y="301"/>
                    </a:lnTo>
                    <a:lnTo>
                      <a:pt x="62" y="299"/>
                    </a:lnTo>
                    <a:lnTo>
                      <a:pt x="65" y="294"/>
                    </a:lnTo>
                    <a:lnTo>
                      <a:pt x="70" y="292"/>
                    </a:lnTo>
                    <a:lnTo>
                      <a:pt x="74" y="289"/>
                    </a:lnTo>
                    <a:lnTo>
                      <a:pt x="79" y="288"/>
                    </a:lnTo>
                    <a:lnTo>
                      <a:pt x="81" y="285"/>
                    </a:lnTo>
                    <a:lnTo>
                      <a:pt x="86" y="282"/>
                    </a:lnTo>
                    <a:lnTo>
                      <a:pt x="90" y="284"/>
                    </a:lnTo>
                    <a:lnTo>
                      <a:pt x="95" y="283"/>
                    </a:lnTo>
                    <a:lnTo>
                      <a:pt x="99" y="281"/>
                    </a:lnTo>
                    <a:lnTo>
                      <a:pt x="101" y="277"/>
                    </a:lnTo>
                    <a:lnTo>
                      <a:pt x="103" y="272"/>
                    </a:lnTo>
                    <a:lnTo>
                      <a:pt x="102" y="268"/>
                    </a:lnTo>
                    <a:lnTo>
                      <a:pt x="100" y="264"/>
                    </a:lnTo>
                    <a:lnTo>
                      <a:pt x="99" y="260"/>
                    </a:lnTo>
                    <a:lnTo>
                      <a:pt x="101" y="255"/>
                    </a:lnTo>
                    <a:lnTo>
                      <a:pt x="104" y="254"/>
                    </a:lnTo>
                    <a:lnTo>
                      <a:pt x="109" y="251"/>
                    </a:lnTo>
                    <a:lnTo>
                      <a:pt x="113" y="248"/>
                    </a:lnTo>
                    <a:lnTo>
                      <a:pt x="117" y="245"/>
                    </a:lnTo>
                    <a:lnTo>
                      <a:pt x="121" y="244"/>
                    </a:lnTo>
                    <a:lnTo>
                      <a:pt x="128" y="243"/>
                    </a:lnTo>
                    <a:lnTo>
                      <a:pt x="134" y="246"/>
                    </a:lnTo>
                    <a:lnTo>
                      <a:pt x="138" y="247"/>
                    </a:lnTo>
                    <a:lnTo>
                      <a:pt x="143" y="248"/>
                    </a:lnTo>
                    <a:lnTo>
                      <a:pt x="147" y="249"/>
                    </a:lnTo>
                    <a:lnTo>
                      <a:pt x="154" y="248"/>
                    </a:lnTo>
                    <a:lnTo>
                      <a:pt x="159" y="250"/>
                    </a:lnTo>
                    <a:lnTo>
                      <a:pt x="164" y="252"/>
                    </a:lnTo>
                    <a:lnTo>
                      <a:pt x="169" y="251"/>
                    </a:lnTo>
                    <a:lnTo>
                      <a:pt x="173" y="250"/>
                    </a:lnTo>
                    <a:lnTo>
                      <a:pt x="174" y="245"/>
                    </a:lnTo>
                    <a:lnTo>
                      <a:pt x="170" y="245"/>
                    </a:lnTo>
                    <a:lnTo>
                      <a:pt x="167" y="241"/>
                    </a:lnTo>
                    <a:lnTo>
                      <a:pt x="162" y="242"/>
                    </a:lnTo>
                    <a:lnTo>
                      <a:pt x="160" y="237"/>
                    </a:lnTo>
                    <a:lnTo>
                      <a:pt x="154" y="236"/>
                    </a:lnTo>
                    <a:lnTo>
                      <a:pt x="152" y="232"/>
                    </a:lnTo>
                    <a:lnTo>
                      <a:pt x="149" y="228"/>
                    </a:lnTo>
                    <a:lnTo>
                      <a:pt x="144" y="227"/>
                    </a:lnTo>
                    <a:lnTo>
                      <a:pt x="142" y="223"/>
                    </a:lnTo>
                    <a:lnTo>
                      <a:pt x="141" y="219"/>
                    </a:lnTo>
                    <a:lnTo>
                      <a:pt x="146" y="217"/>
                    </a:lnTo>
                    <a:lnTo>
                      <a:pt x="150" y="216"/>
                    </a:lnTo>
                    <a:lnTo>
                      <a:pt x="155" y="216"/>
                    </a:lnTo>
                    <a:lnTo>
                      <a:pt x="154" y="211"/>
                    </a:lnTo>
                    <a:lnTo>
                      <a:pt x="154" y="208"/>
                    </a:lnTo>
                    <a:lnTo>
                      <a:pt x="148" y="205"/>
                    </a:lnTo>
                    <a:lnTo>
                      <a:pt x="146" y="202"/>
                    </a:lnTo>
                    <a:lnTo>
                      <a:pt x="141" y="201"/>
                    </a:lnTo>
                    <a:lnTo>
                      <a:pt x="138" y="197"/>
                    </a:lnTo>
                    <a:lnTo>
                      <a:pt x="138" y="193"/>
                    </a:lnTo>
                    <a:lnTo>
                      <a:pt x="142" y="189"/>
                    </a:lnTo>
                    <a:lnTo>
                      <a:pt x="146" y="187"/>
                    </a:lnTo>
                    <a:lnTo>
                      <a:pt x="151" y="188"/>
                    </a:lnTo>
                    <a:lnTo>
                      <a:pt x="153" y="185"/>
                    </a:lnTo>
                    <a:lnTo>
                      <a:pt x="156" y="182"/>
                    </a:lnTo>
                    <a:lnTo>
                      <a:pt x="161" y="181"/>
                    </a:lnTo>
                    <a:lnTo>
                      <a:pt x="165" y="181"/>
                    </a:lnTo>
                    <a:lnTo>
                      <a:pt x="170" y="180"/>
                    </a:lnTo>
                    <a:lnTo>
                      <a:pt x="174" y="182"/>
                    </a:lnTo>
                    <a:lnTo>
                      <a:pt x="178" y="184"/>
                    </a:lnTo>
                    <a:lnTo>
                      <a:pt x="180" y="189"/>
                    </a:lnTo>
                    <a:lnTo>
                      <a:pt x="185" y="190"/>
                    </a:lnTo>
                    <a:lnTo>
                      <a:pt x="190" y="190"/>
                    </a:lnTo>
                    <a:lnTo>
                      <a:pt x="194" y="191"/>
                    </a:lnTo>
                    <a:lnTo>
                      <a:pt x="199" y="190"/>
                    </a:lnTo>
                    <a:lnTo>
                      <a:pt x="203" y="193"/>
                    </a:lnTo>
                    <a:lnTo>
                      <a:pt x="208" y="192"/>
                    </a:lnTo>
                    <a:lnTo>
                      <a:pt x="213" y="193"/>
                    </a:lnTo>
                    <a:lnTo>
                      <a:pt x="216" y="192"/>
                    </a:lnTo>
                    <a:lnTo>
                      <a:pt x="220" y="192"/>
                    </a:lnTo>
                    <a:lnTo>
                      <a:pt x="225" y="191"/>
                    </a:lnTo>
                    <a:lnTo>
                      <a:pt x="232" y="190"/>
                    </a:lnTo>
                    <a:lnTo>
                      <a:pt x="236" y="191"/>
                    </a:lnTo>
                    <a:lnTo>
                      <a:pt x="241" y="191"/>
                    </a:lnTo>
                    <a:lnTo>
                      <a:pt x="245" y="192"/>
                    </a:lnTo>
                    <a:lnTo>
                      <a:pt x="250" y="192"/>
                    </a:lnTo>
                    <a:lnTo>
                      <a:pt x="255" y="194"/>
                    </a:lnTo>
                    <a:lnTo>
                      <a:pt x="257" y="189"/>
                    </a:lnTo>
                    <a:lnTo>
                      <a:pt x="254" y="186"/>
                    </a:lnTo>
                    <a:lnTo>
                      <a:pt x="253" y="181"/>
                    </a:lnTo>
                    <a:lnTo>
                      <a:pt x="258" y="178"/>
                    </a:lnTo>
                    <a:lnTo>
                      <a:pt x="259" y="173"/>
                    </a:lnTo>
                    <a:lnTo>
                      <a:pt x="264" y="173"/>
                    </a:lnTo>
                    <a:lnTo>
                      <a:pt x="266" y="169"/>
                    </a:lnTo>
                    <a:lnTo>
                      <a:pt x="265" y="164"/>
                    </a:lnTo>
                    <a:lnTo>
                      <a:pt x="260" y="163"/>
                    </a:lnTo>
                    <a:lnTo>
                      <a:pt x="257" y="160"/>
                    </a:lnTo>
                    <a:lnTo>
                      <a:pt x="253" y="159"/>
                    </a:lnTo>
                    <a:lnTo>
                      <a:pt x="249" y="154"/>
                    </a:lnTo>
                    <a:lnTo>
                      <a:pt x="245" y="153"/>
                    </a:lnTo>
                    <a:lnTo>
                      <a:pt x="241" y="145"/>
                    </a:lnTo>
                    <a:lnTo>
                      <a:pt x="250" y="150"/>
                    </a:lnTo>
                    <a:lnTo>
                      <a:pt x="239" y="145"/>
                    </a:lnTo>
                    <a:lnTo>
                      <a:pt x="232" y="136"/>
                    </a:lnTo>
                    <a:lnTo>
                      <a:pt x="229" y="133"/>
                    </a:lnTo>
                    <a:lnTo>
                      <a:pt x="229" y="139"/>
                    </a:lnTo>
                    <a:lnTo>
                      <a:pt x="224" y="131"/>
                    </a:lnTo>
                    <a:lnTo>
                      <a:pt x="228" y="127"/>
                    </a:lnTo>
                    <a:lnTo>
                      <a:pt x="236" y="126"/>
                    </a:lnTo>
                    <a:lnTo>
                      <a:pt x="242" y="124"/>
                    </a:lnTo>
                    <a:lnTo>
                      <a:pt x="247" y="123"/>
                    </a:lnTo>
                    <a:lnTo>
                      <a:pt x="251" y="115"/>
                    </a:lnTo>
                    <a:lnTo>
                      <a:pt x="244" y="115"/>
                    </a:lnTo>
                    <a:lnTo>
                      <a:pt x="247" y="111"/>
                    </a:lnTo>
                    <a:lnTo>
                      <a:pt x="244" y="118"/>
                    </a:lnTo>
                    <a:lnTo>
                      <a:pt x="251" y="108"/>
                    </a:lnTo>
                    <a:lnTo>
                      <a:pt x="265" y="102"/>
                    </a:lnTo>
                    <a:lnTo>
                      <a:pt x="256" y="102"/>
                    </a:lnTo>
                    <a:lnTo>
                      <a:pt x="259" y="100"/>
                    </a:lnTo>
                    <a:lnTo>
                      <a:pt x="259" y="108"/>
                    </a:lnTo>
                    <a:lnTo>
                      <a:pt x="256" y="98"/>
                    </a:lnTo>
                    <a:lnTo>
                      <a:pt x="265" y="100"/>
                    </a:lnTo>
                    <a:lnTo>
                      <a:pt x="264" y="94"/>
                    </a:lnTo>
                    <a:lnTo>
                      <a:pt x="266" y="90"/>
                    </a:lnTo>
                    <a:lnTo>
                      <a:pt x="265" y="86"/>
                    </a:lnTo>
                    <a:lnTo>
                      <a:pt x="265" y="82"/>
                    </a:lnTo>
                    <a:lnTo>
                      <a:pt x="264" y="77"/>
                    </a:lnTo>
                    <a:lnTo>
                      <a:pt x="264" y="74"/>
                    </a:lnTo>
                    <a:lnTo>
                      <a:pt x="261" y="70"/>
                    </a:lnTo>
                    <a:lnTo>
                      <a:pt x="269" y="64"/>
                    </a:lnTo>
                    <a:lnTo>
                      <a:pt x="269" y="57"/>
                    </a:lnTo>
                    <a:lnTo>
                      <a:pt x="265" y="52"/>
                    </a:lnTo>
                    <a:lnTo>
                      <a:pt x="262" y="57"/>
                    </a:lnTo>
                    <a:lnTo>
                      <a:pt x="263" y="53"/>
                    </a:lnTo>
                    <a:lnTo>
                      <a:pt x="267" y="46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7" name="Freeform 78"/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2740918" y="3391639"/>
                <a:ext cx="520802" cy="493594"/>
              </a:xfrm>
              <a:custGeom>
                <a:avLst/>
                <a:gdLst>
                  <a:gd name="T0" fmla="*/ 2147483647 w 420"/>
                  <a:gd name="T1" fmla="*/ 2147483647 h 416"/>
                  <a:gd name="T2" fmla="*/ 2147483647 w 420"/>
                  <a:gd name="T3" fmla="*/ 2147483647 h 416"/>
                  <a:gd name="T4" fmla="*/ 2147483647 w 420"/>
                  <a:gd name="T5" fmla="*/ 2147483647 h 416"/>
                  <a:gd name="T6" fmla="*/ 2147483647 w 420"/>
                  <a:gd name="T7" fmla="*/ 2147483647 h 416"/>
                  <a:gd name="T8" fmla="*/ 2147483647 w 420"/>
                  <a:gd name="T9" fmla="*/ 2147483647 h 416"/>
                  <a:gd name="T10" fmla="*/ 2147483647 w 420"/>
                  <a:gd name="T11" fmla="*/ 2147483647 h 416"/>
                  <a:gd name="T12" fmla="*/ 2147483647 w 420"/>
                  <a:gd name="T13" fmla="*/ 2147483647 h 416"/>
                  <a:gd name="T14" fmla="*/ 2147483647 w 420"/>
                  <a:gd name="T15" fmla="*/ 2147483647 h 416"/>
                  <a:gd name="T16" fmla="*/ 2147483647 w 420"/>
                  <a:gd name="T17" fmla="*/ 2147483647 h 416"/>
                  <a:gd name="T18" fmla="*/ 2147483647 w 420"/>
                  <a:gd name="T19" fmla="*/ 2147483647 h 416"/>
                  <a:gd name="T20" fmla="*/ 2147483647 w 420"/>
                  <a:gd name="T21" fmla="*/ 2147483647 h 416"/>
                  <a:gd name="T22" fmla="*/ 2147483647 w 420"/>
                  <a:gd name="T23" fmla="*/ 2147483647 h 416"/>
                  <a:gd name="T24" fmla="*/ 2147483647 w 420"/>
                  <a:gd name="T25" fmla="*/ 2147483647 h 416"/>
                  <a:gd name="T26" fmla="*/ 2147483647 w 420"/>
                  <a:gd name="T27" fmla="*/ 2147483647 h 416"/>
                  <a:gd name="T28" fmla="*/ 2147483647 w 420"/>
                  <a:gd name="T29" fmla="*/ 2147483647 h 416"/>
                  <a:gd name="T30" fmla="*/ 2147483647 w 420"/>
                  <a:gd name="T31" fmla="*/ 2147483647 h 416"/>
                  <a:gd name="T32" fmla="*/ 2147483647 w 420"/>
                  <a:gd name="T33" fmla="*/ 2147483647 h 416"/>
                  <a:gd name="T34" fmla="*/ 2147483647 w 420"/>
                  <a:gd name="T35" fmla="*/ 2147483647 h 416"/>
                  <a:gd name="T36" fmla="*/ 2147483647 w 420"/>
                  <a:gd name="T37" fmla="*/ 2147483647 h 416"/>
                  <a:gd name="T38" fmla="*/ 2147483647 w 420"/>
                  <a:gd name="T39" fmla="*/ 2147483647 h 416"/>
                  <a:gd name="T40" fmla="*/ 2147483647 w 420"/>
                  <a:gd name="T41" fmla="*/ 2147483647 h 416"/>
                  <a:gd name="T42" fmla="*/ 2147483647 w 420"/>
                  <a:gd name="T43" fmla="*/ 2147483647 h 416"/>
                  <a:gd name="T44" fmla="*/ 2147483647 w 420"/>
                  <a:gd name="T45" fmla="*/ 2147483647 h 416"/>
                  <a:gd name="T46" fmla="*/ 2147483647 w 420"/>
                  <a:gd name="T47" fmla="*/ 2147483647 h 416"/>
                  <a:gd name="T48" fmla="*/ 2147483647 w 420"/>
                  <a:gd name="T49" fmla="*/ 2147483647 h 416"/>
                  <a:gd name="T50" fmla="*/ 2147483647 w 420"/>
                  <a:gd name="T51" fmla="*/ 2147483647 h 416"/>
                  <a:gd name="T52" fmla="*/ 2147483647 w 420"/>
                  <a:gd name="T53" fmla="*/ 2147483647 h 416"/>
                  <a:gd name="T54" fmla="*/ 2147483647 w 420"/>
                  <a:gd name="T55" fmla="*/ 2147483647 h 416"/>
                  <a:gd name="T56" fmla="*/ 2147483647 w 420"/>
                  <a:gd name="T57" fmla="*/ 2147483647 h 416"/>
                  <a:gd name="T58" fmla="*/ 2147483647 w 420"/>
                  <a:gd name="T59" fmla="*/ 2147483647 h 416"/>
                  <a:gd name="T60" fmla="*/ 2147483647 w 420"/>
                  <a:gd name="T61" fmla="*/ 2147483647 h 416"/>
                  <a:gd name="T62" fmla="*/ 2147483647 w 420"/>
                  <a:gd name="T63" fmla="*/ 2147483647 h 416"/>
                  <a:gd name="T64" fmla="*/ 2147483647 w 420"/>
                  <a:gd name="T65" fmla="*/ 2147483647 h 416"/>
                  <a:gd name="T66" fmla="*/ 2147483647 w 420"/>
                  <a:gd name="T67" fmla="*/ 2147483647 h 416"/>
                  <a:gd name="T68" fmla="*/ 2147483647 w 420"/>
                  <a:gd name="T69" fmla="*/ 2147483647 h 416"/>
                  <a:gd name="T70" fmla="*/ 2147483647 w 420"/>
                  <a:gd name="T71" fmla="*/ 2147483647 h 416"/>
                  <a:gd name="T72" fmla="*/ 2147483647 w 420"/>
                  <a:gd name="T73" fmla="*/ 2147483647 h 416"/>
                  <a:gd name="T74" fmla="*/ 2147483647 w 420"/>
                  <a:gd name="T75" fmla="*/ 2147483647 h 416"/>
                  <a:gd name="T76" fmla="*/ 2147483647 w 420"/>
                  <a:gd name="T77" fmla="*/ 2147483647 h 416"/>
                  <a:gd name="T78" fmla="*/ 2147483647 w 420"/>
                  <a:gd name="T79" fmla="*/ 2147483647 h 416"/>
                  <a:gd name="T80" fmla="*/ 2147483647 w 420"/>
                  <a:gd name="T81" fmla="*/ 2147483647 h 416"/>
                  <a:gd name="T82" fmla="*/ 2147483647 w 420"/>
                  <a:gd name="T83" fmla="*/ 2147483647 h 416"/>
                  <a:gd name="T84" fmla="*/ 2147483647 w 420"/>
                  <a:gd name="T85" fmla="*/ 2147483647 h 416"/>
                  <a:gd name="T86" fmla="*/ 2147483647 w 420"/>
                  <a:gd name="T87" fmla="*/ 2147483647 h 416"/>
                  <a:gd name="T88" fmla="*/ 2147483647 w 420"/>
                  <a:gd name="T89" fmla="*/ 2147483647 h 416"/>
                  <a:gd name="T90" fmla="*/ 2147483647 w 420"/>
                  <a:gd name="T91" fmla="*/ 2147483647 h 416"/>
                  <a:gd name="T92" fmla="*/ 2147483647 w 420"/>
                  <a:gd name="T93" fmla="*/ 2147483647 h 416"/>
                  <a:gd name="T94" fmla="*/ 2147483647 w 420"/>
                  <a:gd name="T95" fmla="*/ 2147483647 h 416"/>
                  <a:gd name="T96" fmla="*/ 2147483647 w 420"/>
                  <a:gd name="T97" fmla="*/ 2147483647 h 416"/>
                  <a:gd name="T98" fmla="*/ 2147483647 w 420"/>
                  <a:gd name="T99" fmla="*/ 2147483647 h 416"/>
                  <a:gd name="T100" fmla="*/ 2147483647 w 420"/>
                  <a:gd name="T101" fmla="*/ 2147483647 h 416"/>
                  <a:gd name="T102" fmla="*/ 2147483647 w 420"/>
                  <a:gd name="T103" fmla="*/ 2147483647 h 416"/>
                  <a:gd name="T104" fmla="*/ 2147483647 w 420"/>
                  <a:gd name="T105" fmla="*/ 2147483647 h 416"/>
                  <a:gd name="T106" fmla="*/ 2147483647 w 420"/>
                  <a:gd name="T107" fmla="*/ 2147483647 h 41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20"/>
                  <a:gd name="T163" fmla="*/ 0 h 416"/>
                  <a:gd name="T164" fmla="*/ 420 w 420"/>
                  <a:gd name="T165" fmla="*/ 416 h 41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20" h="416">
                    <a:moveTo>
                      <a:pt x="361" y="196"/>
                    </a:moveTo>
                    <a:lnTo>
                      <a:pt x="361" y="192"/>
                    </a:lnTo>
                    <a:lnTo>
                      <a:pt x="362" y="187"/>
                    </a:lnTo>
                    <a:lnTo>
                      <a:pt x="364" y="184"/>
                    </a:lnTo>
                    <a:lnTo>
                      <a:pt x="366" y="180"/>
                    </a:lnTo>
                    <a:lnTo>
                      <a:pt x="368" y="174"/>
                    </a:lnTo>
                    <a:lnTo>
                      <a:pt x="369" y="171"/>
                    </a:lnTo>
                    <a:lnTo>
                      <a:pt x="366" y="167"/>
                    </a:lnTo>
                    <a:lnTo>
                      <a:pt x="361" y="163"/>
                    </a:lnTo>
                    <a:lnTo>
                      <a:pt x="357" y="162"/>
                    </a:lnTo>
                    <a:lnTo>
                      <a:pt x="356" y="156"/>
                    </a:lnTo>
                    <a:lnTo>
                      <a:pt x="353" y="152"/>
                    </a:lnTo>
                    <a:lnTo>
                      <a:pt x="353" y="148"/>
                    </a:lnTo>
                    <a:lnTo>
                      <a:pt x="354" y="143"/>
                    </a:lnTo>
                    <a:lnTo>
                      <a:pt x="354" y="140"/>
                    </a:lnTo>
                    <a:lnTo>
                      <a:pt x="353" y="135"/>
                    </a:lnTo>
                    <a:lnTo>
                      <a:pt x="357" y="132"/>
                    </a:lnTo>
                    <a:lnTo>
                      <a:pt x="360" y="137"/>
                    </a:lnTo>
                    <a:lnTo>
                      <a:pt x="362" y="132"/>
                    </a:lnTo>
                    <a:lnTo>
                      <a:pt x="361" y="127"/>
                    </a:lnTo>
                    <a:lnTo>
                      <a:pt x="360" y="122"/>
                    </a:lnTo>
                    <a:lnTo>
                      <a:pt x="360" y="117"/>
                    </a:lnTo>
                    <a:lnTo>
                      <a:pt x="357" y="114"/>
                    </a:lnTo>
                    <a:lnTo>
                      <a:pt x="357" y="110"/>
                    </a:lnTo>
                    <a:lnTo>
                      <a:pt x="358" y="105"/>
                    </a:lnTo>
                    <a:lnTo>
                      <a:pt x="362" y="102"/>
                    </a:lnTo>
                    <a:lnTo>
                      <a:pt x="366" y="98"/>
                    </a:lnTo>
                    <a:lnTo>
                      <a:pt x="366" y="94"/>
                    </a:lnTo>
                    <a:lnTo>
                      <a:pt x="367" y="91"/>
                    </a:lnTo>
                    <a:lnTo>
                      <a:pt x="367" y="86"/>
                    </a:lnTo>
                    <a:lnTo>
                      <a:pt x="366" y="82"/>
                    </a:lnTo>
                    <a:lnTo>
                      <a:pt x="362" y="82"/>
                    </a:lnTo>
                    <a:lnTo>
                      <a:pt x="359" y="79"/>
                    </a:lnTo>
                    <a:lnTo>
                      <a:pt x="356" y="75"/>
                    </a:lnTo>
                    <a:lnTo>
                      <a:pt x="354" y="70"/>
                    </a:lnTo>
                    <a:lnTo>
                      <a:pt x="351" y="68"/>
                    </a:lnTo>
                    <a:lnTo>
                      <a:pt x="348" y="63"/>
                    </a:lnTo>
                    <a:lnTo>
                      <a:pt x="345" y="59"/>
                    </a:lnTo>
                    <a:lnTo>
                      <a:pt x="341" y="57"/>
                    </a:lnTo>
                    <a:lnTo>
                      <a:pt x="337" y="54"/>
                    </a:lnTo>
                    <a:lnTo>
                      <a:pt x="333" y="53"/>
                    </a:lnTo>
                    <a:lnTo>
                      <a:pt x="332" y="48"/>
                    </a:lnTo>
                    <a:lnTo>
                      <a:pt x="332" y="45"/>
                    </a:lnTo>
                    <a:lnTo>
                      <a:pt x="329" y="40"/>
                    </a:lnTo>
                    <a:lnTo>
                      <a:pt x="326" y="37"/>
                    </a:lnTo>
                    <a:lnTo>
                      <a:pt x="332" y="33"/>
                    </a:lnTo>
                    <a:lnTo>
                      <a:pt x="323" y="20"/>
                    </a:lnTo>
                    <a:lnTo>
                      <a:pt x="329" y="21"/>
                    </a:lnTo>
                    <a:lnTo>
                      <a:pt x="312" y="26"/>
                    </a:lnTo>
                    <a:lnTo>
                      <a:pt x="310" y="23"/>
                    </a:lnTo>
                    <a:lnTo>
                      <a:pt x="305" y="21"/>
                    </a:lnTo>
                    <a:lnTo>
                      <a:pt x="311" y="16"/>
                    </a:lnTo>
                    <a:lnTo>
                      <a:pt x="311" y="12"/>
                    </a:lnTo>
                    <a:lnTo>
                      <a:pt x="313" y="7"/>
                    </a:lnTo>
                    <a:lnTo>
                      <a:pt x="309" y="14"/>
                    </a:lnTo>
                    <a:lnTo>
                      <a:pt x="304" y="19"/>
                    </a:lnTo>
                    <a:lnTo>
                      <a:pt x="296" y="27"/>
                    </a:lnTo>
                    <a:lnTo>
                      <a:pt x="296" y="23"/>
                    </a:lnTo>
                    <a:lnTo>
                      <a:pt x="297" y="17"/>
                    </a:lnTo>
                    <a:lnTo>
                      <a:pt x="293" y="16"/>
                    </a:lnTo>
                    <a:lnTo>
                      <a:pt x="290" y="13"/>
                    </a:lnTo>
                    <a:lnTo>
                      <a:pt x="286" y="16"/>
                    </a:lnTo>
                    <a:lnTo>
                      <a:pt x="282" y="17"/>
                    </a:lnTo>
                    <a:lnTo>
                      <a:pt x="281" y="15"/>
                    </a:lnTo>
                    <a:lnTo>
                      <a:pt x="281" y="10"/>
                    </a:lnTo>
                    <a:lnTo>
                      <a:pt x="282" y="5"/>
                    </a:lnTo>
                    <a:lnTo>
                      <a:pt x="284" y="1"/>
                    </a:lnTo>
                    <a:lnTo>
                      <a:pt x="276" y="0"/>
                    </a:lnTo>
                    <a:lnTo>
                      <a:pt x="273" y="3"/>
                    </a:lnTo>
                    <a:lnTo>
                      <a:pt x="268" y="6"/>
                    </a:lnTo>
                    <a:lnTo>
                      <a:pt x="264" y="8"/>
                    </a:lnTo>
                    <a:lnTo>
                      <a:pt x="263" y="12"/>
                    </a:lnTo>
                    <a:lnTo>
                      <a:pt x="261" y="17"/>
                    </a:lnTo>
                    <a:lnTo>
                      <a:pt x="261" y="20"/>
                    </a:lnTo>
                    <a:lnTo>
                      <a:pt x="257" y="23"/>
                    </a:lnTo>
                    <a:lnTo>
                      <a:pt x="255" y="28"/>
                    </a:lnTo>
                    <a:lnTo>
                      <a:pt x="251" y="31"/>
                    </a:lnTo>
                    <a:lnTo>
                      <a:pt x="247" y="34"/>
                    </a:lnTo>
                    <a:lnTo>
                      <a:pt x="243" y="38"/>
                    </a:lnTo>
                    <a:lnTo>
                      <a:pt x="239" y="40"/>
                    </a:lnTo>
                    <a:lnTo>
                      <a:pt x="237" y="45"/>
                    </a:lnTo>
                    <a:lnTo>
                      <a:pt x="236" y="49"/>
                    </a:lnTo>
                    <a:lnTo>
                      <a:pt x="240" y="50"/>
                    </a:lnTo>
                    <a:lnTo>
                      <a:pt x="242" y="56"/>
                    </a:lnTo>
                    <a:lnTo>
                      <a:pt x="242" y="59"/>
                    </a:lnTo>
                    <a:lnTo>
                      <a:pt x="235" y="69"/>
                    </a:lnTo>
                    <a:lnTo>
                      <a:pt x="238" y="66"/>
                    </a:lnTo>
                    <a:lnTo>
                      <a:pt x="232" y="72"/>
                    </a:lnTo>
                    <a:lnTo>
                      <a:pt x="229" y="72"/>
                    </a:lnTo>
                    <a:lnTo>
                      <a:pt x="233" y="79"/>
                    </a:lnTo>
                    <a:lnTo>
                      <a:pt x="229" y="79"/>
                    </a:lnTo>
                    <a:lnTo>
                      <a:pt x="224" y="82"/>
                    </a:lnTo>
                    <a:lnTo>
                      <a:pt x="220" y="85"/>
                    </a:lnTo>
                    <a:lnTo>
                      <a:pt x="216" y="87"/>
                    </a:lnTo>
                    <a:lnTo>
                      <a:pt x="212" y="89"/>
                    </a:lnTo>
                    <a:lnTo>
                      <a:pt x="208" y="95"/>
                    </a:lnTo>
                    <a:lnTo>
                      <a:pt x="206" y="99"/>
                    </a:lnTo>
                    <a:lnTo>
                      <a:pt x="202" y="106"/>
                    </a:lnTo>
                    <a:lnTo>
                      <a:pt x="198" y="110"/>
                    </a:lnTo>
                    <a:lnTo>
                      <a:pt x="194" y="114"/>
                    </a:lnTo>
                    <a:lnTo>
                      <a:pt x="191" y="120"/>
                    </a:lnTo>
                    <a:lnTo>
                      <a:pt x="185" y="126"/>
                    </a:lnTo>
                    <a:lnTo>
                      <a:pt x="181" y="131"/>
                    </a:lnTo>
                    <a:lnTo>
                      <a:pt x="178" y="134"/>
                    </a:lnTo>
                    <a:lnTo>
                      <a:pt x="173" y="137"/>
                    </a:lnTo>
                    <a:lnTo>
                      <a:pt x="167" y="140"/>
                    </a:lnTo>
                    <a:lnTo>
                      <a:pt x="162" y="142"/>
                    </a:lnTo>
                    <a:lnTo>
                      <a:pt x="159" y="144"/>
                    </a:lnTo>
                    <a:lnTo>
                      <a:pt x="154" y="148"/>
                    </a:lnTo>
                    <a:lnTo>
                      <a:pt x="153" y="152"/>
                    </a:lnTo>
                    <a:lnTo>
                      <a:pt x="153" y="156"/>
                    </a:lnTo>
                    <a:lnTo>
                      <a:pt x="154" y="160"/>
                    </a:lnTo>
                    <a:lnTo>
                      <a:pt x="155" y="167"/>
                    </a:lnTo>
                    <a:lnTo>
                      <a:pt x="155" y="170"/>
                    </a:lnTo>
                    <a:lnTo>
                      <a:pt x="154" y="175"/>
                    </a:lnTo>
                    <a:lnTo>
                      <a:pt x="156" y="179"/>
                    </a:lnTo>
                    <a:lnTo>
                      <a:pt x="159" y="182"/>
                    </a:lnTo>
                    <a:lnTo>
                      <a:pt x="159" y="186"/>
                    </a:lnTo>
                    <a:lnTo>
                      <a:pt x="160" y="190"/>
                    </a:lnTo>
                    <a:lnTo>
                      <a:pt x="161" y="196"/>
                    </a:lnTo>
                    <a:lnTo>
                      <a:pt x="159" y="202"/>
                    </a:lnTo>
                    <a:lnTo>
                      <a:pt x="160" y="209"/>
                    </a:lnTo>
                    <a:lnTo>
                      <a:pt x="161" y="213"/>
                    </a:lnTo>
                    <a:lnTo>
                      <a:pt x="161" y="217"/>
                    </a:lnTo>
                    <a:lnTo>
                      <a:pt x="157" y="220"/>
                    </a:lnTo>
                    <a:lnTo>
                      <a:pt x="153" y="222"/>
                    </a:lnTo>
                    <a:lnTo>
                      <a:pt x="148" y="223"/>
                    </a:lnTo>
                    <a:lnTo>
                      <a:pt x="144" y="224"/>
                    </a:lnTo>
                    <a:lnTo>
                      <a:pt x="137" y="225"/>
                    </a:lnTo>
                    <a:lnTo>
                      <a:pt x="132" y="227"/>
                    </a:lnTo>
                    <a:lnTo>
                      <a:pt x="129" y="232"/>
                    </a:lnTo>
                    <a:lnTo>
                      <a:pt x="124" y="234"/>
                    </a:lnTo>
                    <a:lnTo>
                      <a:pt x="120" y="235"/>
                    </a:lnTo>
                    <a:lnTo>
                      <a:pt x="119" y="240"/>
                    </a:lnTo>
                    <a:lnTo>
                      <a:pt x="114" y="243"/>
                    </a:lnTo>
                    <a:lnTo>
                      <a:pt x="113" y="246"/>
                    </a:lnTo>
                    <a:lnTo>
                      <a:pt x="112" y="251"/>
                    </a:lnTo>
                    <a:lnTo>
                      <a:pt x="109" y="256"/>
                    </a:lnTo>
                    <a:lnTo>
                      <a:pt x="110" y="260"/>
                    </a:lnTo>
                    <a:lnTo>
                      <a:pt x="110" y="264"/>
                    </a:lnTo>
                    <a:lnTo>
                      <a:pt x="106" y="266"/>
                    </a:lnTo>
                    <a:lnTo>
                      <a:pt x="101" y="267"/>
                    </a:lnTo>
                    <a:lnTo>
                      <a:pt x="98" y="270"/>
                    </a:lnTo>
                    <a:lnTo>
                      <a:pt x="93" y="268"/>
                    </a:lnTo>
                    <a:lnTo>
                      <a:pt x="88" y="267"/>
                    </a:lnTo>
                    <a:lnTo>
                      <a:pt x="86" y="263"/>
                    </a:lnTo>
                    <a:lnTo>
                      <a:pt x="80" y="261"/>
                    </a:lnTo>
                    <a:lnTo>
                      <a:pt x="73" y="260"/>
                    </a:lnTo>
                    <a:lnTo>
                      <a:pt x="66" y="261"/>
                    </a:lnTo>
                    <a:lnTo>
                      <a:pt x="61" y="260"/>
                    </a:lnTo>
                    <a:lnTo>
                      <a:pt x="57" y="263"/>
                    </a:lnTo>
                    <a:lnTo>
                      <a:pt x="53" y="263"/>
                    </a:lnTo>
                    <a:lnTo>
                      <a:pt x="50" y="268"/>
                    </a:lnTo>
                    <a:lnTo>
                      <a:pt x="49" y="272"/>
                    </a:lnTo>
                    <a:lnTo>
                      <a:pt x="49" y="277"/>
                    </a:lnTo>
                    <a:lnTo>
                      <a:pt x="48" y="280"/>
                    </a:lnTo>
                    <a:lnTo>
                      <a:pt x="46" y="285"/>
                    </a:lnTo>
                    <a:lnTo>
                      <a:pt x="42" y="290"/>
                    </a:lnTo>
                    <a:lnTo>
                      <a:pt x="38" y="290"/>
                    </a:lnTo>
                    <a:lnTo>
                      <a:pt x="33" y="291"/>
                    </a:lnTo>
                    <a:lnTo>
                      <a:pt x="29" y="292"/>
                    </a:lnTo>
                    <a:lnTo>
                      <a:pt x="24" y="290"/>
                    </a:lnTo>
                    <a:lnTo>
                      <a:pt x="20" y="289"/>
                    </a:lnTo>
                    <a:lnTo>
                      <a:pt x="14" y="287"/>
                    </a:lnTo>
                    <a:lnTo>
                      <a:pt x="13" y="292"/>
                    </a:lnTo>
                    <a:lnTo>
                      <a:pt x="11" y="295"/>
                    </a:lnTo>
                    <a:lnTo>
                      <a:pt x="9" y="300"/>
                    </a:lnTo>
                    <a:lnTo>
                      <a:pt x="13" y="304"/>
                    </a:lnTo>
                    <a:lnTo>
                      <a:pt x="10" y="308"/>
                    </a:lnTo>
                    <a:lnTo>
                      <a:pt x="7" y="311"/>
                    </a:lnTo>
                    <a:lnTo>
                      <a:pt x="5" y="315"/>
                    </a:lnTo>
                    <a:lnTo>
                      <a:pt x="0" y="316"/>
                    </a:lnTo>
                    <a:lnTo>
                      <a:pt x="1" y="320"/>
                    </a:lnTo>
                    <a:lnTo>
                      <a:pt x="1" y="324"/>
                    </a:lnTo>
                    <a:lnTo>
                      <a:pt x="2" y="329"/>
                    </a:lnTo>
                    <a:lnTo>
                      <a:pt x="2" y="332"/>
                    </a:lnTo>
                    <a:lnTo>
                      <a:pt x="5" y="336"/>
                    </a:lnTo>
                    <a:lnTo>
                      <a:pt x="8" y="340"/>
                    </a:lnTo>
                    <a:lnTo>
                      <a:pt x="11" y="344"/>
                    </a:lnTo>
                    <a:lnTo>
                      <a:pt x="15" y="345"/>
                    </a:lnTo>
                    <a:lnTo>
                      <a:pt x="21" y="348"/>
                    </a:lnTo>
                    <a:lnTo>
                      <a:pt x="23" y="353"/>
                    </a:lnTo>
                    <a:lnTo>
                      <a:pt x="28" y="352"/>
                    </a:lnTo>
                    <a:lnTo>
                      <a:pt x="32" y="352"/>
                    </a:lnTo>
                    <a:lnTo>
                      <a:pt x="37" y="351"/>
                    </a:lnTo>
                    <a:lnTo>
                      <a:pt x="41" y="352"/>
                    </a:lnTo>
                    <a:lnTo>
                      <a:pt x="46" y="353"/>
                    </a:lnTo>
                    <a:lnTo>
                      <a:pt x="51" y="355"/>
                    </a:lnTo>
                    <a:lnTo>
                      <a:pt x="56" y="357"/>
                    </a:lnTo>
                    <a:lnTo>
                      <a:pt x="60" y="359"/>
                    </a:lnTo>
                    <a:lnTo>
                      <a:pt x="65" y="358"/>
                    </a:lnTo>
                    <a:lnTo>
                      <a:pt x="65" y="355"/>
                    </a:lnTo>
                    <a:lnTo>
                      <a:pt x="69" y="355"/>
                    </a:lnTo>
                    <a:lnTo>
                      <a:pt x="74" y="356"/>
                    </a:lnTo>
                    <a:lnTo>
                      <a:pt x="78" y="359"/>
                    </a:lnTo>
                    <a:lnTo>
                      <a:pt x="83" y="363"/>
                    </a:lnTo>
                    <a:lnTo>
                      <a:pt x="87" y="365"/>
                    </a:lnTo>
                    <a:lnTo>
                      <a:pt x="93" y="366"/>
                    </a:lnTo>
                    <a:lnTo>
                      <a:pt x="95" y="370"/>
                    </a:lnTo>
                    <a:lnTo>
                      <a:pt x="100" y="371"/>
                    </a:lnTo>
                    <a:lnTo>
                      <a:pt x="105" y="372"/>
                    </a:lnTo>
                    <a:lnTo>
                      <a:pt x="107" y="377"/>
                    </a:lnTo>
                    <a:lnTo>
                      <a:pt x="112" y="376"/>
                    </a:lnTo>
                    <a:lnTo>
                      <a:pt x="116" y="374"/>
                    </a:lnTo>
                    <a:lnTo>
                      <a:pt x="121" y="375"/>
                    </a:lnTo>
                    <a:lnTo>
                      <a:pt x="125" y="376"/>
                    </a:lnTo>
                    <a:lnTo>
                      <a:pt x="132" y="377"/>
                    </a:lnTo>
                    <a:lnTo>
                      <a:pt x="138" y="378"/>
                    </a:lnTo>
                    <a:lnTo>
                      <a:pt x="140" y="383"/>
                    </a:lnTo>
                    <a:lnTo>
                      <a:pt x="144" y="382"/>
                    </a:lnTo>
                    <a:lnTo>
                      <a:pt x="149" y="383"/>
                    </a:lnTo>
                    <a:lnTo>
                      <a:pt x="154" y="384"/>
                    </a:lnTo>
                    <a:lnTo>
                      <a:pt x="159" y="386"/>
                    </a:lnTo>
                    <a:lnTo>
                      <a:pt x="164" y="386"/>
                    </a:lnTo>
                    <a:lnTo>
                      <a:pt x="168" y="385"/>
                    </a:lnTo>
                    <a:lnTo>
                      <a:pt x="173" y="386"/>
                    </a:lnTo>
                    <a:lnTo>
                      <a:pt x="177" y="388"/>
                    </a:lnTo>
                    <a:lnTo>
                      <a:pt x="180" y="392"/>
                    </a:lnTo>
                    <a:lnTo>
                      <a:pt x="185" y="393"/>
                    </a:lnTo>
                    <a:lnTo>
                      <a:pt x="189" y="392"/>
                    </a:lnTo>
                    <a:lnTo>
                      <a:pt x="194" y="392"/>
                    </a:lnTo>
                    <a:lnTo>
                      <a:pt x="198" y="391"/>
                    </a:lnTo>
                    <a:lnTo>
                      <a:pt x="205" y="395"/>
                    </a:lnTo>
                    <a:lnTo>
                      <a:pt x="215" y="401"/>
                    </a:lnTo>
                    <a:lnTo>
                      <a:pt x="211" y="398"/>
                    </a:lnTo>
                    <a:lnTo>
                      <a:pt x="220" y="399"/>
                    </a:lnTo>
                    <a:lnTo>
                      <a:pt x="229" y="399"/>
                    </a:lnTo>
                    <a:lnTo>
                      <a:pt x="226" y="398"/>
                    </a:lnTo>
                    <a:lnTo>
                      <a:pt x="236" y="399"/>
                    </a:lnTo>
                    <a:lnTo>
                      <a:pt x="239" y="402"/>
                    </a:lnTo>
                    <a:lnTo>
                      <a:pt x="248" y="402"/>
                    </a:lnTo>
                    <a:lnTo>
                      <a:pt x="254" y="404"/>
                    </a:lnTo>
                    <a:lnTo>
                      <a:pt x="257" y="405"/>
                    </a:lnTo>
                    <a:lnTo>
                      <a:pt x="269" y="407"/>
                    </a:lnTo>
                    <a:lnTo>
                      <a:pt x="268" y="408"/>
                    </a:lnTo>
                    <a:lnTo>
                      <a:pt x="263" y="407"/>
                    </a:lnTo>
                    <a:lnTo>
                      <a:pt x="280" y="410"/>
                    </a:lnTo>
                    <a:lnTo>
                      <a:pt x="277" y="414"/>
                    </a:lnTo>
                    <a:lnTo>
                      <a:pt x="286" y="416"/>
                    </a:lnTo>
                    <a:lnTo>
                      <a:pt x="285" y="404"/>
                    </a:lnTo>
                    <a:lnTo>
                      <a:pt x="291" y="406"/>
                    </a:lnTo>
                    <a:lnTo>
                      <a:pt x="292" y="401"/>
                    </a:lnTo>
                    <a:lnTo>
                      <a:pt x="296" y="397"/>
                    </a:lnTo>
                    <a:lnTo>
                      <a:pt x="301" y="396"/>
                    </a:lnTo>
                    <a:lnTo>
                      <a:pt x="305" y="396"/>
                    </a:lnTo>
                    <a:lnTo>
                      <a:pt x="309" y="395"/>
                    </a:lnTo>
                    <a:lnTo>
                      <a:pt x="314" y="395"/>
                    </a:lnTo>
                    <a:lnTo>
                      <a:pt x="318" y="394"/>
                    </a:lnTo>
                    <a:lnTo>
                      <a:pt x="324" y="395"/>
                    </a:lnTo>
                    <a:lnTo>
                      <a:pt x="326" y="399"/>
                    </a:lnTo>
                    <a:lnTo>
                      <a:pt x="330" y="400"/>
                    </a:lnTo>
                    <a:lnTo>
                      <a:pt x="335" y="400"/>
                    </a:lnTo>
                    <a:lnTo>
                      <a:pt x="337" y="395"/>
                    </a:lnTo>
                    <a:lnTo>
                      <a:pt x="336" y="392"/>
                    </a:lnTo>
                    <a:lnTo>
                      <a:pt x="336" y="387"/>
                    </a:lnTo>
                    <a:lnTo>
                      <a:pt x="333" y="383"/>
                    </a:lnTo>
                    <a:lnTo>
                      <a:pt x="333" y="380"/>
                    </a:lnTo>
                    <a:lnTo>
                      <a:pt x="334" y="375"/>
                    </a:lnTo>
                    <a:lnTo>
                      <a:pt x="336" y="371"/>
                    </a:lnTo>
                    <a:lnTo>
                      <a:pt x="338" y="366"/>
                    </a:lnTo>
                    <a:lnTo>
                      <a:pt x="339" y="362"/>
                    </a:lnTo>
                    <a:lnTo>
                      <a:pt x="341" y="358"/>
                    </a:lnTo>
                    <a:lnTo>
                      <a:pt x="345" y="355"/>
                    </a:lnTo>
                    <a:lnTo>
                      <a:pt x="347" y="350"/>
                    </a:lnTo>
                    <a:lnTo>
                      <a:pt x="348" y="346"/>
                    </a:lnTo>
                    <a:lnTo>
                      <a:pt x="346" y="343"/>
                    </a:lnTo>
                    <a:lnTo>
                      <a:pt x="345" y="338"/>
                    </a:lnTo>
                    <a:lnTo>
                      <a:pt x="345" y="334"/>
                    </a:lnTo>
                    <a:lnTo>
                      <a:pt x="348" y="331"/>
                    </a:lnTo>
                    <a:lnTo>
                      <a:pt x="353" y="331"/>
                    </a:lnTo>
                    <a:lnTo>
                      <a:pt x="356" y="330"/>
                    </a:lnTo>
                    <a:lnTo>
                      <a:pt x="361" y="330"/>
                    </a:lnTo>
                    <a:lnTo>
                      <a:pt x="365" y="329"/>
                    </a:lnTo>
                    <a:lnTo>
                      <a:pt x="370" y="328"/>
                    </a:lnTo>
                    <a:lnTo>
                      <a:pt x="374" y="328"/>
                    </a:lnTo>
                    <a:lnTo>
                      <a:pt x="379" y="327"/>
                    </a:lnTo>
                    <a:lnTo>
                      <a:pt x="383" y="327"/>
                    </a:lnTo>
                    <a:lnTo>
                      <a:pt x="388" y="328"/>
                    </a:lnTo>
                    <a:lnTo>
                      <a:pt x="392" y="328"/>
                    </a:lnTo>
                    <a:lnTo>
                      <a:pt x="397" y="329"/>
                    </a:lnTo>
                    <a:lnTo>
                      <a:pt x="402" y="328"/>
                    </a:lnTo>
                    <a:lnTo>
                      <a:pt x="406" y="328"/>
                    </a:lnTo>
                    <a:lnTo>
                      <a:pt x="411" y="327"/>
                    </a:lnTo>
                    <a:lnTo>
                      <a:pt x="415" y="326"/>
                    </a:lnTo>
                    <a:lnTo>
                      <a:pt x="420" y="326"/>
                    </a:lnTo>
                    <a:lnTo>
                      <a:pt x="415" y="322"/>
                    </a:lnTo>
                    <a:lnTo>
                      <a:pt x="414" y="319"/>
                    </a:lnTo>
                    <a:lnTo>
                      <a:pt x="414" y="314"/>
                    </a:lnTo>
                    <a:lnTo>
                      <a:pt x="418" y="311"/>
                    </a:lnTo>
                    <a:lnTo>
                      <a:pt x="420" y="308"/>
                    </a:lnTo>
                    <a:lnTo>
                      <a:pt x="417" y="303"/>
                    </a:lnTo>
                    <a:lnTo>
                      <a:pt x="414" y="300"/>
                    </a:lnTo>
                    <a:lnTo>
                      <a:pt x="411" y="296"/>
                    </a:lnTo>
                    <a:lnTo>
                      <a:pt x="416" y="293"/>
                    </a:lnTo>
                    <a:lnTo>
                      <a:pt x="415" y="289"/>
                    </a:lnTo>
                    <a:lnTo>
                      <a:pt x="415" y="285"/>
                    </a:lnTo>
                    <a:lnTo>
                      <a:pt x="410" y="284"/>
                    </a:lnTo>
                    <a:lnTo>
                      <a:pt x="407" y="279"/>
                    </a:lnTo>
                    <a:lnTo>
                      <a:pt x="404" y="276"/>
                    </a:lnTo>
                    <a:lnTo>
                      <a:pt x="406" y="272"/>
                    </a:lnTo>
                    <a:lnTo>
                      <a:pt x="405" y="267"/>
                    </a:lnTo>
                    <a:lnTo>
                      <a:pt x="405" y="264"/>
                    </a:lnTo>
                    <a:lnTo>
                      <a:pt x="406" y="257"/>
                    </a:lnTo>
                    <a:lnTo>
                      <a:pt x="405" y="253"/>
                    </a:lnTo>
                    <a:lnTo>
                      <a:pt x="405" y="249"/>
                    </a:lnTo>
                    <a:lnTo>
                      <a:pt x="404" y="244"/>
                    </a:lnTo>
                    <a:lnTo>
                      <a:pt x="404" y="241"/>
                    </a:lnTo>
                    <a:lnTo>
                      <a:pt x="403" y="234"/>
                    </a:lnTo>
                    <a:lnTo>
                      <a:pt x="398" y="231"/>
                    </a:lnTo>
                    <a:lnTo>
                      <a:pt x="393" y="231"/>
                    </a:lnTo>
                    <a:lnTo>
                      <a:pt x="389" y="226"/>
                    </a:lnTo>
                    <a:lnTo>
                      <a:pt x="385" y="223"/>
                    </a:lnTo>
                    <a:lnTo>
                      <a:pt x="381" y="219"/>
                    </a:lnTo>
                    <a:lnTo>
                      <a:pt x="377" y="216"/>
                    </a:lnTo>
                    <a:lnTo>
                      <a:pt x="373" y="216"/>
                    </a:lnTo>
                    <a:lnTo>
                      <a:pt x="368" y="217"/>
                    </a:lnTo>
                    <a:lnTo>
                      <a:pt x="364" y="219"/>
                    </a:lnTo>
                    <a:lnTo>
                      <a:pt x="359" y="215"/>
                    </a:lnTo>
                    <a:lnTo>
                      <a:pt x="356" y="211"/>
                    </a:lnTo>
                    <a:lnTo>
                      <a:pt x="356" y="208"/>
                    </a:lnTo>
                    <a:lnTo>
                      <a:pt x="357" y="203"/>
                    </a:lnTo>
                    <a:lnTo>
                      <a:pt x="357" y="200"/>
                    </a:lnTo>
                    <a:lnTo>
                      <a:pt x="359" y="195"/>
                    </a:lnTo>
                    <a:lnTo>
                      <a:pt x="363" y="196"/>
                    </a:lnTo>
                    <a:lnTo>
                      <a:pt x="365" y="192"/>
                    </a:lnTo>
                    <a:lnTo>
                      <a:pt x="361" y="196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8" name="Freeform 79"/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 rot="-459984">
                <a:off x="2920505" y="3845654"/>
                <a:ext cx="370397" cy="218858"/>
              </a:xfrm>
              <a:custGeom>
                <a:avLst/>
                <a:gdLst>
                  <a:gd name="T0" fmla="*/ 2147483647 w 266"/>
                  <a:gd name="T1" fmla="*/ 2147483647 h 164"/>
                  <a:gd name="T2" fmla="*/ 2147483647 w 266"/>
                  <a:gd name="T3" fmla="*/ 2147483647 h 164"/>
                  <a:gd name="T4" fmla="*/ 2147483647 w 266"/>
                  <a:gd name="T5" fmla="*/ 2147483647 h 164"/>
                  <a:gd name="T6" fmla="*/ 2147483647 w 266"/>
                  <a:gd name="T7" fmla="*/ 2147483647 h 164"/>
                  <a:gd name="T8" fmla="*/ 2147483647 w 266"/>
                  <a:gd name="T9" fmla="*/ 2147483647 h 164"/>
                  <a:gd name="T10" fmla="*/ 2147483647 w 266"/>
                  <a:gd name="T11" fmla="*/ 2147483647 h 164"/>
                  <a:gd name="T12" fmla="*/ 2147483647 w 266"/>
                  <a:gd name="T13" fmla="*/ 2147483647 h 164"/>
                  <a:gd name="T14" fmla="*/ 2147483647 w 266"/>
                  <a:gd name="T15" fmla="*/ 2147483647 h 164"/>
                  <a:gd name="T16" fmla="*/ 2147483647 w 266"/>
                  <a:gd name="T17" fmla="*/ 2147483647 h 164"/>
                  <a:gd name="T18" fmla="*/ 2147483647 w 266"/>
                  <a:gd name="T19" fmla="*/ 2147483647 h 164"/>
                  <a:gd name="T20" fmla="*/ 2147483647 w 266"/>
                  <a:gd name="T21" fmla="*/ 2147483647 h 164"/>
                  <a:gd name="T22" fmla="*/ 2147483647 w 266"/>
                  <a:gd name="T23" fmla="*/ 2147483647 h 164"/>
                  <a:gd name="T24" fmla="*/ 2147483647 w 266"/>
                  <a:gd name="T25" fmla="*/ 2147483647 h 164"/>
                  <a:gd name="T26" fmla="*/ 2147483647 w 266"/>
                  <a:gd name="T27" fmla="*/ 2147483647 h 164"/>
                  <a:gd name="T28" fmla="*/ 2147483647 w 266"/>
                  <a:gd name="T29" fmla="*/ 2147483647 h 164"/>
                  <a:gd name="T30" fmla="*/ 2147483647 w 266"/>
                  <a:gd name="T31" fmla="*/ 2147483647 h 164"/>
                  <a:gd name="T32" fmla="*/ 2147483647 w 266"/>
                  <a:gd name="T33" fmla="*/ 2147483647 h 164"/>
                  <a:gd name="T34" fmla="*/ 2147483647 w 266"/>
                  <a:gd name="T35" fmla="*/ 2147483647 h 164"/>
                  <a:gd name="T36" fmla="*/ 0 w 266"/>
                  <a:gd name="T37" fmla="*/ 2147483647 h 164"/>
                  <a:gd name="T38" fmla="*/ 2147483647 w 266"/>
                  <a:gd name="T39" fmla="*/ 2147483647 h 164"/>
                  <a:gd name="T40" fmla="*/ 2147483647 w 266"/>
                  <a:gd name="T41" fmla="*/ 2147483647 h 164"/>
                  <a:gd name="T42" fmla="*/ 2147483647 w 266"/>
                  <a:gd name="T43" fmla="*/ 2147483647 h 164"/>
                  <a:gd name="T44" fmla="*/ 2147483647 w 266"/>
                  <a:gd name="T45" fmla="*/ 2147483647 h 164"/>
                  <a:gd name="T46" fmla="*/ 2147483647 w 266"/>
                  <a:gd name="T47" fmla="*/ 2147483647 h 164"/>
                  <a:gd name="T48" fmla="*/ 2147483647 w 266"/>
                  <a:gd name="T49" fmla="*/ 2147483647 h 164"/>
                  <a:gd name="T50" fmla="*/ 2147483647 w 266"/>
                  <a:gd name="T51" fmla="*/ 2147483647 h 164"/>
                  <a:gd name="T52" fmla="*/ 2147483647 w 266"/>
                  <a:gd name="T53" fmla="*/ 2147483647 h 164"/>
                  <a:gd name="T54" fmla="*/ 2147483647 w 266"/>
                  <a:gd name="T55" fmla="*/ 2147483647 h 164"/>
                  <a:gd name="T56" fmla="*/ 2147483647 w 266"/>
                  <a:gd name="T57" fmla="*/ 2147483647 h 164"/>
                  <a:gd name="T58" fmla="*/ 2147483647 w 266"/>
                  <a:gd name="T59" fmla="*/ 2147483647 h 164"/>
                  <a:gd name="T60" fmla="*/ 2147483647 w 266"/>
                  <a:gd name="T61" fmla="*/ 2147483647 h 164"/>
                  <a:gd name="T62" fmla="*/ 2147483647 w 266"/>
                  <a:gd name="T63" fmla="*/ 2147483647 h 164"/>
                  <a:gd name="T64" fmla="*/ 2147483647 w 266"/>
                  <a:gd name="T65" fmla="*/ 2147483647 h 164"/>
                  <a:gd name="T66" fmla="*/ 2147483647 w 266"/>
                  <a:gd name="T67" fmla="*/ 2147483647 h 164"/>
                  <a:gd name="T68" fmla="*/ 2147483647 w 266"/>
                  <a:gd name="T69" fmla="*/ 2147483647 h 164"/>
                  <a:gd name="T70" fmla="*/ 2147483647 w 266"/>
                  <a:gd name="T71" fmla="*/ 2147483647 h 164"/>
                  <a:gd name="T72" fmla="*/ 2147483647 w 266"/>
                  <a:gd name="T73" fmla="*/ 2147483647 h 164"/>
                  <a:gd name="T74" fmla="*/ 2147483647 w 266"/>
                  <a:gd name="T75" fmla="*/ 2147483647 h 164"/>
                  <a:gd name="T76" fmla="*/ 2147483647 w 266"/>
                  <a:gd name="T77" fmla="*/ 2147483647 h 164"/>
                  <a:gd name="T78" fmla="*/ 2147483647 w 266"/>
                  <a:gd name="T79" fmla="*/ 2147483647 h 164"/>
                  <a:gd name="T80" fmla="*/ 2147483647 w 266"/>
                  <a:gd name="T81" fmla="*/ 2147483647 h 164"/>
                  <a:gd name="T82" fmla="*/ 2147483647 w 266"/>
                  <a:gd name="T83" fmla="*/ 2147483647 h 164"/>
                  <a:gd name="T84" fmla="*/ 2147483647 w 266"/>
                  <a:gd name="T85" fmla="*/ 2147483647 h 164"/>
                  <a:gd name="T86" fmla="*/ 2147483647 w 266"/>
                  <a:gd name="T87" fmla="*/ 2147483647 h 164"/>
                  <a:gd name="T88" fmla="*/ 2147483647 w 266"/>
                  <a:gd name="T89" fmla="*/ 2147483647 h 164"/>
                  <a:gd name="T90" fmla="*/ 2147483647 w 266"/>
                  <a:gd name="T91" fmla="*/ 2147483647 h 164"/>
                  <a:gd name="T92" fmla="*/ 2147483647 w 266"/>
                  <a:gd name="T93" fmla="*/ 2147483647 h 164"/>
                  <a:gd name="T94" fmla="*/ 2147483647 w 266"/>
                  <a:gd name="T95" fmla="*/ 2147483647 h 164"/>
                  <a:gd name="T96" fmla="*/ 2147483647 w 266"/>
                  <a:gd name="T97" fmla="*/ 2147483647 h 164"/>
                  <a:gd name="T98" fmla="*/ 2147483647 w 266"/>
                  <a:gd name="T99" fmla="*/ 2147483647 h 164"/>
                  <a:gd name="T100" fmla="*/ 2147483647 w 266"/>
                  <a:gd name="T101" fmla="*/ 2147483647 h 164"/>
                  <a:gd name="T102" fmla="*/ 2147483647 w 266"/>
                  <a:gd name="T103" fmla="*/ 2147483647 h 164"/>
                  <a:gd name="T104" fmla="*/ 2147483647 w 266"/>
                  <a:gd name="T105" fmla="*/ 2147483647 h 164"/>
                  <a:gd name="T106" fmla="*/ 2147483647 w 266"/>
                  <a:gd name="T107" fmla="*/ 2147483647 h 164"/>
                  <a:gd name="T108" fmla="*/ 2147483647 w 266"/>
                  <a:gd name="T109" fmla="*/ 2147483647 h 164"/>
                  <a:gd name="T110" fmla="*/ 2147483647 w 266"/>
                  <a:gd name="T111" fmla="*/ 2147483647 h 164"/>
                  <a:gd name="T112" fmla="*/ 2147483647 w 266"/>
                  <a:gd name="T113" fmla="*/ 2147483647 h 164"/>
                  <a:gd name="T114" fmla="*/ 2147483647 w 266"/>
                  <a:gd name="T115" fmla="*/ 2147483647 h 164"/>
                  <a:gd name="T116" fmla="*/ 2147483647 w 266"/>
                  <a:gd name="T117" fmla="*/ 2147483647 h 164"/>
                  <a:gd name="T118" fmla="*/ 2147483647 w 266"/>
                  <a:gd name="T119" fmla="*/ 2147483647 h 164"/>
                  <a:gd name="T120" fmla="*/ 2147483647 w 266"/>
                  <a:gd name="T121" fmla="*/ 2147483647 h 16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66"/>
                  <a:gd name="T184" fmla="*/ 0 h 164"/>
                  <a:gd name="T185" fmla="*/ 266 w 266"/>
                  <a:gd name="T186" fmla="*/ 164 h 16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66" h="164">
                    <a:moveTo>
                      <a:pt x="169" y="18"/>
                    </a:moveTo>
                    <a:lnTo>
                      <a:pt x="163" y="18"/>
                    </a:lnTo>
                    <a:lnTo>
                      <a:pt x="159" y="18"/>
                    </a:lnTo>
                    <a:lnTo>
                      <a:pt x="155" y="16"/>
                    </a:lnTo>
                    <a:lnTo>
                      <a:pt x="151" y="16"/>
                    </a:lnTo>
                    <a:lnTo>
                      <a:pt x="147" y="18"/>
                    </a:lnTo>
                    <a:lnTo>
                      <a:pt x="143" y="20"/>
                    </a:lnTo>
                    <a:lnTo>
                      <a:pt x="139" y="22"/>
                    </a:lnTo>
                    <a:lnTo>
                      <a:pt x="135" y="24"/>
                    </a:lnTo>
                    <a:lnTo>
                      <a:pt x="132" y="26"/>
                    </a:lnTo>
                    <a:lnTo>
                      <a:pt x="128" y="26"/>
                    </a:lnTo>
                    <a:lnTo>
                      <a:pt x="124" y="24"/>
                    </a:lnTo>
                    <a:lnTo>
                      <a:pt x="120" y="22"/>
                    </a:lnTo>
                    <a:lnTo>
                      <a:pt x="118" y="18"/>
                    </a:lnTo>
                    <a:lnTo>
                      <a:pt x="116" y="15"/>
                    </a:lnTo>
                    <a:lnTo>
                      <a:pt x="112" y="15"/>
                    </a:lnTo>
                    <a:lnTo>
                      <a:pt x="106" y="13"/>
                    </a:lnTo>
                    <a:lnTo>
                      <a:pt x="102" y="13"/>
                    </a:lnTo>
                    <a:lnTo>
                      <a:pt x="98" y="11"/>
                    </a:lnTo>
                    <a:lnTo>
                      <a:pt x="94" y="11"/>
                    </a:lnTo>
                    <a:lnTo>
                      <a:pt x="90" y="11"/>
                    </a:lnTo>
                    <a:lnTo>
                      <a:pt x="86" y="9"/>
                    </a:lnTo>
                    <a:lnTo>
                      <a:pt x="80" y="5"/>
                    </a:lnTo>
                    <a:lnTo>
                      <a:pt x="76" y="4"/>
                    </a:lnTo>
                    <a:lnTo>
                      <a:pt x="72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58" y="0"/>
                    </a:lnTo>
                    <a:lnTo>
                      <a:pt x="54" y="0"/>
                    </a:lnTo>
                    <a:lnTo>
                      <a:pt x="52" y="4"/>
                    </a:lnTo>
                    <a:lnTo>
                      <a:pt x="48" y="5"/>
                    </a:lnTo>
                    <a:lnTo>
                      <a:pt x="46" y="9"/>
                    </a:lnTo>
                    <a:lnTo>
                      <a:pt x="46" y="13"/>
                    </a:lnTo>
                    <a:lnTo>
                      <a:pt x="46" y="16"/>
                    </a:lnTo>
                    <a:lnTo>
                      <a:pt x="46" y="20"/>
                    </a:lnTo>
                    <a:lnTo>
                      <a:pt x="46" y="24"/>
                    </a:lnTo>
                    <a:lnTo>
                      <a:pt x="44" y="27"/>
                    </a:lnTo>
                    <a:lnTo>
                      <a:pt x="42" y="31"/>
                    </a:lnTo>
                    <a:lnTo>
                      <a:pt x="40" y="37"/>
                    </a:lnTo>
                    <a:lnTo>
                      <a:pt x="38" y="42"/>
                    </a:lnTo>
                    <a:lnTo>
                      <a:pt x="38" y="46"/>
                    </a:lnTo>
                    <a:lnTo>
                      <a:pt x="38" y="49"/>
                    </a:lnTo>
                    <a:lnTo>
                      <a:pt x="36" y="53"/>
                    </a:lnTo>
                    <a:lnTo>
                      <a:pt x="32" y="53"/>
                    </a:lnTo>
                    <a:lnTo>
                      <a:pt x="28" y="53"/>
                    </a:lnTo>
                    <a:lnTo>
                      <a:pt x="24" y="55"/>
                    </a:lnTo>
                    <a:lnTo>
                      <a:pt x="20" y="55"/>
                    </a:lnTo>
                    <a:lnTo>
                      <a:pt x="20" y="59"/>
                    </a:lnTo>
                    <a:lnTo>
                      <a:pt x="24" y="62"/>
                    </a:lnTo>
                    <a:lnTo>
                      <a:pt x="24" y="66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70"/>
                    </a:lnTo>
                    <a:lnTo>
                      <a:pt x="0" y="73"/>
                    </a:lnTo>
                    <a:lnTo>
                      <a:pt x="2" y="77"/>
                    </a:lnTo>
                    <a:lnTo>
                      <a:pt x="6" y="79"/>
                    </a:lnTo>
                    <a:lnTo>
                      <a:pt x="10" y="82"/>
                    </a:lnTo>
                    <a:lnTo>
                      <a:pt x="12" y="86"/>
                    </a:lnTo>
                    <a:lnTo>
                      <a:pt x="14" y="90"/>
                    </a:lnTo>
                    <a:lnTo>
                      <a:pt x="18" y="92"/>
                    </a:lnTo>
                    <a:lnTo>
                      <a:pt x="20" y="95"/>
                    </a:lnTo>
                    <a:lnTo>
                      <a:pt x="24" y="97"/>
                    </a:lnTo>
                    <a:lnTo>
                      <a:pt x="28" y="99"/>
                    </a:lnTo>
                    <a:lnTo>
                      <a:pt x="30" y="103"/>
                    </a:lnTo>
                    <a:lnTo>
                      <a:pt x="32" y="106"/>
                    </a:lnTo>
                    <a:lnTo>
                      <a:pt x="32" y="110"/>
                    </a:lnTo>
                    <a:lnTo>
                      <a:pt x="30" y="114"/>
                    </a:lnTo>
                    <a:lnTo>
                      <a:pt x="28" y="117"/>
                    </a:lnTo>
                    <a:lnTo>
                      <a:pt x="26" y="121"/>
                    </a:lnTo>
                    <a:lnTo>
                      <a:pt x="26" y="125"/>
                    </a:lnTo>
                    <a:lnTo>
                      <a:pt x="28" y="128"/>
                    </a:lnTo>
                    <a:lnTo>
                      <a:pt x="32" y="130"/>
                    </a:lnTo>
                    <a:lnTo>
                      <a:pt x="36" y="134"/>
                    </a:lnTo>
                    <a:lnTo>
                      <a:pt x="40" y="134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2" y="134"/>
                    </a:lnTo>
                    <a:lnTo>
                      <a:pt x="56" y="136"/>
                    </a:lnTo>
                    <a:lnTo>
                      <a:pt x="60" y="136"/>
                    </a:lnTo>
                    <a:lnTo>
                      <a:pt x="64" y="139"/>
                    </a:lnTo>
                    <a:lnTo>
                      <a:pt x="68" y="141"/>
                    </a:lnTo>
                    <a:lnTo>
                      <a:pt x="72" y="143"/>
                    </a:lnTo>
                    <a:lnTo>
                      <a:pt x="76" y="145"/>
                    </a:lnTo>
                    <a:lnTo>
                      <a:pt x="80" y="145"/>
                    </a:lnTo>
                    <a:lnTo>
                      <a:pt x="84" y="147"/>
                    </a:lnTo>
                    <a:lnTo>
                      <a:pt x="88" y="147"/>
                    </a:lnTo>
                    <a:lnTo>
                      <a:pt x="92" y="148"/>
                    </a:lnTo>
                    <a:lnTo>
                      <a:pt x="94" y="152"/>
                    </a:lnTo>
                    <a:lnTo>
                      <a:pt x="98" y="154"/>
                    </a:lnTo>
                    <a:lnTo>
                      <a:pt x="100" y="158"/>
                    </a:lnTo>
                    <a:lnTo>
                      <a:pt x="102" y="154"/>
                    </a:lnTo>
                    <a:lnTo>
                      <a:pt x="104" y="150"/>
                    </a:lnTo>
                    <a:lnTo>
                      <a:pt x="108" y="148"/>
                    </a:lnTo>
                    <a:lnTo>
                      <a:pt x="112" y="145"/>
                    </a:lnTo>
                    <a:lnTo>
                      <a:pt x="116" y="143"/>
                    </a:lnTo>
                    <a:lnTo>
                      <a:pt x="120" y="141"/>
                    </a:lnTo>
                    <a:lnTo>
                      <a:pt x="124" y="143"/>
                    </a:lnTo>
                    <a:lnTo>
                      <a:pt x="128" y="145"/>
                    </a:lnTo>
                    <a:lnTo>
                      <a:pt x="132" y="147"/>
                    </a:lnTo>
                    <a:lnTo>
                      <a:pt x="133" y="150"/>
                    </a:lnTo>
                    <a:lnTo>
                      <a:pt x="137" y="150"/>
                    </a:lnTo>
                    <a:lnTo>
                      <a:pt x="141" y="152"/>
                    </a:lnTo>
                    <a:lnTo>
                      <a:pt x="147" y="152"/>
                    </a:lnTo>
                    <a:lnTo>
                      <a:pt x="153" y="152"/>
                    </a:lnTo>
                    <a:lnTo>
                      <a:pt x="157" y="154"/>
                    </a:lnTo>
                    <a:lnTo>
                      <a:pt x="161" y="154"/>
                    </a:lnTo>
                    <a:lnTo>
                      <a:pt x="165" y="156"/>
                    </a:lnTo>
                    <a:lnTo>
                      <a:pt x="169" y="156"/>
                    </a:lnTo>
                    <a:lnTo>
                      <a:pt x="173" y="158"/>
                    </a:lnTo>
                    <a:lnTo>
                      <a:pt x="177" y="159"/>
                    </a:lnTo>
                    <a:lnTo>
                      <a:pt x="181" y="161"/>
                    </a:lnTo>
                    <a:lnTo>
                      <a:pt x="185" y="161"/>
                    </a:lnTo>
                    <a:lnTo>
                      <a:pt x="189" y="163"/>
                    </a:lnTo>
                    <a:lnTo>
                      <a:pt x="193" y="163"/>
                    </a:lnTo>
                    <a:lnTo>
                      <a:pt x="197" y="163"/>
                    </a:lnTo>
                    <a:lnTo>
                      <a:pt x="201" y="163"/>
                    </a:lnTo>
                    <a:lnTo>
                      <a:pt x="205" y="163"/>
                    </a:lnTo>
                    <a:lnTo>
                      <a:pt x="209" y="163"/>
                    </a:lnTo>
                    <a:lnTo>
                      <a:pt x="213" y="163"/>
                    </a:lnTo>
                    <a:lnTo>
                      <a:pt x="217" y="163"/>
                    </a:lnTo>
                    <a:lnTo>
                      <a:pt x="221" y="161"/>
                    </a:lnTo>
                    <a:lnTo>
                      <a:pt x="225" y="161"/>
                    </a:lnTo>
                    <a:lnTo>
                      <a:pt x="229" y="161"/>
                    </a:lnTo>
                    <a:lnTo>
                      <a:pt x="231" y="158"/>
                    </a:lnTo>
                    <a:lnTo>
                      <a:pt x="235" y="156"/>
                    </a:lnTo>
                    <a:lnTo>
                      <a:pt x="239" y="154"/>
                    </a:lnTo>
                    <a:lnTo>
                      <a:pt x="243" y="152"/>
                    </a:lnTo>
                    <a:lnTo>
                      <a:pt x="247" y="152"/>
                    </a:lnTo>
                    <a:lnTo>
                      <a:pt x="251" y="152"/>
                    </a:lnTo>
                    <a:lnTo>
                      <a:pt x="255" y="152"/>
                    </a:lnTo>
                    <a:lnTo>
                      <a:pt x="259" y="152"/>
                    </a:lnTo>
                    <a:lnTo>
                      <a:pt x="263" y="152"/>
                    </a:lnTo>
                    <a:lnTo>
                      <a:pt x="265" y="148"/>
                    </a:lnTo>
                    <a:lnTo>
                      <a:pt x="263" y="145"/>
                    </a:lnTo>
                    <a:lnTo>
                      <a:pt x="257" y="141"/>
                    </a:lnTo>
                    <a:lnTo>
                      <a:pt x="255" y="137"/>
                    </a:lnTo>
                    <a:lnTo>
                      <a:pt x="253" y="134"/>
                    </a:lnTo>
                    <a:lnTo>
                      <a:pt x="253" y="130"/>
                    </a:lnTo>
                    <a:lnTo>
                      <a:pt x="253" y="126"/>
                    </a:lnTo>
                    <a:lnTo>
                      <a:pt x="249" y="125"/>
                    </a:lnTo>
                    <a:lnTo>
                      <a:pt x="243" y="121"/>
                    </a:lnTo>
                    <a:lnTo>
                      <a:pt x="239" y="121"/>
                    </a:lnTo>
                    <a:lnTo>
                      <a:pt x="235" y="119"/>
                    </a:lnTo>
                    <a:lnTo>
                      <a:pt x="231" y="119"/>
                    </a:lnTo>
                    <a:lnTo>
                      <a:pt x="229" y="115"/>
                    </a:lnTo>
                    <a:lnTo>
                      <a:pt x="227" y="112"/>
                    </a:lnTo>
                    <a:lnTo>
                      <a:pt x="227" y="108"/>
                    </a:lnTo>
                    <a:lnTo>
                      <a:pt x="225" y="103"/>
                    </a:lnTo>
                    <a:lnTo>
                      <a:pt x="225" y="99"/>
                    </a:lnTo>
                    <a:lnTo>
                      <a:pt x="223" y="95"/>
                    </a:lnTo>
                    <a:lnTo>
                      <a:pt x="219" y="95"/>
                    </a:lnTo>
                    <a:lnTo>
                      <a:pt x="215" y="95"/>
                    </a:lnTo>
                    <a:lnTo>
                      <a:pt x="211" y="95"/>
                    </a:lnTo>
                    <a:lnTo>
                      <a:pt x="209" y="92"/>
                    </a:lnTo>
                    <a:lnTo>
                      <a:pt x="205" y="92"/>
                    </a:lnTo>
                    <a:lnTo>
                      <a:pt x="203" y="88"/>
                    </a:lnTo>
                    <a:lnTo>
                      <a:pt x="199" y="86"/>
                    </a:lnTo>
                    <a:lnTo>
                      <a:pt x="197" y="82"/>
                    </a:lnTo>
                    <a:lnTo>
                      <a:pt x="193" y="81"/>
                    </a:lnTo>
                    <a:lnTo>
                      <a:pt x="191" y="77"/>
                    </a:lnTo>
                    <a:lnTo>
                      <a:pt x="189" y="73"/>
                    </a:lnTo>
                    <a:lnTo>
                      <a:pt x="189" y="70"/>
                    </a:lnTo>
                    <a:lnTo>
                      <a:pt x="185" y="70"/>
                    </a:lnTo>
                    <a:lnTo>
                      <a:pt x="181" y="71"/>
                    </a:lnTo>
                    <a:lnTo>
                      <a:pt x="181" y="68"/>
                    </a:lnTo>
                    <a:lnTo>
                      <a:pt x="181" y="64"/>
                    </a:lnTo>
                    <a:lnTo>
                      <a:pt x="181" y="60"/>
                    </a:lnTo>
                    <a:lnTo>
                      <a:pt x="181" y="57"/>
                    </a:lnTo>
                    <a:lnTo>
                      <a:pt x="177" y="55"/>
                    </a:lnTo>
                    <a:lnTo>
                      <a:pt x="175" y="51"/>
                    </a:lnTo>
                    <a:lnTo>
                      <a:pt x="171" y="51"/>
                    </a:lnTo>
                    <a:lnTo>
                      <a:pt x="167" y="51"/>
                    </a:lnTo>
                    <a:lnTo>
                      <a:pt x="163" y="49"/>
                    </a:lnTo>
                    <a:lnTo>
                      <a:pt x="161" y="46"/>
                    </a:lnTo>
                    <a:lnTo>
                      <a:pt x="163" y="42"/>
                    </a:lnTo>
                    <a:lnTo>
                      <a:pt x="163" y="38"/>
                    </a:lnTo>
                    <a:lnTo>
                      <a:pt x="167" y="38"/>
                    </a:lnTo>
                    <a:lnTo>
                      <a:pt x="167" y="35"/>
                    </a:lnTo>
                    <a:lnTo>
                      <a:pt x="167" y="31"/>
                    </a:lnTo>
                    <a:lnTo>
                      <a:pt x="165" y="27"/>
                    </a:lnTo>
                    <a:lnTo>
                      <a:pt x="163" y="24"/>
                    </a:lnTo>
                    <a:lnTo>
                      <a:pt x="159" y="22"/>
                    </a:lnTo>
                  </a:path>
                </a:pathLst>
              </a:custGeom>
              <a:solidFill>
                <a:srgbClr val="00B050"/>
              </a:solidFill>
              <a:ln w="6350" cap="rnd">
                <a:solidFill>
                  <a:srgbClr val="007635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9" name="Freeform 122"/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 rot="21140016">
                <a:off x="3382941" y="3773477"/>
                <a:ext cx="381622" cy="456342"/>
              </a:xfrm>
              <a:custGeom>
                <a:avLst/>
                <a:gdLst>
                  <a:gd name="T0" fmla="*/ 2147483647 w 259"/>
                  <a:gd name="T1" fmla="*/ 2147483647 h 330"/>
                  <a:gd name="T2" fmla="*/ 2147483647 w 259"/>
                  <a:gd name="T3" fmla="*/ 2147483647 h 330"/>
                  <a:gd name="T4" fmla="*/ 2147483647 w 259"/>
                  <a:gd name="T5" fmla="*/ 2147483647 h 330"/>
                  <a:gd name="T6" fmla="*/ 2147483647 w 259"/>
                  <a:gd name="T7" fmla="*/ 2147483647 h 330"/>
                  <a:gd name="T8" fmla="*/ 2147483647 w 259"/>
                  <a:gd name="T9" fmla="*/ 2147483647 h 330"/>
                  <a:gd name="T10" fmla="*/ 2147483647 w 259"/>
                  <a:gd name="T11" fmla="*/ 2147483647 h 330"/>
                  <a:gd name="T12" fmla="*/ 2147483647 w 259"/>
                  <a:gd name="T13" fmla="*/ 2147483647 h 330"/>
                  <a:gd name="T14" fmla="*/ 2147483647 w 259"/>
                  <a:gd name="T15" fmla="*/ 2147483647 h 330"/>
                  <a:gd name="T16" fmla="*/ 2147483647 w 259"/>
                  <a:gd name="T17" fmla="*/ 2147483647 h 330"/>
                  <a:gd name="T18" fmla="*/ 2147483647 w 259"/>
                  <a:gd name="T19" fmla="*/ 2147483647 h 330"/>
                  <a:gd name="T20" fmla="*/ 2147483647 w 259"/>
                  <a:gd name="T21" fmla="*/ 2147483647 h 330"/>
                  <a:gd name="T22" fmla="*/ 2147483647 w 259"/>
                  <a:gd name="T23" fmla="*/ 2147483647 h 330"/>
                  <a:gd name="T24" fmla="*/ 2147483647 w 259"/>
                  <a:gd name="T25" fmla="*/ 0 h 330"/>
                  <a:gd name="T26" fmla="*/ 2147483647 w 259"/>
                  <a:gd name="T27" fmla="*/ 2147483647 h 330"/>
                  <a:gd name="T28" fmla="*/ 2147483647 w 259"/>
                  <a:gd name="T29" fmla="*/ 2147483647 h 330"/>
                  <a:gd name="T30" fmla="*/ 2147483647 w 259"/>
                  <a:gd name="T31" fmla="*/ 2147483647 h 330"/>
                  <a:gd name="T32" fmla="*/ 2147483647 w 259"/>
                  <a:gd name="T33" fmla="*/ 2147483647 h 330"/>
                  <a:gd name="T34" fmla="*/ 2147483647 w 259"/>
                  <a:gd name="T35" fmla="*/ 2147483647 h 330"/>
                  <a:gd name="T36" fmla="*/ 2147483647 w 259"/>
                  <a:gd name="T37" fmla="*/ 2147483647 h 330"/>
                  <a:gd name="T38" fmla="*/ 2147483647 w 259"/>
                  <a:gd name="T39" fmla="*/ 2147483647 h 330"/>
                  <a:gd name="T40" fmla="*/ 2147483647 w 259"/>
                  <a:gd name="T41" fmla="*/ 2147483647 h 330"/>
                  <a:gd name="T42" fmla="*/ 2147483647 w 259"/>
                  <a:gd name="T43" fmla="*/ 2147483647 h 330"/>
                  <a:gd name="T44" fmla="*/ 2147483647 w 259"/>
                  <a:gd name="T45" fmla="*/ 2147483647 h 330"/>
                  <a:gd name="T46" fmla="*/ 2147483647 w 259"/>
                  <a:gd name="T47" fmla="*/ 2147483647 h 330"/>
                  <a:gd name="T48" fmla="*/ 2147483647 w 259"/>
                  <a:gd name="T49" fmla="*/ 2147483647 h 330"/>
                  <a:gd name="T50" fmla="*/ 2147483647 w 259"/>
                  <a:gd name="T51" fmla="*/ 2147483647 h 330"/>
                  <a:gd name="T52" fmla="*/ 2147483647 w 259"/>
                  <a:gd name="T53" fmla="*/ 2147483647 h 330"/>
                  <a:gd name="T54" fmla="*/ 2147483647 w 259"/>
                  <a:gd name="T55" fmla="*/ 2147483647 h 330"/>
                  <a:gd name="T56" fmla="*/ 2147483647 w 259"/>
                  <a:gd name="T57" fmla="*/ 2147483647 h 330"/>
                  <a:gd name="T58" fmla="*/ 2147483647 w 259"/>
                  <a:gd name="T59" fmla="*/ 2147483647 h 330"/>
                  <a:gd name="T60" fmla="*/ 0 w 259"/>
                  <a:gd name="T61" fmla="*/ 2147483647 h 330"/>
                  <a:gd name="T62" fmla="*/ 2147483647 w 259"/>
                  <a:gd name="T63" fmla="*/ 2147483647 h 330"/>
                  <a:gd name="T64" fmla="*/ 2147483647 w 259"/>
                  <a:gd name="T65" fmla="*/ 2147483647 h 330"/>
                  <a:gd name="T66" fmla="*/ 2147483647 w 259"/>
                  <a:gd name="T67" fmla="*/ 2147483647 h 330"/>
                  <a:gd name="T68" fmla="*/ 2147483647 w 259"/>
                  <a:gd name="T69" fmla="*/ 2147483647 h 330"/>
                  <a:gd name="T70" fmla="*/ 2147483647 w 259"/>
                  <a:gd name="T71" fmla="*/ 2147483647 h 330"/>
                  <a:gd name="T72" fmla="*/ 2147483647 w 259"/>
                  <a:gd name="T73" fmla="*/ 2147483647 h 330"/>
                  <a:gd name="T74" fmla="*/ 2147483647 w 259"/>
                  <a:gd name="T75" fmla="*/ 2147483647 h 330"/>
                  <a:gd name="T76" fmla="*/ 2147483647 w 259"/>
                  <a:gd name="T77" fmla="*/ 2147483647 h 330"/>
                  <a:gd name="T78" fmla="*/ 2147483647 w 259"/>
                  <a:gd name="T79" fmla="*/ 2147483647 h 330"/>
                  <a:gd name="T80" fmla="*/ 2147483647 w 259"/>
                  <a:gd name="T81" fmla="*/ 2147483647 h 330"/>
                  <a:gd name="T82" fmla="*/ 2147483647 w 259"/>
                  <a:gd name="T83" fmla="*/ 2147483647 h 330"/>
                  <a:gd name="T84" fmla="*/ 2147483647 w 259"/>
                  <a:gd name="T85" fmla="*/ 2147483647 h 330"/>
                  <a:gd name="T86" fmla="*/ 2147483647 w 259"/>
                  <a:gd name="T87" fmla="*/ 2147483647 h 330"/>
                  <a:gd name="T88" fmla="*/ 2147483647 w 259"/>
                  <a:gd name="T89" fmla="*/ 2147483647 h 330"/>
                  <a:gd name="T90" fmla="*/ 2147483647 w 259"/>
                  <a:gd name="T91" fmla="*/ 2147483647 h 330"/>
                  <a:gd name="T92" fmla="*/ 2147483647 w 259"/>
                  <a:gd name="T93" fmla="*/ 2147483647 h 330"/>
                  <a:gd name="T94" fmla="*/ 2147483647 w 259"/>
                  <a:gd name="T95" fmla="*/ 2147483647 h 330"/>
                  <a:gd name="T96" fmla="*/ 2147483647 w 259"/>
                  <a:gd name="T97" fmla="*/ 2147483647 h 330"/>
                  <a:gd name="T98" fmla="*/ 2147483647 w 259"/>
                  <a:gd name="T99" fmla="*/ 2147483647 h 330"/>
                  <a:gd name="T100" fmla="*/ 2147483647 w 259"/>
                  <a:gd name="T101" fmla="*/ 2147483647 h 330"/>
                  <a:gd name="T102" fmla="*/ 2147483647 w 259"/>
                  <a:gd name="T103" fmla="*/ 2147483647 h 330"/>
                  <a:gd name="T104" fmla="*/ 2147483647 w 259"/>
                  <a:gd name="T105" fmla="*/ 2147483647 h 330"/>
                  <a:gd name="T106" fmla="*/ 2147483647 w 259"/>
                  <a:gd name="T107" fmla="*/ 2147483647 h 330"/>
                  <a:gd name="T108" fmla="*/ 2147483647 w 259"/>
                  <a:gd name="T109" fmla="*/ 2147483647 h 330"/>
                  <a:gd name="T110" fmla="*/ 2147483647 w 259"/>
                  <a:gd name="T111" fmla="*/ 2147483647 h 330"/>
                  <a:gd name="T112" fmla="*/ 2147483647 w 259"/>
                  <a:gd name="T113" fmla="*/ 2147483647 h 330"/>
                  <a:gd name="T114" fmla="*/ 2147483647 w 259"/>
                  <a:gd name="T115" fmla="*/ 2147483647 h 330"/>
                  <a:gd name="T116" fmla="*/ 2147483647 w 259"/>
                  <a:gd name="T117" fmla="*/ 2147483647 h 33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59"/>
                  <a:gd name="T178" fmla="*/ 0 h 330"/>
                  <a:gd name="T179" fmla="*/ 259 w 259"/>
                  <a:gd name="T180" fmla="*/ 330 h 33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59" h="330">
                    <a:moveTo>
                      <a:pt x="254" y="126"/>
                    </a:moveTo>
                    <a:lnTo>
                      <a:pt x="256" y="122"/>
                    </a:lnTo>
                    <a:lnTo>
                      <a:pt x="258" y="119"/>
                    </a:lnTo>
                    <a:lnTo>
                      <a:pt x="254" y="115"/>
                    </a:lnTo>
                    <a:lnTo>
                      <a:pt x="250" y="113"/>
                    </a:lnTo>
                    <a:lnTo>
                      <a:pt x="248" y="110"/>
                    </a:lnTo>
                    <a:lnTo>
                      <a:pt x="244" y="108"/>
                    </a:lnTo>
                    <a:lnTo>
                      <a:pt x="244" y="104"/>
                    </a:lnTo>
                    <a:lnTo>
                      <a:pt x="246" y="101"/>
                    </a:lnTo>
                    <a:lnTo>
                      <a:pt x="248" y="97"/>
                    </a:lnTo>
                    <a:lnTo>
                      <a:pt x="246" y="93"/>
                    </a:lnTo>
                    <a:lnTo>
                      <a:pt x="246" y="90"/>
                    </a:lnTo>
                    <a:lnTo>
                      <a:pt x="248" y="86"/>
                    </a:lnTo>
                    <a:lnTo>
                      <a:pt x="248" y="82"/>
                    </a:lnTo>
                    <a:lnTo>
                      <a:pt x="244" y="80"/>
                    </a:lnTo>
                    <a:lnTo>
                      <a:pt x="240" y="80"/>
                    </a:lnTo>
                    <a:lnTo>
                      <a:pt x="238" y="77"/>
                    </a:lnTo>
                    <a:lnTo>
                      <a:pt x="238" y="73"/>
                    </a:lnTo>
                    <a:lnTo>
                      <a:pt x="238" y="68"/>
                    </a:lnTo>
                    <a:lnTo>
                      <a:pt x="240" y="64"/>
                    </a:lnTo>
                    <a:lnTo>
                      <a:pt x="238" y="60"/>
                    </a:lnTo>
                    <a:lnTo>
                      <a:pt x="232" y="60"/>
                    </a:lnTo>
                    <a:lnTo>
                      <a:pt x="228" y="60"/>
                    </a:lnTo>
                    <a:lnTo>
                      <a:pt x="224" y="60"/>
                    </a:lnTo>
                    <a:lnTo>
                      <a:pt x="220" y="59"/>
                    </a:lnTo>
                    <a:lnTo>
                      <a:pt x="216" y="59"/>
                    </a:lnTo>
                    <a:lnTo>
                      <a:pt x="212" y="59"/>
                    </a:lnTo>
                    <a:lnTo>
                      <a:pt x="208" y="59"/>
                    </a:lnTo>
                    <a:lnTo>
                      <a:pt x="204" y="59"/>
                    </a:lnTo>
                    <a:lnTo>
                      <a:pt x="200" y="57"/>
                    </a:lnTo>
                    <a:lnTo>
                      <a:pt x="196" y="55"/>
                    </a:lnTo>
                    <a:lnTo>
                      <a:pt x="193" y="53"/>
                    </a:lnTo>
                    <a:lnTo>
                      <a:pt x="189" y="53"/>
                    </a:lnTo>
                    <a:lnTo>
                      <a:pt x="185" y="53"/>
                    </a:lnTo>
                    <a:lnTo>
                      <a:pt x="181" y="53"/>
                    </a:lnTo>
                    <a:lnTo>
                      <a:pt x="177" y="53"/>
                    </a:lnTo>
                    <a:lnTo>
                      <a:pt x="173" y="55"/>
                    </a:lnTo>
                    <a:lnTo>
                      <a:pt x="169" y="55"/>
                    </a:lnTo>
                    <a:lnTo>
                      <a:pt x="163" y="55"/>
                    </a:lnTo>
                    <a:lnTo>
                      <a:pt x="159" y="55"/>
                    </a:lnTo>
                    <a:lnTo>
                      <a:pt x="155" y="55"/>
                    </a:lnTo>
                    <a:lnTo>
                      <a:pt x="151" y="55"/>
                    </a:lnTo>
                    <a:lnTo>
                      <a:pt x="147" y="55"/>
                    </a:lnTo>
                    <a:lnTo>
                      <a:pt x="145" y="51"/>
                    </a:lnTo>
                    <a:lnTo>
                      <a:pt x="143" y="48"/>
                    </a:lnTo>
                    <a:lnTo>
                      <a:pt x="139" y="46"/>
                    </a:lnTo>
                    <a:lnTo>
                      <a:pt x="135" y="46"/>
                    </a:lnTo>
                    <a:lnTo>
                      <a:pt x="131" y="44"/>
                    </a:lnTo>
                    <a:lnTo>
                      <a:pt x="127" y="44"/>
                    </a:lnTo>
                    <a:lnTo>
                      <a:pt x="127" y="40"/>
                    </a:lnTo>
                    <a:lnTo>
                      <a:pt x="123" y="38"/>
                    </a:lnTo>
                    <a:lnTo>
                      <a:pt x="119" y="38"/>
                    </a:lnTo>
                    <a:lnTo>
                      <a:pt x="115" y="38"/>
                    </a:lnTo>
                    <a:lnTo>
                      <a:pt x="111" y="38"/>
                    </a:lnTo>
                    <a:lnTo>
                      <a:pt x="109" y="35"/>
                    </a:lnTo>
                    <a:lnTo>
                      <a:pt x="107" y="31"/>
                    </a:lnTo>
                    <a:lnTo>
                      <a:pt x="109" y="27"/>
                    </a:lnTo>
                    <a:lnTo>
                      <a:pt x="109" y="24"/>
                    </a:lnTo>
                    <a:lnTo>
                      <a:pt x="111" y="20"/>
                    </a:lnTo>
                    <a:lnTo>
                      <a:pt x="111" y="16"/>
                    </a:lnTo>
                    <a:lnTo>
                      <a:pt x="107" y="7"/>
                    </a:lnTo>
                    <a:lnTo>
                      <a:pt x="107" y="4"/>
                    </a:lnTo>
                    <a:lnTo>
                      <a:pt x="107" y="0"/>
                    </a:lnTo>
                    <a:lnTo>
                      <a:pt x="103" y="0"/>
                    </a:lnTo>
                    <a:lnTo>
                      <a:pt x="99" y="0"/>
                    </a:lnTo>
                    <a:lnTo>
                      <a:pt x="95" y="2"/>
                    </a:lnTo>
                    <a:lnTo>
                      <a:pt x="91" y="5"/>
                    </a:lnTo>
                    <a:lnTo>
                      <a:pt x="89" y="9"/>
                    </a:lnTo>
                    <a:lnTo>
                      <a:pt x="89" y="13"/>
                    </a:lnTo>
                    <a:lnTo>
                      <a:pt x="89" y="16"/>
                    </a:lnTo>
                    <a:lnTo>
                      <a:pt x="87" y="20"/>
                    </a:lnTo>
                    <a:lnTo>
                      <a:pt x="83" y="20"/>
                    </a:lnTo>
                    <a:lnTo>
                      <a:pt x="79" y="20"/>
                    </a:lnTo>
                    <a:lnTo>
                      <a:pt x="73" y="22"/>
                    </a:lnTo>
                    <a:lnTo>
                      <a:pt x="69" y="26"/>
                    </a:lnTo>
                    <a:lnTo>
                      <a:pt x="67" y="29"/>
                    </a:lnTo>
                    <a:lnTo>
                      <a:pt x="67" y="33"/>
                    </a:lnTo>
                    <a:lnTo>
                      <a:pt x="67" y="38"/>
                    </a:lnTo>
                    <a:lnTo>
                      <a:pt x="67" y="42"/>
                    </a:lnTo>
                    <a:lnTo>
                      <a:pt x="67" y="46"/>
                    </a:lnTo>
                    <a:lnTo>
                      <a:pt x="65" y="49"/>
                    </a:lnTo>
                    <a:lnTo>
                      <a:pt x="62" y="51"/>
                    </a:lnTo>
                    <a:lnTo>
                      <a:pt x="60" y="55"/>
                    </a:lnTo>
                    <a:lnTo>
                      <a:pt x="62" y="59"/>
                    </a:lnTo>
                    <a:lnTo>
                      <a:pt x="67" y="62"/>
                    </a:lnTo>
                    <a:lnTo>
                      <a:pt x="71" y="62"/>
                    </a:lnTo>
                    <a:lnTo>
                      <a:pt x="75" y="64"/>
                    </a:lnTo>
                    <a:lnTo>
                      <a:pt x="77" y="68"/>
                    </a:lnTo>
                    <a:lnTo>
                      <a:pt x="79" y="71"/>
                    </a:lnTo>
                    <a:lnTo>
                      <a:pt x="79" y="75"/>
                    </a:lnTo>
                    <a:lnTo>
                      <a:pt x="81" y="79"/>
                    </a:lnTo>
                    <a:lnTo>
                      <a:pt x="83" y="82"/>
                    </a:lnTo>
                    <a:lnTo>
                      <a:pt x="85" y="86"/>
                    </a:lnTo>
                    <a:lnTo>
                      <a:pt x="87" y="90"/>
                    </a:lnTo>
                    <a:lnTo>
                      <a:pt x="89" y="93"/>
                    </a:lnTo>
                    <a:lnTo>
                      <a:pt x="89" y="97"/>
                    </a:lnTo>
                    <a:lnTo>
                      <a:pt x="85" y="99"/>
                    </a:lnTo>
                    <a:lnTo>
                      <a:pt x="83" y="102"/>
                    </a:lnTo>
                    <a:lnTo>
                      <a:pt x="79" y="104"/>
                    </a:lnTo>
                    <a:lnTo>
                      <a:pt x="75" y="106"/>
                    </a:lnTo>
                    <a:lnTo>
                      <a:pt x="71" y="108"/>
                    </a:lnTo>
                    <a:lnTo>
                      <a:pt x="67" y="112"/>
                    </a:lnTo>
                    <a:lnTo>
                      <a:pt x="64" y="112"/>
                    </a:lnTo>
                    <a:lnTo>
                      <a:pt x="60" y="112"/>
                    </a:lnTo>
                    <a:lnTo>
                      <a:pt x="58" y="115"/>
                    </a:lnTo>
                    <a:lnTo>
                      <a:pt x="54" y="117"/>
                    </a:lnTo>
                    <a:lnTo>
                      <a:pt x="48" y="121"/>
                    </a:lnTo>
                    <a:lnTo>
                      <a:pt x="42" y="121"/>
                    </a:lnTo>
                    <a:lnTo>
                      <a:pt x="38" y="122"/>
                    </a:lnTo>
                    <a:lnTo>
                      <a:pt x="34" y="122"/>
                    </a:lnTo>
                    <a:lnTo>
                      <a:pt x="34" y="126"/>
                    </a:lnTo>
                    <a:lnTo>
                      <a:pt x="34" y="130"/>
                    </a:lnTo>
                    <a:lnTo>
                      <a:pt x="34" y="133"/>
                    </a:lnTo>
                    <a:lnTo>
                      <a:pt x="32" y="137"/>
                    </a:lnTo>
                    <a:lnTo>
                      <a:pt x="28" y="139"/>
                    </a:lnTo>
                    <a:lnTo>
                      <a:pt x="24" y="143"/>
                    </a:lnTo>
                    <a:lnTo>
                      <a:pt x="22" y="148"/>
                    </a:lnTo>
                    <a:lnTo>
                      <a:pt x="24" y="154"/>
                    </a:lnTo>
                    <a:lnTo>
                      <a:pt x="24" y="157"/>
                    </a:lnTo>
                    <a:lnTo>
                      <a:pt x="22" y="161"/>
                    </a:lnTo>
                    <a:lnTo>
                      <a:pt x="18" y="161"/>
                    </a:lnTo>
                    <a:lnTo>
                      <a:pt x="14" y="161"/>
                    </a:lnTo>
                    <a:lnTo>
                      <a:pt x="10" y="163"/>
                    </a:lnTo>
                    <a:lnTo>
                      <a:pt x="8" y="168"/>
                    </a:lnTo>
                    <a:lnTo>
                      <a:pt x="6" y="172"/>
                    </a:lnTo>
                    <a:lnTo>
                      <a:pt x="4" y="176"/>
                    </a:lnTo>
                    <a:lnTo>
                      <a:pt x="0" y="177"/>
                    </a:lnTo>
                    <a:lnTo>
                      <a:pt x="0" y="181"/>
                    </a:lnTo>
                    <a:lnTo>
                      <a:pt x="4" y="183"/>
                    </a:lnTo>
                    <a:lnTo>
                      <a:pt x="8" y="185"/>
                    </a:lnTo>
                    <a:lnTo>
                      <a:pt x="12" y="185"/>
                    </a:lnTo>
                    <a:lnTo>
                      <a:pt x="12" y="188"/>
                    </a:lnTo>
                    <a:lnTo>
                      <a:pt x="16" y="192"/>
                    </a:lnTo>
                    <a:lnTo>
                      <a:pt x="18" y="196"/>
                    </a:lnTo>
                    <a:lnTo>
                      <a:pt x="16" y="199"/>
                    </a:lnTo>
                    <a:lnTo>
                      <a:pt x="12" y="201"/>
                    </a:lnTo>
                    <a:lnTo>
                      <a:pt x="8" y="205"/>
                    </a:lnTo>
                    <a:lnTo>
                      <a:pt x="6" y="208"/>
                    </a:lnTo>
                    <a:lnTo>
                      <a:pt x="8" y="212"/>
                    </a:lnTo>
                    <a:lnTo>
                      <a:pt x="12" y="214"/>
                    </a:lnTo>
                    <a:lnTo>
                      <a:pt x="16" y="216"/>
                    </a:lnTo>
                    <a:lnTo>
                      <a:pt x="20" y="216"/>
                    </a:lnTo>
                    <a:lnTo>
                      <a:pt x="24" y="218"/>
                    </a:lnTo>
                    <a:lnTo>
                      <a:pt x="24" y="221"/>
                    </a:lnTo>
                    <a:lnTo>
                      <a:pt x="20" y="221"/>
                    </a:lnTo>
                    <a:lnTo>
                      <a:pt x="16" y="223"/>
                    </a:lnTo>
                    <a:lnTo>
                      <a:pt x="14" y="227"/>
                    </a:lnTo>
                    <a:lnTo>
                      <a:pt x="10" y="229"/>
                    </a:lnTo>
                    <a:lnTo>
                      <a:pt x="10" y="232"/>
                    </a:lnTo>
                    <a:lnTo>
                      <a:pt x="10" y="236"/>
                    </a:lnTo>
                    <a:lnTo>
                      <a:pt x="12" y="240"/>
                    </a:lnTo>
                    <a:lnTo>
                      <a:pt x="8" y="241"/>
                    </a:lnTo>
                    <a:lnTo>
                      <a:pt x="4" y="241"/>
                    </a:lnTo>
                    <a:lnTo>
                      <a:pt x="0" y="241"/>
                    </a:lnTo>
                    <a:lnTo>
                      <a:pt x="0" y="245"/>
                    </a:lnTo>
                    <a:lnTo>
                      <a:pt x="0" y="249"/>
                    </a:lnTo>
                    <a:lnTo>
                      <a:pt x="4" y="250"/>
                    </a:lnTo>
                    <a:lnTo>
                      <a:pt x="8" y="252"/>
                    </a:lnTo>
                    <a:lnTo>
                      <a:pt x="12" y="252"/>
                    </a:lnTo>
                    <a:lnTo>
                      <a:pt x="16" y="252"/>
                    </a:lnTo>
                    <a:lnTo>
                      <a:pt x="20" y="254"/>
                    </a:lnTo>
                    <a:lnTo>
                      <a:pt x="24" y="254"/>
                    </a:lnTo>
                    <a:lnTo>
                      <a:pt x="28" y="254"/>
                    </a:lnTo>
                    <a:lnTo>
                      <a:pt x="32" y="254"/>
                    </a:lnTo>
                    <a:lnTo>
                      <a:pt x="36" y="254"/>
                    </a:lnTo>
                    <a:lnTo>
                      <a:pt x="40" y="254"/>
                    </a:lnTo>
                    <a:lnTo>
                      <a:pt x="44" y="256"/>
                    </a:lnTo>
                    <a:lnTo>
                      <a:pt x="46" y="260"/>
                    </a:lnTo>
                    <a:lnTo>
                      <a:pt x="48" y="263"/>
                    </a:lnTo>
                    <a:lnTo>
                      <a:pt x="50" y="267"/>
                    </a:lnTo>
                    <a:lnTo>
                      <a:pt x="54" y="269"/>
                    </a:lnTo>
                    <a:lnTo>
                      <a:pt x="58" y="271"/>
                    </a:lnTo>
                    <a:lnTo>
                      <a:pt x="62" y="272"/>
                    </a:lnTo>
                    <a:lnTo>
                      <a:pt x="65" y="274"/>
                    </a:lnTo>
                    <a:lnTo>
                      <a:pt x="65" y="278"/>
                    </a:lnTo>
                    <a:lnTo>
                      <a:pt x="69" y="282"/>
                    </a:lnTo>
                    <a:lnTo>
                      <a:pt x="73" y="283"/>
                    </a:lnTo>
                    <a:lnTo>
                      <a:pt x="77" y="285"/>
                    </a:lnTo>
                    <a:lnTo>
                      <a:pt x="81" y="287"/>
                    </a:lnTo>
                    <a:lnTo>
                      <a:pt x="85" y="287"/>
                    </a:lnTo>
                    <a:lnTo>
                      <a:pt x="89" y="287"/>
                    </a:lnTo>
                    <a:lnTo>
                      <a:pt x="93" y="285"/>
                    </a:lnTo>
                    <a:lnTo>
                      <a:pt x="97" y="287"/>
                    </a:lnTo>
                    <a:lnTo>
                      <a:pt x="97" y="291"/>
                    </a:lnTo>
                    <a:lnTo>
                      <a:pt x="95" y="294"/>
                    </a:lnTo>
                    <a:lnTo>
                      <a:pt x="93" y="298"/>
                    </a:lnTo>
                    <a:lnTo>
                      <a:pt x="89" y="300"/>
                    </a:lnTo>
                    <a:lnTo>
                      <a:pt x="85" y="302"/>
                    </a:lnTo>
                    <a:lnTo>
                      <a:pt x="81" y="303"/>
                    </a:lnTo>
                    <a:lnTo>
                      <a:pt x="77" y="305"/>
                    </a:lnTo>
                    <a:lnTo>
                      <a:pt x="73" y="307"/>
                    </a:lnTo>
                    <a:lnTo>
                      <a:pt x="69" y="309"/>
                    </a:lnTo>
                    <a:lnTo>
                      <a:pt x="69" y="313"/>
                    </a:lnTo>
                    <a:lnTo>
                      <a:pt x="73" y="314"/>
                    </a:lnTo>
                    <a:lnTo>
                      <a:pt x="77" y="314"/>
                    </a:lnTo>
                    <a:lnTo>
                      <a:pt x="81" y="314"/>
                    </a:lnTo>
                    <a:lnTo>
                      <a:pt x="85" y="311"/>
                    </a:lnTo>
                    <a:lnTo>
                      <a:pt x="89" y="309"/>
                    </a:lnTo>
                    <a:lnTo>
                      <a:pt x="93" y="313"/>
                    </a:lnTo>
                    <a:lnTo>
                      <a:pt x="95" y="316"/>
                    </a:lnTo>
                    <a:lnTo>
                      <a:pt x="97" y="320"/>
                    </a:lnTo>
                    <a:lnTo>
                      <a:pt x="99" y="324"/>
                    </a:lnTo>
                    <a:lnTo>
                      <a:pt x="101" y="327"/>
                    </a:lnTo>
                    <a:lnTo>
                      <a:pt x="105" y="329"/>
                    </a:lnTo>
                    <a:lnTo>
                      <a:pt x="109" y="329"/>
                    </a:lnTo>
                    <a:lnTo>
                      <a:pt x="113" y="327"/>
                    </a:lnTo>
                    <a:lnTo>
                      <a:pt x="115" y="324"/>
                    </a:lnTo>
                    <a:lnTo>
                      <a:pt x="115" y="320"/>
                    </a:lnTo>
                    <a:lnTo>
                      <a:pt x="117" y="316"/>
                    </a:lnTo>
                    <a:lnTo>
                      <a:pt x="121" y="316"/>
                    </a:lnTo>
                    <a:lnTo>
                      <a:pt x="125" y="314"/>
                    </a:lnTo>
                    <a:lnTo>
                      <a:pt x="129" y="314"/>
                    </a:lnTo>
                    <a:lnTo>
                      <a:pt x="133" y="314"/>
                    </a:lnTo>
                    <a:lnTo>
                      <a:pt x="137" y="314"/>
                    </a:lnTo>
                    <a:lnTo>
                      <a:pt x="141" y="314"/>
                    </a:lnTo>
                    <a:lnTo>
                      <a:pt x="145" y="314"/>
                    </a:lnTo>
                    <a:lnTo>
                      <a:pt x="149" y="316"/>
                    </a:lnTo>
                    <a:lnTo>
                      <a:pt x="153" y="316"/>
                    </a:lnTo>
                    <a:lnTo>
                      <a:pt x="157" y="314"/>
                    </a:lnTo>
                    <a:lnTo>
                      <a:pt x="161" y="313"/>
                    </a:lnTo>
                    <a:lnTo>
                      <a:pt x="163" y="309"/>
                    </a:lnTo>
                    <a:lnTo>
                      <a:pt x="165" y="305"/>
                    </a:lnTo>
                    <a:lnTo>
                      <a:pt x="169" y="303"/>
                    </a:lnTo>
                    <a:lnTo>
                      <a:pt x="173" y="303"/>
                    </a:lnTo>
                    <a:lnTo>
                      <a:pt x="177" y="303"/>
                    </a:lnTo>
                    <a:lnTo>
                      <a:pt x="179" y="300"/>
                    </a:lnTo>
                    <a:lnTo>
                      <a:pt x="181" y="296"/>
                    </a:lnTo>
                    <a:lnTo>
                      <a:pt x="181" y="293"/>
                    </a:lnTo>
                    <a:lnTo>
                      <a:pt x="181" y="289"/>
                    </a:lnTo>
                    <a:lnTo>
                      <a:pt x="185" y="283"/>
                    </a:lnTo>
                    <a:lnTo>
                      <a:pt x="187" y="280"/>
                    </a:lnTo>
                    <a:lnTo>
                      <a:pt x="191" y="278"/>
                    </a:lnTo>
                    <a:lnTo>
                      <a:pt x="193" y="274"/>
                    </a:lnTo>
                    <a:lnTo>
                      <a:pt x="191" y="271"/>
                    </a:lnTo>
                    <a:lnTo>
                      <a:pt x="193" y="267"/>
                    </a:lnTo>
                    <a:lnTo>
                      <a:pt x="191" y="263"/>
                    </a:lnTo>
                    <a:lnTo>
                      <a:pt x="189" y="260"/>
                    </a:lnTo>
                    <a:lnTo>
                      <a:pt x="187" y="256"/>
                    </a:lnTo>
                    <a:lnTo>
                      <a:pt x="185" y="252"/>
                    </a:lnTo>
                    <a:lnTo>
                      <a:pt x="185" y="245"/>
                    </a:lnTo>
                    <a:lnTo>
                      <a:pt x="185" y="241"/>
                    </a:lnTo>
                    <a:lnTo>
                      <a:pt x="185" y="238"/>
                    </a:lnTo>
                    <a:lnTo>
                      <a:pt x="187" y="234"/>
                    </a:lnTo>
                    <a:lnTo>
                      <a:pt x="187" y="229"/>
                    </a:lnTo>
                    <a:lnTo>
                      <a:pt x="187" y="225"/>
                    </a:lnTo>
                    <a:lnTo>
                      <a:pt x="187" y="221"/>
                    </a:lnTo>
                    <a:lnTo>
                      <a:pt x="187" y="218"/>
                    </a:lnTo>
                    <a:lnTo>
                      <a:pt x="187" y="214"/>
                    </a:lnTo>
                    <a:lnTo>
                      <a:pt x="191" y="216"/>
                    </a:lnTo>
                    <a:lnTo>
                      <a:pt x="191" y="212"/>
                    </a:lnTo>
                    <a:lnTo>
                      <a:pt x="191" y="208"/>
                    </a:lnTo>
                    <a:lnTo>
                      <a:pt x="191" y="205"/>
                    </a:lnTo>
                    <a:lnTo>
                      <a:pt x="194" y="203"/>
                    </a:lnTo>
                    <a:lnTo>
                      <a:pt x="198" y="203"/>
                    </a:lnTo>
                    <a:lnTo>
                      <a:pt x="200" y="199"/>
                    </a:lnTo>
                    <a:lnTo>
                      <a:pt x="204" y="197"/>
                    </a:lnTo>
                    <a:lnTo>
                      <a:pt x="204" y="194"/>
                    </a:lnTo>
                    <a:lnTo>
                      <a:pt x="206" y="190"/>
                    </a:lnTo>
                    <a:lnTo>
                      <a:pt x="212" y="190"/>
                    </a:lnTo>
                    <a:lnTo>
                      <a:pt x="216" y="190"/>
                    </a:lnTo>
                    <a:lnTo>
                      <a:pt x="220" y="192"/>
                    </a:lnTo>
                    <a:lnTo>
                      <a:pt x="224" y="190"/>
                    </a:lnTo>
                    <a:lnTo>
                      <a:pt x="228" y="188"/>
                    </a:lnTo>
                    <a:lnTo>
                      <a:pt x="232" y="190"/>
                    </a:lnTo>
                    <a:lnTo>
                      <a:pt x="236" y="190"/>
                    </a:lnTo>
                    <a:lnTo>
                      <a:pt x="240" y="188"/>
                    </a:lnTo>
                    <a:lnTo>
                      <a:pt x="240" y="185"/>
                    </a:lnTo>
                    <a:lnTo>
                      <a:pt x="244" y="181"/>
                    </a:lnTo>
                    <a:lnTo>
                      <a:pt x="246" y="177"/>
                    </a:lnTo>
                    <a:lnTo>
                      <a:pt x="244" y="174"/>
                    </a:lnTo>
                    <a:lnTo>
                      <a:pt x="240" y="172"/>
                    </a:lnTo>
                    <a:lnTo>
                      <a:pt x="236" y="170"/>
                    </a:lnTo>
                    <a:lnTo>
                      <a:pt x="232" y="168"/>
                    </a:lnTo>
                    <a:lnTo>
                      <a:pt x="232" y="165"/>
                    </a:lnTo>
                    <a:lnTo>
                      <a:pt x="232" y="161"/>
                    </a:lnTo>
                    <a:lnTo>
                      <a:pt x="236" y="157"/>
                    </a:lnTo>
                    <a:lnTo>
                      <a:pt x="240" y="155"/>
                    </a:lnTo>
                    <a:lnTo>
                      <a:pt x="244" y="157"/>
                    </a:lnTo>
                    <a:lnTo>
                      <a:pt x="248" y="157"/>
                    </a:lnTo>
                    <a:lnTo>
                      <a:pt x="252" y="157"/>
                    </a:lnTo>
                    <a:lnTo>
                      <a:pt x="256" y="154"/>
                    </a:lnTo>
                    <a:lnTo>
                      <a:pt x="258" y="150"/>
                    </a:lnTo>
                    <a:lnTo>
                      <a:pt x="256" y="144"/>
                    </a:lnTo>
                    <a:lnTo>
                      <a:pt x="256" y="141"/>
                    </a:lnTo>
                    <a:lnTo>
                      <a:pt x="254" y="137"/>
                    </a:lnTo>
                    <a:lnTo>
                      <a:pt x="252" y="133"/>
                    </a:lnTo>
                    <a:lnTo>
                      <a:pt x="252" y="130"/>
                    </a:lnTo>
                    <a:lnTo>
                      <a:pt x="254" y="126"/>
                    </a:lnTo>
                    <a:lnTo>
                      <a:pt x="258" y="126"/>
                    </a:lnTo>
                    <a:lnTo>
                      <a:pt x="258" y="122"/>
                    </a:lnTo>
                    <a:lnTo>
                      <a:pt x="256" y="119"/>
                    </a:lnTo>
                    <a:lnTo>
                      <a:pt x="254" y="115"/>
                    </a:lnTo>
                    <a:lnTo>
                      <a:pt x="254" y="112"/>
                    </a:lnTo>
                    <a:lnTo>
                      <a:pt x="250" y="108"/>
                    </a:lnTo>
                    <a:lnTo>
                      <a:pt x="248" y="104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0" name="Freeform 123"/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3645586" y="3931799"/>
                <a:ext cx="579168" cy="337601"/>
              </a:xfrm>
              <a:custGeom>
                <a:avLst/>
                <a:gdLst>
                  <a:gd name="T0" fmla="*/ 2147483647 w 468"/>
                  <a:gd name="T1" fmla="*/ 2147483647 h 287"/>
                  <a:gd name="T2" fmla="*/ 2147483647 w 468"/>
                  <a:gd name="T3" fmla="*/ 2147483647 h 287"/>
                  <a:gd name="T4" fmla="*/ 2147483647 w 468"/>
                  <a:gd name="T5" fmla="*/ 2147483647 h 287"/>
                  <a:gd name="T6" fmla="*/ 2147483647 w 468"/>
                  <a:gd name="T7" fmla="*/ 2147483647 h 287"/>
                  <a:gd name="T8" fmla="*/ 2147483647 w 468"/>
                  <a:gd name="T9" fmla="*/ 2147483647 h 287"/>
                  <a:gd name="T10" fmla="*/ 2147483647 w 468"/>
                  <a:gd name="T11" fmla="*/ 2147483647 h 287"/>
                  <a:gd name="T12" fmla="*/ 2147483647 w 468"/>
                  <a:gd name="T13" fmla="*/ 2147483647 h 287"/>
                  <a:gd name="T14" fmla="*/ 2147483647 w 468"/>
                  <a:gd name="T15" fmla="*/ 2147483647 h 287"/>
                  <a:gd name="T16" fmla="*/ 2147483647 w 468"/>
                  <a:gd name="T17" fmla="*/ 2147483647 h 287"/>
                  <a:gd name="T18" fmla="*/ 2147483647 w 468"/>
                  <a:gd name="T19" fmla="*/ 2147483647 h 287"/>
                  <a:gd name="T20" fmla="*/ 2147483647 w 468"/>
                  <a:gd name="T21" fmla="*/ 2147483647 h 287"/>
                  <a:gd name="T22" fmla="*/ 2147483647 w 468"/>
                  <a:gd name="T23" fmla="*/ 2147483647 h 287"/>
                  <a:gd name="T24" fmla="*/ 2147483647 w 468"/>
                  <a:gd name="T25" fmla="*/ 2147483647 h 287"/>
                  <a:gd name="T26" fmla="*/ 2147483647 w 468"/>
                  <a:gd name="T27" fmla="*/ 2147483647 h 287"/>
                  <a:gd name="T28" fmla="*/ 2147483647 w 468"/>
                  <a:gd name="T29" fmla="*/ 2147483647 h 287"/>
                  <a:gd name="T30" fmla="*/ 2147483647 w 468"/>
                  <a:gd name="T31" fmla="*/ 2147483647 h 287"/>
                  <a:gd name="T32" fmla="*/ 2147483647 w 468"/>
                  <a:gd name="T33" fmla="*/ 0 h 287"/>
                  <a:gd name="T34" fmla="*/ 2147483647 w 468"/>
                  <a:gd name="T35" fmla="*/ 2147483647 h 287"/>
                  <a:gd name="T36" fmla="*/ 2147483647 w 468"/>
                  <a:gd name="T37" fmla="*/ 2147483647 h 287"/>
                  <a:gd name="T38" fmla="*/ 2147483647 w 468"/>
                  <a:gd name="T39" fmla="*/ 2147483647 h 287"/>
                  <a:gd name="T40" fmla="*/ 2147483647 w 468"/>
                  <a:gd name="T41" fmla="*/ 2147483647 h 287"/>
                  <a:gd name="T42" fmla="*/ 2147483647 w 468"/>
                  <a:gd name="T43" fmla="*/ 2147483647 h 287"/>
                  <a:gd name="T44" fmla="*/ 2147483647 w 468"/>
                  <a:gd name="T45" fmla="*/ 2147483647 h 287"/>
                  <a:gd name="T46" fmla="*/ 2147483647 w 468"/>
                  <a:gd name="T47" fmla="*/ 2147483647 h 287"/>
                  <a:gd name="T48" fmla="*/ 2147483647 w 468"/>
                  <a:gd name="T49" fmla="*/ 2147483647 h 287"/>
                  <a:gd name="T50" fmla="*/ 2147483647 w 468"/>
                  <a:gd name="T51" fmla="*/ 2147483647 h 287"/>
                  <a:gd name="T52" fmla="*/ 2147483647 w 468"/>
                  <a:gd name="T53" fmla="*/ 2147483647 h 287"/>
                  <a:gd name="T54" fmla="*/ 2147483647 w 468"/>
                  <a:gd name="T55" fmla="*/ 2147483647 h 287"/>
                  <a:gd name="T56" fmla="*/ 2147483647 w 468"/>
                  <a:gd name="T57" fmla="*/ 2147483647 h 287"/>
                  <a:gd name="T58" fmla="*/ 2147483647 w 468"/>
                  <a:gd name="T59" fmla="*/ 2147483647 h 287"/>
                  <a:gd name="T60" fmla="*/ 2147483647 w 468"/>
                  <a:gd name="T61" fmla="*/ 2147483647 h 287"/>
                  <a:gd name="T62" fmla="*/ 2147483647 w 468"/>
                  <a:gd name="T63" fmla="*/ 2147483647 h 287"/>
                  <a:gd name="T64" fmla="*/ 2147483647 w 468"/>
                  <a:gd name="T65" fmla="*/ 2147483647 h 287"/>
                  <a:gd name="T66" fmla="*/ 2147483647 w 468"/>
                  <a:gd name="T67" fmla="*/ 2147483647 h 287"/>
                  <a:gd name="T68" fmla="*/ 2147483647 w 468"/>
                  <a:gd name="T69" fmla="*/ 2147483647 h 287"/>
                  <a:gd name="T70" fmla="*/ 2147483647 w 468"/>
                  <a:gd name="T71" fmla="*/ 2147483647 h 287"/>
                  <a:gd name="T72" fmla="*/ 2147483647 w 468"/>
                  <a:gd name="T73" fmla="*/ 2147483647 h 287"/>
                  <a:gd name="T74" fmla="*/ 2147483647 w 468"/>
                  <a:gd name="T75" fmla="*/ 2147483647 h 287"/>
                  <a:gd name="T76" fmla="*/ 2147483647 w 468"/>
                  <a:gd name="T77" fmla="*/ 2147483647 h 287"/>
                  <a:gd name="T78" fmla="*/ 2147483647 w 468"/>
                  <a:gd name="T79" fmla="*/ 2147483647 h 287"/>
                  <a:gd name="T80" fmla="*/ 2147483647 w 468"/>
                  <a:gd name="T81" fmla="*/ 2147483647 h 287"/>
                  <a:gd name="T82" fmla="*/ 2147483647 w 468"/>
                  <a:gd name="T83" fmla="*/ 2147483647 h 287"/>
                  <a:gd name="T84" fmla="*/ 2147483647 w 468"/>
                  <a:gd name="T85" fmla="*/ 2147483647 h 287"/>
                  <a:gd name="T86" fmla="*/ 2147483647 w 468"/>
                  <a:gd name="T87" fmla="*/ 2147483647 h 287"/>
                  <a:gd name="T88" fmla="*/ 2147483647 w 468"/>
                  <a:gd name="T89" fmla="*/ 2147483647 h 287"/>
                  <a:gd name="T90" fmla="*/ 2147483647 w 468"/>
                  <a:gd name="T91" fmla="*/ 2147483647 h 287"/>
                  <a:gd name="T92" fmla="*/ 2147483647 w 468"/>
                  <a:gd name="T93" fmla="*/ 2147483647 h 287"/>
                  <a:gd name="T94" fmla="*/ 2147483647 w 468"/>
                  <a:gd name="T95" fmla="*/ 2147483647 h 287"/>
                  <a:gd name="T96" fmla="*/ 2147483647 w 468"/>
                  <a:gd name="T97" fmla="*/ 2147483647 h 287"/>
                  <a:gd name="T98" fmla="*/ 2147483647 w 468"/>
                  <a:gd name="T99" fmla="*/ 2147483647 h 287"/>
                  <a:gd name="T100" fmla="*/ 2147483647 w 468"/>
                  <a:gd name="T101" fmla="*/ 2147483647 h 287"/>
                  <a:gd name="T102" fmla="*/ 2147483647 w 468"/>
                  <a:gd name="T103" fmla="*/ 2147483647 h 287"/>
                  <a:gd name="T104" fmla="*/ 2147483647 w 468"/>
                  <a:gd name="T105" fmla="*/ 2147483647 h 287"/>
                  <a:gd name="T106" fmla="*/ 2147483647 w 468"/>
                  <a:gd name="T107" fmla="*/ 2147483647 h 287"/>
                  <a:gd name="T108" fmla="*/ 2147483647 w 468"/>
                  <a:gd name="T109" fmla="*/ 2147483647 h 287"/>
                  <a:gd name="T110" fmla="*/ 2147483647 w 468"/>
                  <a:gd name="T111" fmla="*/ 2147483647 h 287"/>
                  <a:gd name="T112" fmla="*/ 2147483647 w 468"/>
                  <a:gd name="T113" fmla="*/ 2147483647 h 287"/>
                  <a:gd name="T114" fmla="*/ 2147483647 w 468"/>
                  <a:gd name="T115" fmla="*/ 2147483647 h 287"/>
                  <a:gd name="T116" fmla="*/ 2147483647 w 468"/>
                  <a:gd name="T117" fmla="*/ 2147483647 h 287"/>
                  <a:gd name="T118" fmla="*/ 2147483647 w 468"/>
                  <a:gd name="T119" fmla="*/ 2147483647 h 287"/>
                  <a:gd name="T120" fmla="*/ 2147483647 w 468"/>
                  <a:gd name="T121" fmla="*/ 2147483647 h 28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68"/>
                  <a:gd name="T184" fmla="*/ 0 h 287"/>
                  <a:gd name="T185" fmla="*/ 468 w 468"/>
                  <a:gd name="T186" fmla="*/ 287 h 287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68" h="287">
                    <a:moveTo>
                      <a:pt x="452" y="106"/>
                    </a:moveTo>
                    <a:lnTo>
                      <a:pt x="447" y="106"/>
                    </a:lnTo>
                    <a:lnTo>
                      <a:pt x="443" y="111"/>
                    </a:lnTo>
                    <a:lnTo>
                      <a:pt x="438" y="112"/>
                    </a:lnTo>
                    <a:lnTo>
                      <a:pt x="434" y="115"/>
                    </a:lnTo>
                    <a:lnTo>
                      <a:pt x="432" y="120"/>
                    </a:lnTo>
                    <a:lnTo>
                      <a:pt x="428" y="121"/>
                    </a:lnTo>
                    <a:lnTo>
                      <a:pt x="426" y="126"/>
                    </a:lnTo>
                    <a:lnTo>
                      <a:pt x="422" y="121"/>
                    </a:lnTo>
                    <a:lnTo>
                      <a:pt x="416" y="124"/>
                    </a:lnTo>
                    <a:lnTo>
                      <a:pt x="409" y="132"/>
                    </a:lnTo>
                    <a:lnTo>
                      <a:pt x="412" y="129"/>
                    </a:lnTo>
                    <a:lnTo>
                      <a:pt x="409" y="139"/>
                    </a:lnTo>
                    <a:lnTo>
                      <a:pt x="404" y="138"/>
                    </a:lnTo>
                    <a:lnTo>
                      <a:pt x="400" y="134"/>
                    </a:lnTo>
                    <a:lnTo>
                      <a:pt x="397" y="130"/>
                    </a:lnTo>
                    <a:lnTo>
                      <a:pt x="397" y="125"/>
                    </a:lnTo>
                    <a:lnTo>
                      <a:pt x="394" y="123"/>
                    </a:lnTo>
                    <a:lnTo>
                      <a:pt x="391" y="118"/>
                    </a:lnTo>
                    <a:lnTo>
                      <a:pt x="390" y="114"/>
                    </a:lnTo>
                    <a:lnTo>
                      <a:pt x="389" y="108"/>
                    </a:lnTo>
                    <a:lnTo>
                      <a:pt x="392" y="103"/>
                    </a:lnTo>
                    <a:lnTo>
                      <a:pt x="391" y="100"/>
                    </a:lnTo>
                    <a:lnTo>
                      <a:pt x="391" y="95"/>
                    </a:lnTo>
                    <a:lnTo>
                      <a:pt x="390" y="91"/>
                    </a:lnTo>
                    <a:lnTo>
                      <a:pt x="387" y="87"/>
                    </a:lnTo>
                    <a:lnTo>
                      <a:pt x="384" y="84"/>
                    </a:lnTo>
                    <a:lnTo>
                      <a:pt x="381" y="78"/>
                    </a:lnTo>
                    <a:lnTo>
                      <a:pt x="378" y="73"/>
                    </a:lnTo>
                    <a:lnTo>
                      <a:pt x="375" y="74"/>
                    </a:lnTo>
                    <a:lnTo>
                      <a:pt x="370" y="74"/>
                    </a:lnTo>
                    <a:lnTo>
                      <a:pt x="360" y="76"/>
                    </a:lnTo>
                    <a:lnTo>
                      <a:pt x="356" y="79"/>
                    </a:lnTo>
                    <a:lnTo>
                      <a:pt x="351" y="80"/>
                    </a:lnTo>
                    <a:lnTo>
                      <a:pt x="347" y="83"/>
                    </a:lnTo>
                    <a:lnTo>
                      <a:pt x="342" y="83"/>
                    </a:lnTo>
                    <a:lnTo>
                      <a:pt x="338" y="84"/>
                    </a:lnTo>
                    <a:lnTo>
                      <a:pt x="333" y="84"/>
                    </a:lnTo>
                    <a:lnTo>
                      <a:pt x="328" y="83"/>
                    </a:lnTo>
                    <a:lnTo>
                      <a:pt x="322" y="81"/>
                    </a:lnTo>
                    <a:lnTo>
                      <a:pt x="318" y="79"/>
                    </a:lnTo>
                    <a:lnTo>
                      <a:pt x="312" y="75"/>
                    </a:lnTo>
                    <a:lnTo>
                      <a:pt x="307" y="73"/>
                    </a:lnTo>
                    <a:lnTo>
                      <a:pt x="302" y="71"/>
                    </a:lnTo>
                    <a:lnTo>
                      <a:pt x="297" y="69"/>
                    </a:lnTo>
                    <a:lnTo>
                      <a:pt x="292" y="70"/>
                    </a:lnTo>
                    <a:lnTo>
                      <a:pt x="288" y="70"/>
                    </a:lnTo>
                    <a:lnTo>
                      <a:pt x="281" y="71"/>
                    </a:lnTo>
                    <a:lnTo>
                      <a:pt x="276" y="72"/>
                    </a:lnTo>
                    <a:lnTo>
                      <a:pt x="272" y="73"/>
                    </a:lnTo>
                    <a:lnTo>
                      <a:pt x="265" y="73"/>
                    </a:lnTo>
                    <a:lnTo>
                      <a:pt x="259" y="72"/>
                    </a:lnTo>
                    <a:lnTo>
                      <a:pt x="255" y="73"/>
                    </a:lnTo>
                    <a:lnTo>
                      <a:pt x="250" y="73"/>
                    </a:lnTo>
                    <a:lnTo>
                      <a:pt x="246" y="74"/>
                    </a:lnTo>
                    <a:lnTo>
                      <a:pt x="242" y="71"/>
                    </a:lnTo>
                    <a:lnTo>
                      <a:pt x="240" y="67"/>
                    </a:lnTo>
                    <a:lnTo>
                      <a:pt x="236" y="63"/>
                    </a:lnTo>
                    <a:lnTo>
                      <a:pt x="236" y="59"/>
                    </a:lnTo>
                    <a:lnTo>
                      <a:pt x="235" y="54"/>
                    </a:lnTo>
                    <a:lnTo>
                      <a:pt x="232" y="51"/>
                    </a:lnTo>
                    <a:lnTo>
                      <a:pt x="227" y="47"/>
                    </a:lnTo>
                    <a:lnTo>
                      <a:pt x="222" y="42"/>
                    </a:lnTo>
                    <a:lnTo>
                      <a:pt x="217" y="36"/>
                    </a:lnTo>
                    <a:lnTo>
                      <a:pt x="212" y="35"/>
                    </a:lnTo>
                    <a:lnTo>
                      <a:pt x="207" y="29"/>
                    </a:lnTo>
                    <a:lnTo>
                      <a:pt x="202" y="25"/>
                    </a:lnTo>
                    <a:lnTo>
                      <a:pt x="197" y="24"/>
                    </a:lnTo>
                    <a:lnTo>
                      <a:pt x="191" y="23"/>
                    </a:lnTo>
                    <a:lnTo>
                      <a:pt x="187" y="23"/>
                    </a:lnTo>
                    <a:lnTo>
                      <a:pt x="182" y="24"/>
                    </a:lnTo>
                    <a:lnTo>
                      <a:pt x="177" y="25"/>
                    </a:lnTo>
                    <a:lnTo>
                      <a:pt x="172" y="25"/>
                    </a:lnTo>
                    <a:lnTo>
                      <a:pt x="168" y="21"/>
                    </a:lnTo>
                    <a:lnTo>
                      <a:pt x="163" y="21"/>
                    </a:lnTo>
                    <a:lnTo>
                      <a:pt x="152" y="17"/>
                    </a:lnTo>
                    <a:lnTo>
                      <a:pt x="145" y="14"/>
                    </a:lnTo>
                    <a:lnTo>
                      <a:pt x="139" y="12"/>
                    </a:lnTo>
                    <a:lnTo>
                      <a:pt x="137" y="9"/>
                    </a:lnTo>
                    <a:lnTo>
                      <a:pt x="129" y="5"/>
                    </a:lnTo>
                    <a:lnTo>
                      <a:pt x="124" y="4"/>
                    </a:lnTo>
                    <a:lnTo>
                      <a:pt x="119" y="4"/>
                    </a:lnTo>
                    <a:lnTo>
                      <a:pt x="115" y="3"/>
                    </a:lnTo>
                    <a:lnTo>
                      <a:pt x="110" y="2"/>
                    </a:lnTo>
                    <a:lnTo>
                      <a:pt x="103" y="0"/>
                    </a:lnTo>
                    <a:lnTo>
                      <a:pt x="98" y="1"/>
                    </a:lnTo>
                    <a:lnTo>
                      <a:pt x="92" y="0"/>
                    </a:lnTo>
                    <a:lnTo>
                      <a:pt x="85" y="1"/>
                    </a:lnTo>
                    <a:lnTo>
                      <a:pt x="80" y="1"/>
                    </a:lnTo>
                    <a:lnTo>
                      <a:pt x="76" y="2"/>
                    </a:lnTo>
                    <a:lnTo>
                      <a:pt x="74" y="7"/>
                    </a:lnTo>
                    <a:lnTo>
                      <a:pt x="73" y="11"/>
                    </a:lnTo>
                    <a:lnTo>
                      <a:pt x="71" y="16"/>
                    </a:lnTo>
                    <a:lnTo>
                      <a:pt x="69" y="20"/>
                    </a:lnTo>
                    <a:lnTo>
                      <a:pt x="69" y="24"/>
                    </a:lnTo>
                    <a:lnTo>
                      <a:pt x="70" y="28"/>
                    </a:lnTo>
                    <a:lnTo>
                      <a:pt x="71" y="33"/>
                    </a:lnTo>
                    <a:lnTo>
                      <a:pt x="68" y="33"/>
                    </a:lnTo>
                    <a:lnTo>
                      <a:pt x="64" y="34"/>
                    </a:lnTo>
                    <a:lnTo>
                      <a:pt x="70" y="41"/>
                    </a:lnTo>
                    <a:lnTo>
                      <a:pt x="65" y="42"/>
                    </a:lnTo>
                    <a:lnTo>
                      <a:pt x="62" y="42"/>
                    </a:lnTo>
                    <a:lnTo>
                      <a:pt x="63" y="48"/>
                    </a:lnTo>
                    <a:lnTo>
                      <a:pt x="65" y="55"/>
                    </a:lnTo>
                    <a:lnTo>
                      <a:pt x="67" y="59"/>
                    </a:lnTo>
                    <a:lnTo>
                      <a:pt x="72" y="59"/>
                    </a:lnTo>
                    <a:lnTo>
                      <a:pt x="75" y="64"/>
                    </a:lnTo>
                    <a:lnTo>
                      <a:pt x="80" y="65"/>
                    </a:lnTo>
                    <a:lnTo>
                      <a:pt x="76" y="71"/>
                    </a:lnTo>
                    <a:lnTo>
                      <a:pt x="71" y="71"/>
                    </a:lnTo>
                    <a:lnTo>
                      <a:pt x="68" y="72"/>
                    </a:lnTo>
                    <a:lnTo>
                      <a:pt x="63" y="72"/>
                    </a:lnTo>
                    <a:lnTo>
                      <a:pt x="58" y="73"/>
                    </a:lnTo>
                    <a:lnTo>
                      <a:pt x="54" y="74"/>
                    </a:lnTo>
                    <a:lnTo>
                      <a:pt x="49" y="74"/>
                    </a:lnTo>
                    <a:lnTo>
                      <a:pt x="44" y="76"/>
                    </a:lnTo>
                    <a:lnTo>
                      <a:pt x="39" y="77"/>
                    </a:lnTo>
                    <a:lnTo>
                      <a:pt x="35" y="77"/>
                    </a:lnTo>
                    <a:lnTo>
                      <a:pt x="30" y="80"/>
                    </a:lnTo>
                    <a:lnTo>
                      <a:pt x="26" y="82"/>
                    </a:lnTo>
                    <a:lnTo>
                      <a:pt x="21" y="83"/>
                    </a:lnTo>
                    <a:lnTo>
                      <a:pt x="20" y="88"/>
                    </a:lnTo>
                    <a:lnTo>
                      <a:pt x="15" y="90"/>
                    </a:lnTo>
                    <a:lnTo>
                      <a:pt x="15" y="95"/>
                    </a:lnTo>
                    <a:lnTo>
                      <a:pt x="14" y="99"/>
                    </a:lnTo>
                    <a:lnTo>
                      <a:pt x="12" y="103"/>
                    </a:lnTo>
                    <a:lnTo>
                      <a:pt x="10" y="108"/>
                    </a:lnTo>
                    <a:lnTo>
                      <a:pt x="6" y="113"/>
                    </a:lnTo>
                    <a:lnTo>
                      <a:pt x="2" y="117"/>
                    </a:lnTo>
                    <a:lnTo>
                      <a:pt x="1" y="127"/>
                    </a:lnTo>
                    <a:lnTo>
                      <a:pt x="1" y="132"/>
                    </a:lnTo>
                    <a:lnTo>
                      <a:pt x="0" y="137"/>
                    </a:lnTo>
                    <a:lnTo>
                      <a:pt x="3" y="142"/>
                    </a:lnTo>
                    <a:lnTo>
                      <a:pt x="3" y="145"/>
                    </a:lnTo>
                    <a:lnTo>
                      <a:pt x="4" y="150"/>
                    </a:lnTo>
                    <a:lnTo>
                      <a:pt x="4" y="154"/>
                    </a:lnTo>
                    <a:lnTo>
                      <a:pt x="5" y="158"/>
                    </a:lnTo>
                    <a:lnTo>
                      <a:pt x="5" y="162"/>
                    </a:lnTo>
                    <a:lnTo>
                      <a:pt x="6" y="166"/>
                    </a:lnTo>
                    <a:lnTo>
                      <a:pt x="6" y="170"/>
                    </a:lnTo>
                    <a:lnTo>
                      <a:pt x="7" y="175"/>
                    </a:lnTo>
                    <a:lnTo>
                      <a:pt x="5" y="178"/>
                    </a:lnTo>
                    <a:lnTo>
                      <a:pt x="6" y="183"/>
                    </a:lnTo>
                    <a:lnTo>
                      <a:pt x="7" y="187"/>
                    </a:lnTo>
                    <a:lnTo>
                      <a:pt x="9" y="191"/>
                    </a:lnTo>
                    <a:lnTo>
                      <a:pt x="10" y="198"/>
                    </a:lnTo>
                    <a:lnTo>
                      <a:pt x="11" y="203"/>
                    </a:lnTo>
                    <a:lnTo>
                      <a:pt x="12" y="209"/>
                    </a:lnTo>
                    <a:lnTo>
                      <a:pt x="15" y="214"/>
                    </a:lnTo>
                    <a:lnTo>
                      <a:pt x="16" y="217"/>
                    </a:lnTo>
                    <a:lnTo>
                      <a:pt x="17" y="224"/>
                    </a:lnTo>
                    <a:lnTo>
                      <a:pt x="16" y="220"/>
                    </a:lnTo>
                    <a:lnTo>
                      <a:pt x="17" y="215"/>
                    </a:lnTo>
                    <a:lnTo>
                      <a:pt x="22" y="214"/>
                    </a:lnTo>
                    <a:lnTo>
                      <a:pt x="27" y="213"/>
                    </a:lnTo>
                    <a:lnTo>
                      <a:pt x="29" y="210"/>
                    </a:lnTo>
                    <a:lnTo>
                      <a:pt x="30" y="205"/>
                    </a:lnTo>
                    <a:lnTo>
                      <a:pt x="35" y="202"/>
                    </a:lnTo>
                    <a:lnTo>
                      <a:pt x="40" y="202"/>
                    </a:lnTo>
                    <a:lnTo>
                      <a:pt x="45" y="203"/>
                    </a:lnTo>
                    <a:lnTo>
                      <a:pt x="49" y="202"/>
                    </a:lnTo>
                    <a:lnTo>
                      <a:pt x="54" y="204"/>
                    </a:lnTo>
                    <a:lnTo>
                      <a:pt x="59" y="203"/>
                    </a:lnTo>
                    <a:lnTo>
                      <a:pt x="62" y="208"/>
                    </a:lnTo>
                    <a:lnTo>
                      <a:pt x="60" y="211"/>
                    </a:lnTo>
                    <a:lnTo>
                      <a:pt x="61" y="216"/>
                    </a:lnTo>
                    <a:lnTo>
                      <a:pt x="56" y="221"/>
                    </a:lnTo>
                    <a:lnTo>
                      <a:pt x="52" y="223"/>
                    </a:lnTo>
                    <a:lnTo>
                      <a:pt x="48" y="224"/>
                    </a:lnTo>
                    <a:lnTo>
                      <a:pt x="45" y="228"/>
                    </a:lnTo>
                    <a:lnTo>
                      <a:pt x="46" y="233"/>
                    </a:lnTo>
                    <a:lnTo>
                      <a:pt x="51" y="233"/>
                    </a:lnTo>
                    <a:lnTo>
                      <a:pt x="57" y="238"/>
                    </a:lnTo>
                    <a:lnTo>
                      <a:pt x="61" y="239"/>
                    </a:lnTo>
                    <a:lnTo>
                      <a:pt x="65" y="244"/>
                    </a:lnTo>
                    <a:lnTo>
                      <a:pt x="65" y="247"/>
                    </a:lnTo>
                    <a:lnTo>
                      <a:pt x="66" y="252"/>
                    </a:lnTo>
                    <a:lnTo>
                      <a:pt x="66" y="256"/>
                    </a:lnTo>
                    <a:lnTo>
                      <a:pt x="67" y="260"/>
                    </a:lnTo>
                    <a:lnTo>
                      <a:pt x="69" y="263"/>
                    </a:lnTo>
                    <a:lnTo>
                      <a:pt x="75" y="266"/>
                    </a:lnTo>
                    <a:lnTo>
                      <a:pt x="80" y="268"/>
                    </a:lnTo>
                    <a:lnTo>
                      <a:pt x="84" y="269"/>
                    </a:lnTo>
                    <a:lnTo>
                      <a:pt x="88" y="274"/>
                    </a:lnTo>
                    <a:lnTo>
                      <a:pt x="93" y="275"/>
                    </a:lnTo>
                    <a:lnTo>
                      <a:pt x="96" y="279"/>
                    </a:lnTo>
                    <a:lnTo>
                      <a:pt x="99" y="280"/>
                    </a:lnTo>
                    <a:lnTo>
                      <a:pt x="103" y="277"/>
                    </a:lnTo>
                    <a:lnTo>
                      <a:pt x="108" y="276"/>
                    </a:lnTo>
                    <a:lnTo>
                      <a:pt x="115" y="276"/>
                    </a:lnTo>
                    <a:lnTo>
                      <a:pt x="120" y="276"/>
                    </a:lnTo>
                    <a:lnTo>
                      <a:pt x="125" y="274"/>
                    </a:lnTo>
                    <a:lnTo>
                      <a:pt x="129" y="270"/>
                    </a:lnTo>
                    <a:lnTo>
                      <a:pt x="134" y="270"/>
                    </a:lnTo>
                    <a:lnTo>
                      <a:pt x="139" y="269"/>
                    </a:lnTo>
                    <a:lnTo>
                      <a:pt x="144" y="268"/>
                    </a:lnTo>
                    <a:lnTo>
                      <a:pt x="148" y="268"/>
                    </a:lnTo>
                    <a:lnTo>
                      <a:pt x="153" y="267"/>
                    </a:lnTo>
                    <a:lnTo>
                      <a:pt x="158" y="266"/>
                    </a:lnTo>
                    <a:lnTo>
                      <a:pt x="162" y="264"/>
                    </a:lnTo>
                    <a:lnTo>
                      <a:pt x="169" y="265"/>
                    </a:lnTo>
                    <a:lnTo>
                      <a:pt x="173" y="264"/>
                    </a:lnTo>
                    <a:lnTo>
                      <a:pt x="178" y="264"/>
                    </a:lnTo>
                    <a:lnTo>
                      <a:pt x="185" y="263"/>
                    </a:lnTo>
                    <a:lnTo>
                      <a:pt x="190" y="262"/>
                    </a:lnTo>
                    <a:lnTo>
                      <a:pt x="195" y="261"/>
                    </a:lnTo>
                    <a:lnTo>
                      <a:pt x="200" y="261"/>
                    </a:lnTo>
                    <a:lnTo>
                      <a:pt x="204" y="258"/>
                    </a:lnTo>
                    <a:lnTo>
                      <a:pt x="206" y="253"/>
                    </a:lnTo>
                    <a:lnTo>
                      <a:pt x="210" y="249"/>
                    </a:lnTo>
                    <a:lnTo>
                      <a:pt x="212" y="244"/>
                    </a:lnTo>
                    <a:lnTo>
                      <a:pt x="217" y="241"/>
                    </a:lnTo>
                    <a:lnTo>
                      <a:pt x="220" y="239"/>
                    </a:lnTo>
                    <a:lnTo>
                      <a:pt x="225" y="235"/>
                    </a:lnTo>
                    <a:lnTo>
                      <a:pt x="230" y="235"/>
                    </a:lnTo>
                    <a:lnTo>
                      <a:pt x="235" y="234"/>
                    </a:lnTo>
                    <a:lnTo>
                      <a:pt x="239" y="233"/>
                    </a:lnTo>
                    <a:lnTo>
                      <a:pt x="244" y="233"/>
                    </a:lnTo>
                    <a:lnTo>
                      <a:pt x="248" y="231"/>
                    </a:lnTo>
                    <a:lnTo>
                      <a:pt x="249" y="227"/>
                    </a:lnTo>
                    <a:lnTo>
                      <a:pt x="250" y="222"/>
                    </a:lnTo>
                    <a:lnTo>
                      <a:pt x="255" y="219"/>
                    </a:lnTo>
                    <a:lnTo>
                      <a:pt x="260" y="220"/>
                    </a:lnTo>
                    <a:lnTo>
                      <a:pt x="266" y="222"/>
                    </a:lnTo>
                    <a:lnTo>
                      <a:pt x="268" y="226"/>
                    </a:lnTo>
                    <a:lnTo>
                      <a:pt x="267" y="230"/>
                    </a:lnTo>
                    <a:lnTo>
                      <a:pt x="267" y="235"/>
                    </a:lnTo>
                    <a:lnTo>
                      <a:pt x="270" y="239"/>
                    </a:lnTo>
                    <a:lnTo>
                      <a:pt x="279" y="241"/>
                    </a:lnTo>
                    <a:lnTo>
                      <a:pt x="284" y="240"/>
                    </a:lnTo>
                    <a:lnTo>
                      <a:pt x="289" y="240"/>
                    </a:lnTo>
                    <a:lnTo>
                      <a:pt x="294" y="239"/>
                    </a:lnTo>
                    <a:lnTo>
                      <a:pt x="298" y="240"/>
                    </a:lnTo>
                    <a:lnTo>
                      <a:pt x="302" y="247"/>
                    </a:lnTo>
                    <a:lnTo>
                      <a:pt x="305" y="251"/>
                    </a:lnTo>
                    <a:lnTo>
                      <a:pt x="303" y="255"/>
                    </a:lnTo>
                    <a:lnTo>
                      <a:pt x="304" y="260"/>
                    </a:lnTo>
                    <a:lnTo>
                      <a:pt x="304" y="263"/>
                    </a:lnTo>
                    <a:lnTo>
                      <a:pt x="305" y="268"/>
                    </a:lnTo>
                    <a:lnTo>
                      <a:pt x="310" y="271"/>
                    </a:lnTo>
                    <a:lnTo>
                      <a:pt x="315" y="275"/>
                    </a:lnTo>
                    <a:lnTo>
                      <a:pt x="320" y="274"/>
                    </a:lnTo>
                    <a:lnTo>
                      <a:pt x="325" y="273"/>
                    </a:lnTo>
                    <a:lnTo>
                      <a:pt x="326" y="278"/>
                    </a:lnTo>
                    <a:lnTo>
                      <a:pt x="328" y="282"/>
                    </a:lnTo>
                    <a:lnTo>
                      <a:pt x="329" y="286"/>
                    </a:lnTo>
                    <a:lnTo>
                      <a:pt x="334" y="287"/>
                    </a:lnTo>
                    <a:lnTo>
                      <a:pt x="339" y="286"/>
                    </a:lnTo>
                    <a:lnTo>
                      <a:pt x="342" y="284"/>
                    </a:lnTo>
                    <a:lnTo>
                      <a:pt x="345" y="280"/>
                    </a:lnTo>
                    <a:lnTo>
                      <a:pt x="348" y="275"/>
                    </a:lnTo>
                    <a:lnTo>
                      <a:pt x="353" y="269"/>
                    </a:lnTo>
                    <a:lnTo>
                      <a:pt x="352" y="266"/>
                    </a:lnTo>
                    <a:lnTo>
                      <a:pt x="357" y="263"/>
                    </a:lnTo>
                    <a:lnTo>
                      <a:pt x="361" y="258"/>
                    </a:lnTo>
                    <a:lnTo>
                      <a:pt x="365" y="255"/>
                    </a:lnTo>
                    <a:lnTo>
                      <a:pt x="370" y="254"/>
                    </a:lnTo>
                    <a:lnTo>
                      <a:pt x="375" y="253"/>
                    </a:lnTo>
                    <a:lnTo>
                      <a:pt x="380" y="256"/>
                    </a:lnTo>
                    <a:lnTo>
                      <a:pt x="384" y="257"/>
                    </a:lnTo>
                    <a:lnTo>
                      <a:pt x="389" y="252"/>
                    </a:lnTo>
                    <a:lnTo>
                      <a:pt x="393" y="248"/>
                    </a:lnTo>
                    <a:lnTo>
                      <a:pt x="398" y="245"/>
                    </a:lnTo>
                    <a:lnTo>
                      <a:pt x="400" y="242"/>
                    </a:lnTo>
                    <a:lnTo>
                      <a:pt x="405" y="241"/>
                    </a:lnTo>
                    <a:lnTo>
                      <a:pt x="411" y="245"/>
                    </a:lnTo>
                    <a:lnTo>
                      <a:pt x="415" y="245"/>
                    </a:lnTo>
                    <a:lnTo>
                      <a:pt x="420" y="244"/>
                    </a:lnTo>
                    <a:lnTo>
                      <a:pt x="425" y="242"/>
                    </a:lnTo>
                    <a:lnTo>
                      <a:pt x="432" y="243"/>
                    </a:lnTo>
                    <a:lnTo>
                      <a:pt x="437" y="243"/>
                    </a:lnTo>
                    <a:lnTo>
                      <a:pt x="442" y="242"/>
                    </a:lnTo>
                    <a:lnTo>
                      <a:pt x="443" y="239"/>
                    </a:lnTo>
                    <a:lnTo>
                      <a:pt x="448" y="235"/>
                    </a:lnTo>
                    <a:lnTo>
                      <a:pt x="449" y="231"/>
                    </a:lnTo>
                    <a:lnTo>
                      <a:pt x="454" y="231"/>
                    </a:lnTo>
                    <a:lnTo>
                      <a:pt x="459" y="230"/>
                    </a:lnTo>
                    <a:lnTo>
                      <a:pt x="463" y="229"/>
                    </a:lnTo>
                    <a:lnTo>
                      <a:pt x="466" y="225"/>
                    </a:lnTo>
                    <a:lnTo>
                      <a:pt x="467" y="221"/>
                    </a:lnTo>
                    <a:lnTo>
                      <a:pt x="468" y="216"/>
                    </a:lnTo>
                    <a:lnTo>
                      <a:pt x="468" y="213"/>
                    </a:lnTo>
                    <a:lnTo>
                      <a:pt x="465" y="208"/>
                    </a:lnTo>
                    <a:lnTo>
                      <a:pt x="463" y="203"/>
                    </a:lnTo>
                    <a:lnTo>
                      <a:pt x="459" y="201"/>
                    </a:lnTo>
                    <a:lnTo>
                      <a:pt x="459" y="196"/>
                    </a:lnTo>
                    <a:lnTo>
                      <a:pt x="461" y="191"/>
                    </a:lnTo>
                    <a:lnTo>
                      <a:pt x="465" y="190"/>
                    </a:lnTo>
                    <a:lnTo>
                      <a:pt x="464" y="185"/>
                    </a:lnTo>
                    <a:lnTo>
                      <a:pt x="463" y="178"/>
                    </a:lnTo>
                    <a:lnTo>
                      <a:pt x="461" y="175"/>
                    </a:lnTo>
                    <a:lnTo>
                      <a:pt x="455" y="171"/>
                    </a:lnTo>
                    <a:lnTo>
                      <a:pt x="458" y="167"/>
                    </a:lnTo>
                    <a:lnTo>
                      <a:pt x="462" y="164"/>
                    </a:lnTo>
                    <a:lnTo>
                      <a:pt x="461" y="160"/>
                    </a:lnTo>
                    <a:lnTo>
                      <a:pt x="460" y="155"/>
                    </a:lnTo>
                    <a:lnTo>
                      <a:pt x="460" y="152"/>
                    </a:lnTo>
                    <a:lnTo>
                      <a:pt x="462" y="147"/>
                    </a:lnTo>
                    <a:lnTo>
                      <a:pt x="459" y="143"/>
                    </a:lnTo>
                    <a:lnTo>
                      <a:pt x="458" y="139"/>
                    </a:lnTo>
                    <a:lnTo>
                      <a:pt x="456" y="136"/>
                    </a:lnTo>
                    <a:lnTo>
                      <a:pt x="453" y="131"/>
                    </a:lnTo>
                    <a:lnTo>
                      <a:pt x="453" y="127"/>
                    </a:lnTo>
                    <a:lnTo>
                      <a:pt x="452" y="123"/>
                    </a:lnTo>
                    <a:lnTo>
                      <a:pt x="451" y="118"/>
                    </a:lnTo>
                    <a:lnTo>
                      <a:pt x="453" y="115"/>
                    </a:lnTo>
                    <a:lnTo>
                      <a:pt x="452" y="106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1" name="Freeform 124"/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3751094" y="4166956"/>
                <a:ext cx="554474" cy="339928"/>
              </a:xfrm>
              <a:custGeom>
                <a:avLst/>
                <a:gdLst>
                  <a:gd name="T0" fmla="*/ 2147483647 w 446"/>
                  <a:gd name="T1" fmla="*/ 2147483647 h 288"/>
                  <a:gd name="T2" fmla="*/ 2147483647 w 446"/>
                  <a:gd name="T3" fmla="*/ 2147483647 h 288"/>
                  <a:gd name="T4" fmla="*/ 2147483647 w 446"/>
                  <a:gd name="T5" fmla="*/ 2147483647 h 288"/>
                  <a:gd name="T6" fmla="*/ 2147483647 w 446"/>
                  <a:gd name="T7" fmla="*/ 2147483647 h 288"/>
                  <a:gd name="T8" fmla="*/ 2147483647 w 446"/>
                  <a:gd name="T9" fmla="*/ 2147483647 h 288"/>
                  <a:gd name="T10" fmla="*/ 2147483647 w 446"/>
                  <a:gd name="T11" fmla="*/ 2147483647 h 288"/>
                  <a:gd name="T12" fmla="*/ 2147483647 w 446"/>
                  <a:gd name="T13" fmla="*/ 2147483647 h 288"/>
                  <a:gd name="T14" fmla="*/ 2147483647 w 446"/>
                  <a:gd name="T15" fmla="*/ 2147483647 h 288"/>
                  <a:gd name="T16" fmla="*/ 2147483647 w 446"/>
                  <a:gd name="T17" fmla="*/ 2147483647 h 288"/>
                  <a:gd name="T18" fmla="*/ 2147483647 w 446"/>
                  <a:gd name="T19" fmla="*/ 2147483647 h 288"/>
                  <a:gd name="T20" fmla="*/ 2147483647 w 446"/>
                  <a:gd name="T21" fmla="*/ 0 h 288"/>
                  <a:gd name="T22" fmla="*/ 2147483647 w 446"/>
                  <a:gd name="T23" fmla="*/ 2147483647 h 288"/>
                  <a:gd name="T24" fmla="*/ 2147483647 w 446"/>
                  <a:gd name="T25" fmla="*/ 2147483647 h 288"/>
                  <a:gd name="T26" fmla="*/ 2147483647 w 446"/>
                  <a:gd name="T27" fmla="*/ 2147483647 h 288"/>
                  <a:gd name="T28" fmla="*/ 2147483647 w 446"/>
                  <a:gd name="T29" fmla="*/ 2147483647 h 288"/>
                  <a:gd name="T30" fmla="*/ 2147483647 w 446"/>
                  <a:gd name="T31" fmla="*/ 2147483647 h 288"/>
                  <a:gd name="T32" fmla="*/ 2147483647 w 446"/>
                  <a:gd name="T33" fmla="*/ 2147483647 h 288"/>
                  <a:gd name="T34" fmla="*/ 2147483647 w 446"/>
                  <a:gd name="T35" fmla="*/ 2147483647 h 288"/>
                  <a:gd name="T36" fmla="*/ 2147483647 w 446"/>
                  <a:gd name="T37" fmla="*/ 2147483647 h 288"/>
                  <a:gd name="T38" fmla="*/ 2147483647 w 446"/>
                  <a:gd name="T39" fmla="*/ 2147483647 h 288"/>
                  <a:gd name="T40" fmla="*/ 2147483647 w 446"/>
                  <a:gd name="T41" fmla="*/ 2147483647 h 288"/>
                  <a:gd name="T42" fmla="*/ 2147483647 w 446"/>
                  <a:gd name="T43" fmla="*/ 2147483647 h 288"/>
                  <a:gd name="T44" fmla="*/ 2147483647 w 446"/>
                  <a:gd name="T45" fmla="*/ 2147483647 h 288"/>
                  <a:gd name="T46" fmla="*/ 2147483647 w 446"/>
                  <a:gd name="T47" fmla="*/ 2147483647 h 288"/>
                  <a:gd name="T48" fmla="*/ 2147483647 w 446"/>
                  <a:gd name="T49" fmla="*/ 2147483647 h 288"/>
                  <a:gd name="T50" fmla="*/ 2147483647 w 446"/>
                  <a:gd name="T51" fmla="*/ 2147483647 h 288"/>
                  <a:gd name="T52" fmla="*/ 2147483647 w 446"/>
                  <a:gd name="T53" fmla="*/ 2147483647 h 288"/>
                  <a:gd name="T54" fmla="*/ 2147483647 w 446"/>
                  <a:gd name="T55" fmla="*/ 2147483647 h 288"/>
                  <a:gd name="T56" fmla="*/ 2147483647 w 446"/>
                  <a:gd name="T57" fmla="*/ 2147483647 h 288"/>
                  <a:gd name="T58" fmla="*/ 2147483647 w 446"/>
                  <a:gd name="T59" fmla="*/ 2147483647 h 288"/>
                  <a:gd name="T60" fmla="*/ 2147483647 w 446"/>
                  <a:gd name="T61" fmla="*/ 2147483647 h 288"/>
                  <a:gd name="T62" fmla="*/ 2147483647 w 446"/>
                  <a:gd name="T63" fmla="*/ 2147483647 h 288"/>
                  <a:gd name="T64" fmla="*/ 2147483647 w 446"/>
                  <a:gd name="T65" fmla="*/ 2147483647 h 288"/>
                  <a:gd name="T66" fmla="*/ 2147483647 w 446"/>
                  <a:gd name="T67" fmla="*/ 2147483647 h 288"/>
                  <a:gd name="T68" fmla="*/ 2147483647 w 446"/>
                  <a:gd name="T69" fmla="*/ 2147483647 h 288"/>
                  <a:gd name="T70" fmla="*/ 2147483647 w 446"/>
                  <a:gd name="T71" fmla="*/ 2147483647 h 288"/>
                  <a:gd name="T72" fmla="*/ 2147483647 w 446"/>
                  <a:gd name="T73" fmla="*/ 2147483647 h 288"/>
                  <a:gd name="T74" fmla="*/ 2147483647 w 446"/>
                  <a:gd name="T75" fmla="*/ 2147483647 h 288"/>
                  <a:gd name="T76" fmla="*/ 2147483647 w 446"/>
                  <a:gd name="T77" fmla="*/ 2147483647 h 288"/>
                  <a:gd name="T78" fmla="*/ 2147483647 w 446"/>
                  <a:gd name="T79" fmla="*/ 2147483647 h 288"/>
                  <a:gd name="T80" fmla="*/ 2147483647 w 446"/>
                  <a:gd name="T81" fmla="*/ 2147483647 h 288"/>
                  <a:gd name="T82" fmla="*/ 2147483647 w 446"/>
                  <a:gd name="T83" fmla="*/ 2147483647 h 288"/>
                  <a:gd name="T84" fmla="*/ 2147483647 w 446"/>
                  <a:gd name="T85" fmla="*/ 2147483647 h 288"/>
                  <a:gd name="T86" fmla="*/ 2147483647 w 446"/>
                  <a:gd name="T87" fmla="*/ 2147483647 h 288"/>
                  <a:gd name="T88" fmla="*/ 2147483647 w 446"/>
                  <a:gd name="T89" fmla="*/ 2147483647 h 288"/>
                  <a:gd name="T90" fmla="*/ 2147483647 w 446"/>
                  <a:gd name="T91" fmla="*/ 2147483647 h 288"/>
                  <a:gd name="T92" fmla="*/ 2147483647 w 446"/>
                  <a:gd name="T93" fmla="*/ 2147483647 h 288"/>
                  <a:gd name="T94" fmla="*/ 2147483647 w 446"/>
                  <a:gd name="T95" fmla="*/ 2147483647 h 288"/>
                  <a:gd name="T96" fmla="*/ 2147483647 w 446"/>
                  <a:gd name="T97" fmla="*/ 2147483647 h 288"/>
                  <a:gd name="T98" fmla="*/ 2147483647 w 446"/>
                  <a:gd name="T99" fmla="*/ 2147483647 h 288"/>
                  <a:gd name="T100" fmla="*/ 2147483647 w 446"/>
                  <a:gd name="T101" fmla="*/ 2147483647 h 288"/>
                  <a:gd name="T102" fmla="*/ 2147483647 w 446"/>
                  <a:gd name="T103" fmla="*/ 2147483647 h 288"/>
                  <a:gd name="T104" fmla="*/ 2147483647 w 446"/>
                  <a:gd name="T105" fmla="*/ 2147483647 h 288"/>
                  <a:gd name="T106" fmla="*/ 2147483647 w 446"/>
                  <a:gd name="T107" fmla="*/ 2147483647 h 288"/>
                  <a:gd name="T108" fmla="*/ 2147483647 w 446"/>
                  <a:gd name="T109" fmla="*/ 2147483647 h 288"/>
                  <a:gd name="T110" fmla="*/ 2147483647 w 446"/>
                  <a:gd name="T111" fmla="*/ 2147483647 h 288"/>
                  <a:gd name="T112" fmla="*/ 2147483647 w 446"/>
                  <a:gd name="T113" fmla="*/ 2147483647 h 288"/>
                  <a:gd name="T114" fmla="*/ 2147483647 w 446"/>
                  <a:gd name="T115" fmla="*/ 2147483647 h 28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446"/>
                  <a:gd name="T175" fmla="*/ 0 h 288"/>
                  <a:gd name="T176" fmla="*/ 446 w 446"/>
                  <a:gd name="T177" fmla="*/ 288 h 28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446" h="288">
                    <a:moveTo>
                      <a:pt x="357" y="9"/>
                    </a:moveTo>
                    <a:lnTo>
                      <a:pt x="354" y="12"/>
                    </a:lnTo>
                    <a:lnTo>
                      <a:pt x="349" y="15"/>
                    </a:lnTo>
                    <a:lnTo>
                      <a:pt x="345" y="15"/>
                    </a:lnTo>
                    <a:lnTo>
                      <a:pt x="341" y="19"/>
                    </a:lnTo>
                    <a:lnTo>
                      <a:pt x="337" y="22"/>
                    </a:lnTo>
                    <a:lnTo>
                      <a:pt x="333" y="26"/>
                    </a:lnTo>
                    <a:lnTo>
                      <a:pt x="329" y="27"/>
                    </a:lnTo>
                    <a:lnTo>
                      <a:pt x="324" y="27"/>
                    </a:lnTo>
                    <a:lnTo>
                      <a:pt x="320" y="28"/>
                    </a:lnTo>
                    <a:lnTo>
                      <a:pt x="315" y="28"/>
                    </a:lnTo>
                    <a:lnTo>
                      <a:pt x="311" y="29"/>
                    </a:lnTo>
                    <a:lnTo>
                      <a:pt x="304" y="30"/>
                    </a:lnTo>
                    <a:lnTo>
                      <a:pt x="299" y="31"/>
                    </a:lnTo>
                    <a:lnTo>
                      <a:pt x="295" y="31"/>
                    </a:lnTo>
                    <a:lnTo>
                      <a:pt x="290" y="32"/>
                    </a:lnTo>
                    <a:lnTo>
                      <a:pt x="286" y="29"/>
                    </a:lnTo>
                    <a:lnTo>
                      <a:pt x="281" y="30"/>
                    </a:lnTo>
                    <a:lnTo>
                      <a:pt x="274" y="34"/>
                    </a:lnTo>
                    <a:lnTo>
                      <a:pt x="271" y="36"/>
                    </a:lnTo>
                    <a:lnTo>
                      <a:pt x="268" y="42"/>
                    </a:lnTo>
                    <a:lnTo>
                      <a:pt x="263" y="43"/>
                    </a:lnTo>
                    <a:lnTo>
                      <a:pt x="259" y="44"/>
                    </a:lnTo>
                    <a:lnTo>
                      <a:pt x="255" y="48"/>
                    </a:lnTo>
                    <a:lnTo>
                      <a:pt x="251" y="50"/>
                    </a:lnTo>
                    <a:lnTo>
                      <a:pt x="247" y="56"/>
                    </a:lnTo>
                    <a:lnTo>
                      <a:pt x="245" y="60"/>
                    </a:lnTo>
                    <a:lnTo>
                      <a:pt x="244" y="65"/>
                    </a:lnTo>
                    <a:lnTo>
                      <a:pt x="239" y="68"/>
                    </a:lnTo>
                    <a:lnTo>
                      <a:pt x="234" y="69"/>
                    </a:lnTo>
                    <a:lnTo>
                      <a:pt x="231" y="71"/>
                    </a:lnTo>
                    <a:lnTo>
                      <a:pt x="225" y="68"/>
                    </a:lnTo>
                    <a:lnTo>
                      <a:pt x="223" y="63"/>
                    </a:lnTo>
                    <a:lnTo>
                      <a:pt x="222" y="59"/>
                    </a:lnTo>
                    <a:lnTo>
                      <a:pt x="218" y="58"/>
                    </a:lnTo>
                    <a:lnTo>
                      <a:pt x="219" y="50"/>
                    </a:lnTo>
                    <a:lnTo>
                      <a:pt x="209" y="44"/>
                    </a:lnTo>
                    <a:lnTo>
                      <a:pt x="213" y="39"/>
                    </a:lnTo>
                    <a:lnTo>
                      <a:pt x="202" y="46"/>
                    </a:lnTo>
                    <a:lnTo>
                      <a:pt x="201" y="41"/>
                    </a:lnTo>
                    <a:lnTo>
                      <a:pt x="203" y="37"/>
                    </a:lnTo>
                    <a:lnTo>
                      <a:pt x="205" y="32"/>
                    </a:lnTo>
                    <a:lnTo>
                      <a:pt x="200" y="30"/>
                    </a:lnTo>
                    <a:lnTo>
                      <a:pt x="196" y="28"/>
                    </a:lnTo>
                    <a:lnTo>
                      <a:pt x="191" y="28"/>
                    </a:lnTo>
                    <a:lnTo>
                      <a:pt x="186" y="26"/>
                    </a:lnTo>
                    <a:lnTo>
                      <a:pt x="181" y="24"/>
                    </a:lnTo>
                    <a:lnTo>
                      <a:pt x="177" y="22"/>
                    </a:lnTo>
                    <a:lnTo>
                      <a:pt x="171" y="21"/>
                    </a:lnTo>
                    <a:lnTo>
                      <a:pt x="167" y="17"/>
                    </a:lnTo>
                    <a:lnTo>
                      <a:pt x="166" y="12"/>
                    </a:lnTo>
                    <a:lnTo>
                      <a:pt x="166" y="8"/>
                    </a:lnTo>
                    <a:lnTo>
                      <a:pt x="165" y="4"/>
                    </a:lnTo>
                    <a:lnTo>
                      <a:pt x="160" y="2"/>
                    </a:lnTo>
                    <a:lnTo>
                      <a:pt x="157" y="0"/>
                    </a:lnTo>
                    <a:lnTo>
                      <a:pt x="152" y="1"/>
                    </a:lnTo>
                    <a:lnTo>
                      <a:pt x="148" y="4"/>
                    </a:lnTo>
                    <a:lnTo>
                      <a:pt x="143" y="7"/>
                    </a:lnTo>
                    <a:lnTo>
                      <a:pt x="140" y="9"/>
                    </a:lnTo>
                    <a:lnTo>
                      <a:pt x="135" y="12"/>
                    </a:lnTo>
                    <a:lnTo>
                      <a:pt x="131" y="15"/>
                    </a:lnTo>
                    <a:lnTo>
                      <a:pt x="124" y="16"/>
                    </a:lnTo>
                    <a:lnTo>
                      <a:pt x="120" y="18"/>
                    </a:lnTo>
                    <a:lnTo>
                      <a:pt x="116" y="19"/>
                    </a:lnTo>
                    <a:lnTo>
                      <a:pt x="111" y="20"/>
                    </a:lnTo>
                    <a:lnTo>
                      <a:pt x="107" y="20"/>
                    </a:lnTo>
                    <a:lnTo>
                      <a:pt x="102" y="24"/>
                    </a:lnTo>
                    <a:lnTo>
                      <a:pt x="101" y="28"/>
                    </a:lnTo>
                    <a:lnTo>
                      <a:pt x="99" y="32"/>
                    </a:lnTo>
                    <a:lnTo>
                      <a:pt x="97" y="38"/>
                    </a:lnTo>
                    <a:lnTo>
                      <a:pt x="93" y="41"/>
                    </a:lnTo>
                    <a:lnTo>
                      <a:pt x="89" y="45"/>
                    </a:lnTo>
                    <a:lnTo>
                      <a:pt x="85" y="45"/>
                    </a:lnTo>
                    <a:lnTo>
                      <a:pt x="76" y="46"/>
                    </a:lnTo>
                    <a:lnTo>
                      <a:pt x="69" y="50"/>
                    </a:lnTo>
                    <a:lnTo>
                      <a:pt x="61" y="52"/>
                    </a:lnTo>
                    <a:lnTo>
                      <a:pt x="54" y="53"/>
                    </a:lnTo>
                    <a:lnTo>
                      <a:pt x="51" y="53"/>
                    </a:lnTo>
                    <a:lnTo>
                      <a:pt x="44" y="54"/>
                    </a:lnTo>
                    <a:lnTo>
                      <a:pt x="40" y="54"/>
                    </a:lnTo>
                    <a:lnTo>
                      <a:pt x="35" y="55"/>
                    </a:lnTo>
                    <a:lnTo>
                      <a:pt x="28" y="56"/>
                    </a:lnTo>
                    <a:lnTo>
                      <a:pt x="22" y="57"/>
                    </a:lnTo>
                    <a:lnTo>
                      <a:pt x="15" y="58"/>
                    </a:lnTo>
                    <a:lnTo>
                      <a:pt x="10" y="58"/>
                    </a:lnTo>
                    <a:lnTo>
                      <a:pt x="6" y="59"/>
                    </a:lnTo>
                    <a:lnTo>
                      <a:pt x="1" y="60"/>
                    </a:lnTo>
                    <a:lnTo>
                      <a:pt x="0" y="65"/>
                    </a:lnTo>
                    <a:lnTo>
                      <a:pt x="0" y="68"/>
                    </a:lnTo>
                    <a:lnTo>
                      <a:pt x="6" y="72"/>
                    </a:lnTo>
                    <a:lnTo>
                      <a:pt x="8" y="77"/>
                    </a:lnTo>
                    <a:lnTo>
                      <a:pt x="11" y="80"/>
                    </a:lnTo>
                    <a:lnTo>
                      <a:pt x="10" y="86"/>
                    </a:lnTo>
                    <a:lnTo>
                      <a:pt x="10" y="90"/>
                    </a:lnTo>
                    <a:lnTo>
                      <a:pt x="11" y="94"/>
                    </a:lnTo>
                    <a:lnTo>
                      <a:pt x="11" y="99"/>
                    </a:lnTo>
                    <a:lnTo>
                      <a:pt x="12" y="104"/>
                    </a:lnTo>
                    <a:lnTo>
                      <a:pt x="16" y="104"/>
                    </a:lnTo>
                    <a:lnTo>
                      <a:pt x="17" y="109"/>
                    </a:lnTo>
                    <a:lnTo>
                      <a:pt x="20" y="114"/>
                    </a:lnTo>
                    <a:lnTo>
                      <a:pt x="23" y="117"/>
                    </a:lnTo>
                    <a:lnTo>
                      <a:pt x="26" y="121"/>
                    </a:lnTo>
                    <a:lnTo>
                      <a:pt x="31" y="127"/>
                    </a:lnTo>
                    <a:lnTo>
                      <a:pt x="34" y="134"/>
                    </a:lnTo>
                    <a:lnTo>
                      <a:pt x="37" y="139"/>
                    </a:lnTo>
                    <a:lnTo>
                      <a:pt x="37" y="142"/>
                    </a:lnTo>
                    <a:lnTo>
                      <a:pt x="36" y="150"/>
                    </a:lnTo>
                    <a:lnTo>
                      <a:pt x="37" y="153"/>
                    </a:lnTo>
                    <a:lnTo>
                      <a:pt x="39" y="157"/>
                    </a:lnTo>
                    <a:lnTo>
                      <a:pt x="42" y="162"/>
                    </a:lnTo>
                    <a:lnTo>
                      <a:pt x="43" y="166"/>
                    </a:lnTo>
                    <a:lnTo>
                      <a:pt x="41" y="171"/>
                    </a:lnTo>
                    <a:lnTo>
                      <a:pt x="42" y="175"/>
                    </a:lnTo>
                    <a:lnTo>
                      <a:pt x="44" y="179"/>
                    </a:lnTo>
                    <a:lnTo>
                      <a:pt x="48" y="183"/>
                    </a:lnTo>
                    <a:lnTo>
                      <a:pt x="51" y="188"/>
                    </a:lnTo>
                    <a:lnTo>
                      <a:pt x="55" y="192"/>
                    </a:lnTo>
                    <a:lnTo>
                      <a:pt x="59" y="198"/>
                    </a:lnTo>
                    <a:lnTo>
                      <a:pt x="60" y="202"/>
                    </a:lnTo>
                    <a:lnTo>
                      <a:pt x="56" y="210"/>
                    </a:lnTo>
                    <a:lnTo>
                      <a:pt x="56" y="213"/>
                    </a:lnTo>
                    <a:lnTo>
                      <a:pt x="55" y="218"/>
                    </a:lnTo>
                    <a:lnTo>
                      <a:pt x="55" y="223"/>
                    </a:lnTo>
                    <a:lnTo>
                      <a:pt x="60" y="225"/>
                    </a:lnTo>
                    <a:lnTo>
                      <a:pt x="65" y="226"/>
                    </a:lnTo>
                    <a:lnTo>
                      <a:pt x="67" y="230"/>
                    </a:lnTo>
                    <a:lnTo>
                      <a:pt x="73" y="235"/>
                    </a:lnTo>
                    <a:lnTo>
                      <a:pt x="73" y="238"/>
                    </a:lnTo>
                    <a:lnTo>
                      <a:pt x="74" y="242"/>
                    </a:lnTo>
                    <a:lnTo>
                      <a:pt x="75" y="247"/>
                    </a:lnTo>
                    <a:lnTo>
                      <a:pt x="75" y="251"/>
                    </a:lnTo>
                    <a:lnTo>
                      <a:pt x="76" y="256"/>
                    </a:lnTo>
                    <a:lnTo>
                      <a:pt x="77" y="260"/>
                    </a:lnTo>
                    <a:lnTo>
                      <a:pt x="79" y="264"/>
                    </a:lnTo>
                    <a:lnTo>
                      <a:pt x="82" y="267"/>
                    </a:lnTo>
                    <a:lnTo>
                      <a:pt x="88" y="268"/>
                    </a:lnTo>
                    <a:lnTo>
                      <a:pt x="92" y="269"/>
                    </a:lnTo>
                    <a:lnTo>
                      <a:pt x="97" y="269"/>
                    </a:lnTo>
                    <a:lnTo>
                      <a:pt x="101" y="266"/>
                    </a:lnTo>
                    <a:lnTo>
                      <a:pt x="103" y="261"/>
                    </a:lnTo>
                    <a:lnTo>
                      <a:pt x="104" y="257"/>
                    </a:lnTo>
                    <a:lnTo>
                      <a:pt x="104" y="253"/>
                    </a:lnTo>
                    <a:lnTo>
                      <a:pt x="105" y="247"/>
                    </a:lnTo>
                    <a:lnTo>
                      <a:pt x="107" y="243"/>
                    </a:lnTo>
                    <a:lnTo>
                      <a:pt x="111" y="243"/>
                    </a:lnTo>
                    <a:lnTo>
                      <a:pt x="113" y="237"/>
                    </a:lnTo>
                    <a:lnTo>
                      <a:pt x="118" y="237"/>
                    </a:lnTo>
                    <a:lnTo>
                      <a:pt x="120" y="241"/>
                    </a:lnTo>
                    <a:lnTo>
                      <a:pt x="125" y="242"/>
                    </a:lnTo>
                    <a:lnTo>
                      <a:pt x="128" y="246"/>
                    </a:lnTo>
                    <a:lnTo>
                      <a:pt x="131" y="251"/>
                    </a:lnTo>
                    <a:lnTo>
                      <a:pt x="131" y="255"/>
                    </a:lnTo>
                    <a:lnTo>
                      <a:pt x="134" y="260"/>
                    </a:lnTo>
                    <a:lnTo>
                      <a:pt x="139" y="259"/>
                    </a:lnTo>
                    <a:lnTo>
                      <a:pt x="141" y="263"/>
                    </a:lnTo>
                    <a:lnTo>
                      <a:pt x="146" y="265"/>
                    </a:lnTo>
                    <a:lnTo>
                      <a:pt x="151" y="265"/>
                    </a:lnTo>
                    <a:lnTo>
                      <a:pt x="154" y="270"/>
                    </a:lnTo>
                    <a:lnTo>
                      <a:pt x="154" y="275"/>
                    </a:lnTo>
                    <a:lnTo>
                      <a:pt x="161" y="276"/>
                    </a:lnTo>
                    <a:lnTo>
                      <a:pt x="167" y="277"/>
                    </a:lnTo>
                    <a:lnTo>
                      <a:pt x="171" y="277"/>
                    </a:lnTo>
                    <a:lnTo>
                      <a:pt x="176" y="276"/>
                    </a:lnTo>
                    <a:lnTo>
                      <a:pt x="180" y="278"/>
                    </a:lnTo>
                    <a:lnTo>
                      <a:pt x="185" y="279"/>
                    </a:lnTo>
                    <a:lnTo>
                      <a:pt x="189" y="281"/>
                    </a:lnTo>
                    <a:lnTo>
                      <a:pt x="195" y="283"/>
                    </a:lnTo>
                    <a:lnTo>
                      <a:pt x="198" y="282"/>
                    </a:lnTo>
                    <a:lnTo>
                      <a:pt x="203" y="282"/>
                    </a:lnTo>
                    <a:lnTo>
                      <a:pt x="207" y="281"/>
                    </a:lnTo>
                    <a:lnTo>
                      <a:pt x="211" y="281"/>
                    </a:lnTo>
                    <a:lnTo>
                      <a:pt x="215" y="280"/>
                    </a:lnTo>
                    <a:lnTo>
                      <a:pt x="217" y="275"/>
                    </a:lnTo>
                    <a:lnTo>
                      <a:pt x="222" y="274"/>
                    </a:lnTo>
                    <a:lnTo>
                      <a:pt x="225" y="272"/>
                    </a:lnTo>
                    <a:lnTo>
                      <a:pt x="230" y="271"/>
                    </a:lnTo>
                    <a:lnTo>
                      <a:pt x="234" y="270"/>
                    </a:lnTo>
                    <a:lnTo>
                      <a:pt x="239" y="270"/>
                    </a:lnTo>
                    <a:lnTo>
                      <a:pt x="243" y="271"/>
                    </a:lnTo>
                    <a:lnTo>
                      <a:pt x="249" y="273"/>
                    </a:lnTo>
                    <a:lnTo>
                      <a:pt x="253" y="275"/>
                    </a:lnTo>
                    <a:lnTo>
                      <a:pt x="258" y="274"/>
                    </a:lnTo>
                    <a:lnTo>
                      <a:pt x="263" y="278"/>
                    </a:lnTo>
                    <a:lnTo>
                      <a:pt x="268" y="279"/>
                    </a:lnTo>
                    <a:lnTo>
                      <a:pt x="273" y="278"/>
                    </a:lnTo>
                    <a:lnTo>
                      <a:pt x="277" y="283"/>
                    </a:lnTo>
                    <a:lnTo>
                      <a:pt x="282" y="282"/>
                    </a:lnTo>
                    <a:lnTo>
                      <a:pt x="287" y="285"/>
                    </a:lnTo>
                    <a:lnTo>
                      <a:pt x="292" y="285"/>
                    </a:lnTo>
                    <a:lnTo>
                      <a:pt x="296" y="284"/>
                    </a:lnTo>
                    <a:lnTo>
                      <a:pt x="301" y="286"/>
                    </a:lnTo>
                    <a:lnTo>
                      <a:pt x="305" y="288"/>
                    </a:lnTo>
                    <a:lnTo>
                      <a:pt x="308" y="288"/>
                    </a:lnTo>
                    <a:lnTo>
                      <a:pt x="311" y="282"/>
                    </a:lnTo>
                    <a:lnTo>
                      <a:pt x="307" y="279"/>
                    </a:lnTo>
                    <a:lnTo>
                      <a:pt x="304" y="277"/>
                    </a:lnTo>
                    <a:lnTo>
                      <a:pt x="299" y="275"/>
                    </a:lnTo>
                    <a:lnTo>
                      <a:pt x="294" y="273"/>
                    </a:lnTo>
                    <a:lnTo>
                      <a:pt x="290" y="271"/>
                    </a:lnTo>
                    <a:lnTo>
                      <a:pt x="286" y="265"/>
                    </a:lnTo>
                    <a:lnTo>
                      <a:pt x="286" y="261"/>
                    </a:lnTo>
                    <a:lnTo>
                      <a:pt x="290" y="259"/>
                    </a:lnTo>
                    <a:lnTo>
                      <a:pt x="294" y="256"/>
                    </a:lnTo>
                    <a:lnTo>
                      <a:pt x="299" y="256"/>
                    </a:lnTo>
                    <a:lnTo>
                      <a:pt x="302" y="255"/>
                    </a:lnTo>
                    <a:lnTo>
                      <a:pt x="311" y="254"/>
                    </a:lnTo>
                    <a:lnTo>
                      <a:pt x="316" y="253"/>
                    </a:lnTo>
                    <a:lnTo>
                      <a:pt x="320" y="253"/>
                    </a:lnTo>
                    <a:lnTo>
                      <a:pt x="324" y="249"/>
                    </a:lnTo>
                    <a:lnTo>
                      <a:pt x="331" y="246"/>
                    </a:lnTo>
                    <a:lnTo>
                      <a:pt x="334" y="241"/>
                    </a:lnTo>
                    <a:lnTo>
                      <a:pt x="336" y="237"/>
                    </a:lnTo>
                    <a:lnTo>
                      <a:pt x="340" y="234"/>
                    </a:lnTo>
                    <a:lnTo>
                      <a:pt x="342" y="229"/>
                    </a:lnTo>
                    <a:lnTo>
                      <a:pt x="347" y="228"/>
                    </a:lnTo>
                    <a:lnTo>
                      <a:pt x="351" y="227"/>
                    </a:lnTo>
                    <a:lnTo>
                      <a:pt x="356" y="227"/>
                    </a:lnTo>
                    <a:lnTo>
                      <a:pt x="360" y="226"/>
                    </a:lnTo>
                    <a:lnTo>
                      <a:pt x="365" y="226"/>
                    </a:lnTo>
                    <a:lnTo>
                      <a:pt x="370" y="225"/>
                    </a:lnTo>
                    <a:lnTo>
                      <a:pt x="375" y="224"/>
                    </a:lnTo>
                    <a:lnTo>
                      <a:pt x="379" y="224"/>
                    </a:lnTo>
                    <a:lnTo>
                      <a:pt x="384" y="223"/>
                    </a:lnTo>
                    <a:lnTo>
                      <a:pt x="389" y="220"/>
                    </a:lnTo>
                    <a:lnTo>
                      <a:pt x="388" y="216"/>
                    </a:lnTo>
                    <a:lnTo>
                      <a:pt x="388" y="211"/>
                    </a:lnTo>
                    <a:lnTo>
                      <a:pt x="387" y="205"/>
                    </a:lnTo>
                    <a:lnTo>
                      <a:pt x="386" y="200"/>
                    </a:lnTo>
                    <a:lnTo>
                      <a:pt x="386" y="196"/>
                    </a:lnTo>
                    <a:lnTo>
                      <a:pt x="390" y="194"/>
                    </a:lnTo>
                    <a:lnTo>
                      <a:pt x="394" y="193"/>
                    </a:lnTo>
                    <a:lnTo>
                      <a:pt x="398" y="191"/>
                    </a:lnTo>
                    <a:lnTo>
                      <a:pt x="403" y="190"/>
                    </a:lnTo>
                    <a:lnTo>
                      <a:pt x="406" y="190"/>
                    </a:lnTo>
                    <a:lnTo>
                      <a:pt x="410" y="186"/>
                    </a:lnTo>
                    <a:lnTo>
                      <a:pt x="414" y="184"/>
                    </a:lnTo>
                    <a:lnTo>
                      <a:pt x="419" y="183"/>
                    </a:lnTo>
                    <a:lnTo>
                      <a:pt x="423" y="182"/>
                    </a:lnTo>
                    <a:lnTo>
                      <a:pt x="430" y="178"/>
                    </a:lnTo>
                    <a:lnTo>
                      <a:pt x="431" y="175"/>
                    </a:lnTo>
                    <a:lnTo>
                      <a:pt x="429" y="171"/>
                    </a:lnTo>
                    <a:lnTo>
                      <a:pt x="428" y="166"/>
                    </a:lnTo>
                    <a:lnTo>
                      <a:pt x="426" y="162"/>
                    </a:lnTo>
                    <a:lnTo>
                      <a:pt x="425" y="157"/>
                    </a:lnTo>
                    <a:lnTo>
                      <a:pt x="424" y="153"/>
                    </a:lnTo>
                    <a:lnTo>
                      <a:pt x="428" y="150"/>
                    </a:lnTo>
                    <a:lnTo>
                      <a:pt x="433" y="148"/>
                    </a:lnTo>
                    <a:lnTo>
                      <a:pt x="437" y="147"/>
                    </a:lnTo>
                    <a:lnTo>
                      <a:pt x="441" y="144"/>
                    </a:lnTo>
                    <a:lnTo>
                      <a:pt x="445" y="141"/>
                    </a:lnTo>
                    <a:lnTo>
                      <a:pt x="446" y="136"/>
                    </a:lnTo>
                    <a:lnTo>
                      <a:pt x="446" y="132"/>
                    </a:lnTo>
                    <a:lnTo>
                      <a:pt x="445" y="128"/>
                    </a:lnTo>
                    <a:lnTo>
                      <a:pt x="441" y="126"/>
                    </a:lnTo>
                    <a:lnTo>
                      <a:pt x="438" y="122"/>
                    </a:lnTo>
                    <a:lnTo>
                      <a:pt x="438" y="118"/>
                    </a:lnTo>
                    <a:lnTo>
                      <a:pt x="437" y="113"/>
                    </a:lnTo>
                    <a:lnTo>
                      <a:pt x="437" y="109"/>
                    </a:lnTo>
                    <a:lnTo>
                      <a:pt x="436" y="104"/>
                    </a:lnTo>
                    <a:lnTo>
                      <a:pt x="431" y="103"/>
                    </a:lnTo>
                    <a:lnTo>
                      <a:pt x="426" y="100"/>
                    </a:lnTo>
                    <a:lnTo>
                      <a:pt x="423" y="98"/>
                    </a:lnTo>
                    <a:lnTo>
                      <a:pt x="428" y="94"/>
                    </a:lnTo>
                    <a:lnTo>
                      <a:pt x="431" y="92"/>
                    </a:lnTo>
                    <a:lnTo>
                      <a:pt x="436" y="91"/>
                    </a:lnTo>
                    <a:lnTo>
                      <a:pt x="440" y="90"/>
                    </a:lnTo>
                    <a:lnTo>
                      <a:pt x="444" y="85"/>
                    </a:lnTo>
                    <a:lnTo>
                      <a:pt x="444" y="81"/>
                    </a:lnTo>
                    <a:lnTo>
                      <a:pt x="439" y="81"/>
                    </a:lnTo>
                    <a:lnTo>
                      <a:pt x="433" y="80"/>
                    </a:lnTo>
                    <a:lnTo>
                      <a:pt x="428" y="81"/>
                    </a:lnTo>
                    <a:lnTo>
                      <a:pt x="424" y="81"/>
                    </a:lnTo>
                    <a:lnTo>
                      <a:pt x="420" y="75"/>
                    </a:lnTo>
                    <a:lnTo>
                      <a:pt x="417" y="71"/>
                    </a:lnTo>
                    <a:lnTo>
                      <a:pt x="415" y="66"/>
                    </a:lnTo>
                    <a:lnTo>
                      <a:pt x="409" y="62"/>
                    </a:lnTo>
                    <a:lnTo>
                      <a:pt x="409" y="58"/>
                    </a:lnTo>
                    <a:lnTo>
                      <a:pt x="406" y="55"/>
                    </a:lnTo>
                    <a:lnTo>
                      <a:pt x="404" y="51"/>
                    </a:lnTo>
                    <a:lnTo>
                      <a:pt x="398" y="49"/>
                    </a:lnTo>
                    <a:lnTo>
                      <a:pt x="394" y="47"/>
                    </a:lnTo>
                    <a:lnTo>
                      <a:pt x="389" y="48"/>
                    </a:lnTo>
                    <a:lnTo>
                      <a:pt x="386" y="43"/>
                    </a:lnTo>
                    <a:lnTo>
                      <a:pt x="383" y="41"/>
                    </a:lnTo>
                    <a:lnTo>
                      <a:pt x="383" y="38"/>
                    </a:lnTo>
                    <a:lnTo>
                      <a:pt x="379" y="33"/>
                    </a:lnTo>
                    <a:lnTo>
                      <a:pt x="378" y="28"/>
                    </a:lnTo>
                    <a:lnTo>
                      <a:pt x="376" y="25"/>
                    </a:lnTo>
                    <a:lnTo>
                      <a:pt x="372" y="23"/>
                    </a:lnTo>
                    <a:lnTo>
                      <a:pt x="366" y="19"/>
                    </a:lnTo>
                    <a:lnTo>
                      <a:pt x="362" y="18"/>
                    </a:lnTo>
                    <a:lnTo>
                      <a:pt x="357" y="9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2" name="Freeform 214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2727449" y="2634951"/>
                <a:ext cx="848548" cy="388821"/>
              </a:xfrm>
              <a:custGeom>
                <a:avLst/>
                <a:gdLst>
                  <a:gd name="T0" fmla="*/ 2147483647 w 594"/>
                  <a:gd name="T1" fmla="*/ 2147483647 h 287"/>
                  <a:gd name="T2" fmla="*/ 2147483647 w 594"/>
                  <a:gd name="T3" fmla="*/ 2147483647 h 287"/>
                  <a:gd name="T4" fmla="*/ 2147483647 w 594"/>
                  <a:gd name="T5" fmla="*/ 2147483647 h 287"/>
                  <a:gd name="T6" fmla="*/ 2147483647 w 594"/>
                  <a:gd name="T7" fmla="*/ 2147483647 h 287"/>
                  <a:gd name="T8" fmla="*/ 2147483647 w 594"/>
                  <a:gd name="T9" fmla="*/ 2147483647 h 287"/>
                  <a:gd name="T10" fmla="*/ 2147483647 w 594"/>
                  <a:gd name="T11" fmla="*/ 2147483647 h 287"/>
                  <a:gd name="T12" fmla="*/ 2147483647 w 594"/>
                  <a:gd name="T13" fmla="*/ 2147483647 h 287"/>
                  <a:gd name="T14" fmla="*/ 2147483647 w 594"/>
                  <a:gd name="T15" fmla="*/ 2147483647 h 287"/>
                  <a:gd name="T16" fmla="*/ 2147483647 w 594"/>
                  <a:gd name="T17" fmla="*/ 2147483647 h 287"/>
                  <a:gd name="T18" fmla="*/ 2147483647 w 594"/>
                  <a:gd name="T19" fmla="*/ 2147483647 h 287"/>
                  <a:gd name="T20" fmla="*/ 2147483647 w 594"/>
                  <a:gd name="T21" fmla="*/ 2147483647 h 287"/>
                  <a:gd name="T22" fmla="*/ 2147483647 w 594"/>
                  <a:gd name="T23" fmla="*/ 2147483647 h 287"/>
                  <a:gd name="T24" fmla="*/ 2147483647 w 594"/>
                  <a:gd name="T25" fmla="*/ 2147483647 h 287"/>
                  <a:gd name="T26" fmla="*/ 2147483647 w 594"/>
                  <a:gd name="T27" fmla="*/ 2147483647 h 287"/>
                  <a:gd name="T28" fmla="*/ 2147483647 w 594"/>
                  <a:gd name="T29" fmla="*/ 2147483647 h 287"/>
                  <a:gd name="T30" fmla="*/ 2147483647 w 594"/>
                  <a:gd name="T31" fmla="*/ 2147483647 h 287"/>
                  <a:gd name="T32" fmla="*/ 2147483647 w 594"/>
                  <a:gd name="T33" fmla="*/ 2147483647 h 287"/>
                  <a:gd name="T34" fmla="*/ 2147483647 w 594"/>
                  <a:gd name="T35" fmla="*/ 2147483647 h 287"/>
                  <a:gd name="T36" fmla="*/ 2147483647 w 594"/>
                  <a:gd name="T37" fmla="*/ 2147483647 h 287"/>
                  <a:gd name="T38" fmla="*/ 2147483647 w 594"/>
                  <a:gd name="T39" fmla="*/ 2147483647 h 287"/>
                  <a:gd name="T40" fmla="*/ 2147483647 w 594"/>
                  <a:gd name="T41" fmla="*/ 2147483647 h 287"/>
                  <a:gd name="T42" fmla="*/ 2147483647 w 594"/>
                  <a:gd name="T43" fmla="*/ 2147483647 h 287"/>
                  <a:gd name="T44" fmla="*/ 2147483647 w 594"/>
                  <a:gd name="T45" fmla="*/ 2147483647 h 287"/>
                  <a:gd name="T46" fmla="*/ 2147483647 w 594"/>
                  <a:gd name="T47" fmla="*/ 2147483647 h 287"/>
                  <a:gd name="T48" fmla="*/ 2147483647 w 594"/>
                  <a:gd name="T49" fmla="*/ 2147483647 h 287"/>
                  <a:gd name="T50" fmla="*/ 2147483647 w 594"/>
                  <a:gd name="T51" fmla="*/ 2147483647 h 287"/>
                  <a:gd name="T52" fmla="*/ 2147483647 w 594"/>
                  <a:gd name="T53" fmla="*/ 2147483647 h 287"/>
                  <a:gd name="T54" fmla="*/ 2147483647 w 594"/>
                  <a:gd name="T55" fmla="*/ 2147483647 h 287"/>
                  <a:gd name="T56" fmla="*/ 2147483647 w 594"/>
                  <a:gd name="T57" fmla="*/ 2147483647 h 287"/>
                  <a:gd name="T58" fmla="*/ 2147483647 w 594"/>
                  <a:gd name="T59" fmla="*/ 2147483647 h 287"/>
                  <a:gd name="T60" fmla="*/ 2147483647 w 594"/>
                  <a:gd name="T61" fmla="*/ 2147483647 h 287"/>
                  <a:gd name="T62" fmla="*/ 2147483647 w 594"/>
                  <a:gd name="T63" fmla="*/ 2147483647 h 287"/>
                  <a:gd name="T64" fmla="*/ 2147483647 w 594"/>
                  <a:gd name="T65" fmla="*/ 2147483647 h 287"/>
                  <a:gd name="T66" fmla="*/ 2147483647 w 594"/>
                  <a:gd name="T67" fmla="*/ 2147483647 h 287"/>
                  <a:gd name="T68" fmla="*/ 2147483647 w 594"/>
                  <a:gd name="T69" fmla="*/ 2147483647 h 287"/>
                  <a:gd name="T70" fmla="*/ 2147483647 w 594"/>
                  <a:gd name="T71" fmla="*/ 2147483647 h 287"/>
                  <a:gd name="T72" fmla="*/ 2147483647 w 594"/>
                  <a:gd name="T73" fmla="*/ 2147483647 h 287"/>
                  <a:gd name="T74" fmla="*/ 2147483647 w 594"/>
                  <a:gd name="T75" fmla="*/ 2147483647 h 287"/>
                  <a:gd name="T76" fmla="*/ 2147483647 w 594"/>
                  <a:gd name="T77" fmla="*/ 2147483647 h 287"/>
                  <a:gd name="T78" fmla="*/ 2147483647 w 594"/>
                  <a:gd name="T79" fmla="*/ 2147483647 h 287"/>
                  <a:gd name="T80" fmla="*/ 2147483647 w 594"/>
                  <a:gd name="T81" fmla="*/ 2147483647 h 287"/>
                  <a:gd name="T82" fmla="*/ 2147483647 w 594"/>
                  <a:gd name="T83" fmla="*/ 2147483647 h 287"/>
                  <a:gd name="T84" fmla="*/ 2147483647 w 594"/>
                  <a:gd name="T85" fmla="*/ 2147483647 h 287"/>
                  <a:gd name="T86" fmla="*/ 2147483647 w 594"/>
                  <a:gd name="T87" fmla="*/ 2147483647 h 287"/>
                  <a:gd name="T88" fmla="*/ 2147483647 w 594"/>
                  <a:gd name="T89" fmla="*/ 2147483647 h 287"/>
                  <a:gd name="T90" fmla="*/ 2147483647 w 594"/>
                  <a:gd name="T91" fmla="*/ 2147483647 h 287"/>
                  <a:gd name="T92" fmla="*/ 2147483647 w 594"/>
                  <a:gd name="T93" fmla="*/ 2147483647 h 287"/>
                  <a:gd name="T94" fmla="*/ 2147483647 w 594"/>
                  <a:gd name="T95" fmla="*/ 2147483647 h 287"/>
                  <a:gd name="T96" fmla="*/ 2147483647 w 594"/>
                  <a:gd name="T97" fmla="*/ 2147483647 h 287"/>
                  <a:gd name="T98" fmla="*/ 2147483647 w 594"/>
                  <a:gd name="T99" fmla="*/ 2147483647 h 287"/>
                  <a:gd name="T100" fmla="*/ 2147483647 w 594"/>
                  <a:gd name="T101" fmla="*/ 2147483647 h 287"/>
                  <a:gd name="T102" fmla="*/ 2147483647 w 594"/>
                  <a:gd name="T103" fmla="*/ 2147483647 h 287"/>
                  <a:gd name="T104" fmla="*/ 0 w 594"/>
                  <a:gd name="T105" fmla="*/ 2147483647 h 287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94"/>
                  <a:gd name="T160" fmla="*/ 0 h 287"/>
                  <a:gd name="T161" fmla="*/ 594 w 594"/>
                  <a:gd name="T162" fmla="*/ 287 h 287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94" h="287">
                    <a:moveTo>
                      <a:pt x="0" y="128"/>
                    </a:moveTo>
                    <a:lnTo>
                      <a:pt x="21" y="117"/>
                    </a:lnTo>
                    <a:lnTo>
                      <a:pt x="35" y="102"/>
                    </a:lnTo>
                    <a:lnTo>
                      <a:pt x="36" y="86"/>
                    </a:lnTo>
                    <a:lnTo>
                      <a:pt x="27" y="74"/>
                    </a:lnTo>
                    <a:lnTo>
                      <a:pt x="56" y="57"/>
                    </a:lnTo>
                    <a:lnTo>
                      <a:pt x="78" y="42"/>
                    </a:lnTo>
                    <a:lnTo>
                      <a:pt x="86" y="27"/>
                    </a:lnTo>
                    <a:lnTo>
                      <a:pt x="84" y="0"/>
                    </a:lnTo>
                    <a:lnTo>
                      <a:pt x="92" y="17"/>
                    </a:lnTo>
                    <a:lnTo>
                      <a:pt x="110" y="24"/>
                    </a:lnTo>
                    <a:lnTo>
                      <a:pt x="135" y="42"/>
                    </a:lnTo>
                    <a:lnTo>
                      <a:pt x="126" y="48"/>
                    </a:lnTo>
                    <a:lnTo>
                      <a:pt x="131" y="65"/>
                    </a:lnTo>
                    <a:lnTo>
                      <a:pt x="120" y="80"/>
                    </a:lnTo>
                    <a:lnTo>
                      <a:pt x="96" y="81"/>
                    </a:lnTo>
                    <a:lnTo>
                      <a:pt x="89" y="69"/>
                    </a:lnTo>
                    <a:lnTo>
                      <a:pt x="77" y="78"/>
                    </a:lnTo>
                    <a:lnTo>
                      <a:pt x="62" y="75"/>
                    </a:lnTo>
                    <a:lnTo>
                      <a:pt x="59" y="86"/>
                    </a:lnTo>
                    <a:lnTo>
                      <a:pt x="65" y="108"/>
                    </a:lnTo>
                    <a:lnTo>
                      <a:pt x="66" y="134"/>
                    </a:lnTo>
                    <a:lnTo>
                      <a:pt x="81" y="128"/>
                    </a:lnTo>
                    <a:lnTo>
                      <a:pt x="107" y="147"/>
                    </a:lnTo>
                    <a:lnTo>
                      <a:pt x="120" y="134"/>
                    </a:lnTo>
                    <a:lnTo>
                      <a:pt x="131" y="114"/>
                    </a:lnTo>
                    <a:lnTo>
                      <a:pt x="167" y="104"/>
                    </a:lnTo>
                    <a:lnTo>
                      <a:pt x="191" y="116"/>
                    </a:lnTo>
                    <a:lnTo>
                      <a:pt x="212" y="110"/>
                    </a:lnTo>
                    <a:lnTo>
                      <a:pt x="239" y="102"/>
                    </a:lnTo>
                    <a:lnTo>
                      <a:pt x="251" y="110"/>
                    </a:lnTo>
                    <a:lnTo>
                      <a:pt x="269" y="104"/>
                    </a:lnTo>
                    <a:lnTo>
                      <a:pt x="275" y="113"/>
                    </a:lnTo>
                    <a:lnTo>
                      <a:pt x="278" y="126"/>
                    </a:lnTo>
                    <a:lnTo>
                      <a:pt x="290" y="117"/>
                    </a:lnTo>
                    <a:lnTo>
                      <a:pt x="287" y="102"/>
                    </a:lnTo>
                    <a:lnTo>
                      <a:pt x="299" y="98"/>
                    </a:lnTo>
                    <a:lnTo>
                      <a:pt x="312" y="98"/>
                    </a:lnTo>
                    <a:lnTo>
                      <a:pt x="330" y="102"/>
                    </a:lnTo>
                    <a:lnTo>
                      <a:pt x="300" y="128"/>
                    </a:lnTo>
                    <a:lnTo>
                      <a:pt x="291" y="134"/>
                    </a:lnTo>
                    <a:lnTo>
                      <a:pt x="309" y="141"/>
                    </a:lnTo>
                    <a:lnTo>
                      <a:pt x="309" y="158"/>
                    </a:lnTo>
                    <a:lnTo>
                      <a:pt x="336" y="141"/>
                    </a:lnTo>
                    <a:lnTo>
                      <a:pt x="356" y="138"/>
                    </a:lnTo>
                    <a:lnTo>
                      <a:pt x="365" y="147"/>
                    </a:lnTo>
                    <a:lnTo>
                      <a:pt x="389" y="146"/>
                    </a:lnTo>
                    <a:lnTo>
                      <a:pt x="392" y="156"/>
                    </a:lnTo>
                    <a:lnTo>
                      <a:pt x="411" y="147"/>
                    </a:lnTo>
                    <a:lnTo>
                      <a:pt x="447" y="143"/>
                    </a:lnTo>
                    <a:lnTo>
                      <a:pt x="453" y="152"/>
                    </a:lnTo>
                    <a:lnTo>
                      <a:pt x="441" y="165"/>
                    </a:lnTo>
                    <a:lnTo>
                      <a:pt x="435" y="189"/>
                    </a:lnTo>
                    <a:lnTo>
                      <a:pt x="446" y="204"/>
                    </a:lnTo>
                    <a:lnTo>
                      <a:pt x="459" y="171"/>
                    </a:lnTo>
                    <a:lnTo>
                      <a:pt x="479" y="180"/>
                    </a:lnTo>
                    <a:lnTo>
                      <a:pt x="488" y="170"/>
                    </a:lnTo>
                    <a:lnTo>
                      <a:pt x="495" y="158"/>
                    </a:lnTo>
                    <a:lnTo>
                      <a:pt x="497" y="143"/>
                    </a:lnTo>
                    <a:lnTo>
                      <a:pt x="494" y="128"/>
                    </a:lnTo>
                    <a:lnTo>
                      <a:pt x="503" y="116"/>
                    </a:lnTo>
                    <a:lnTo>
                      <a:pt x="516" y="119"/>
                    </a:lnTo>
                    <a:lnTo>
                      <a:pt x="537" y="131"/>
                    </a:lnTo>
                    <a:lnTo>
                      <a:pt x="549" y="131"/>
                    </a:lnTo>
                    <a:lnTo>
                      <a:pt x="555" y="144"/>
                    </a:lnTo>
                    <a:lnTo>
                      <a:pt x="578" y="153"/>
                    </a:lnTo>
                    <a:lnTo>
                      <a:pt x="590" y="170"/>
                    </a:lnTo>
                    <a:lnTo>
                      <a:pt x="585" y="182"/>
                    </a:lnTo>
                    <a:lnTo>
                      <a:pt x="572" y="201"/>
                    </a:lnTo>
                    <a:lnTo>
                      <a:pt x="593" y="204"/>
                    </a:lnTo>
                    <a:lnTo>
                      <a:pt x="594" y="219"/>
                    </a:lnTo>
                    <a:lnTo>
                      <a:pt x="585" y="237"/>
                    </a:lnTo>
                    <a:lnTo>
                      <a:pt x="575" y="231"/>
                    </a:lnTo>
                    <a:lnTo>
                      <a:pt x="560" y="230"/>
                    </a:lnTo>
                    <a:lnTo>
                      <a:pt x="545" y="249"/>
                    </a:lnTo>
                    <a:lnTo>
                      <a:pt x="533" y="245"/>
                    </a:lnTo>
                    <a:lnTo>
                      <a:pt x="533" y="261"/>
                    </a:lnTo>
                    <a:lnTo>
                      <a:pt x="522" y="264"/>
                    </a:lnTo>
                    <a:lnTo>
                      <a:pt x="495" y="261"/>
                    </a:lnTo>
                    <a:lnTo>
                      <a:pt x="488" y="281"/>
                    </a:lnTo>
                    <a:lnTo>
                      <a:pt x="456" y="267"/>
                    </a:lnTo>
                    <a:lnTo>
                      <a:pt x="467" y="287"/>
                    </a:lnTo>
                    <a:lnTo>
                      <a:pt x="422" y="272"/>
                    </a:lnTo>
                    <a:lnTo>
                      <a:pt x="408" y="257"/>
                    </a:lnTo>
                    <a:lnTo>
                      <a:pt x="368" y="246"/>
                    </a:lnTo>
                    <a:lnTo>
                      <a:pt x="380" y="261"/>
                    </a:lnTo>
                    <a:lnTo>
                      <a:pt x="323" y="240"/>
                    </a:lnTo>
                    <a:lnTo>
                      <a:pt x="273" y="221"/>
                    </a:lnTo>
                    <a:lnTo>
                      <a:pt x="246" y="210"/>
                    </a:lnTo>
                    <a:lnTo>
                      <a:pt x="234" y="207"/>
                    </a:lnTo>
                    <a:lnTo>
                      <a:pt x="224" y="195"/>
                    </a:lnTo>
                    <a:lnTo>
                      <a:pt x="209" y="194"/>
                    </a:lnTo>
                    <a:lnTo>
                      <a:pt x="195" y="192"/>
                    </a:lnTo>
                    <a:lnTo>
                      <a:pt x="185" y="200"/>
                    </a:lnTo>
                    <a:lnTo>
                      <a:pt x="168" y="203"/>
                    </a:lnTo>
                    <a:lnTo>
                      <a:pt x="143" y="195"/>
                    </a:lnTo>
                    <a:lnTo>
                      <a:pt x="119" y="198"/>
                    </a:lnTo>
                    <a:lnTo>
                      <a:pt x="96" y="209"/>
                    </a:lnTo>
                    <a:lnTo>
                      <a:pt x="83" y="233"/>
                    </a:lnTo>
                    <a:lnTo>
                      <a:pt x="65" y="224"/>
                    </a:lnTo>
                    <a:lnTo>
                      <a:pt x="53" y="198"/>
                    </a:lnTo>
                    <a:lnTo>
                      <a:pt x="36" y="176"/>
                    </a:lnTo>
                    <a:lnTo>
                      <a:pt x="35" y="156"/>
                    </a:lnTo>
                    <a:lnTo>
                      <a:pt x="15" y="149"/>
                    </a:lnTo>
                    <a:lnTo>
                      <a:pt x="6" y="137"/>
                    </a:lnTo>
                    <a:lnTo>
                      <a:pt x="0" y="128"/>
                    </a:lnTo>
                    <a:close/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3" name="Freeform 133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1214429" y="2721096"/>
                <a:ext cx="107752" cy="125727"/>
              </a:xfrm>
              <a:custGeom>
                <a:avLst/>
                <a:gdLst>
                  <a:gd name="T0" fmla="*/ 2147483647 w 87"/>
                  <a:gd name="T1" fmla="*/ 2147483647 h 107"/>
                  <a:gd name="T2" fmla="*/ 2147483647 w 87"/>
                  <a:gd name="T3" fmla="*/ 2147483647 h 107"/>
                  <a:gd name="T4" fmla="*/ 2147483647 w 87"/>
                  <a:gd name="T5" fmla="*/ 2147483647 h 107"/>
                  <a:gd name="T6" fmla="*/ 2147483647 w 87"/>
                  <a:gd name="T7" fmla="*/ 0 h 107"/>
                  <a:gd name="T8" fmla="*/ 2147483647 w 87"/>
                  <a:gd name="T9" fmla="*/ 2147483647 h 107"/>
                  <a:gd name="T10" fmla="*/ 2147483647 w 87"/>
                  <a:gd name="T11" fmla="*/ 2147483647 h 107"/>
                  <a:gd name="T12" fmla="*/ 2147483647 w 87"/>
                  <a:gd name="T13" fmla="*/ 2147483647 h 107"/>
                  <a:gd name="T14" fmla="*/ 2147483647 w 87"/>
                  <a:gd name="T15" fmla="*/ 2147483647 h 107"/>
                  <a:gd name="T16" fmla="*/ 2147483647 w 87"/>
                  <a:gd name="T17" fmla="*/ 2147483647 h 107"/>
                  <a:gd name="T18" fmla="*/ 2147483647 w 87"/>
                  <a:gd name="T19" fmla="*/ 2147483647 h 107"/>
                  <a:gd name="T20" fmla="*/ 2147483647 w 87"/>
                  <a:gd name="T21" fmla="*/ 2147483647 h 107"/>
                  <a:gd name="T22" fmla="*/ 2147483647 w 87"/>
                  <a:gd name="T23" fmla="*/ 2147483647 h 107"/>
                  <a:gd name="T24" fmla="*/ 2147483647 w 87"/>
                  <a:gd name="T25" fmla="*/ 2147483647 h 107"/>
                  <a:gd name="T26" fmla="*/ 2147483647 w 87"/>
                  <a:gd name="T27" fmla="*/ 2147483647 h 107"/>
                  <a:gd name="T28" fmla="*/ 2147483647 w 87"/>
                  <a:gd name="T29" fmla="*/ 2147483647 h 107"/>
                  <a:gd name="T30" fmla="*/ 2147483647 w 87"/>
                  <a:gd name="T31" fmla="*/ 2147483647 h 107"/>
                  <a:gd name="T32" fmla="*/ 2147483647 w 87"/>
                  <a:gd name="T33" fmla="*/ 2147483647 h 107"/>
                  <a:gd name="T34" fmla="*/ 2147483647 w 87"/>
                  <a:gd name="T35" fmla="*/ 2147483647 h 107"/>
                  <a:gd name="T36" fmla="*/ 2147483647 w 87"/>
                  <a:gd name="T37" fmla="*/ 2147483647 h 107"/>
                  <a:gd name="T38" fmla="*/ 2147483647 w 87"/>
                  <a:gd name="T39" fmla="*/ 2147483647 h 107"/>
                  <a:gd name="T40" fmla="*/ 2147483647 w 87"/>
                  <a:gd name="T41" fmla="*/ 2147483647 h 107"/>
                  <a:gd name="T42" fmla="*/ 2147483647 w 87"/>
                  <a:gd name="T43" fmla="*/ 2147483647 h 107"/>
                  <a:gd name="T44" fmla="*/ 2147483647 w 87"/>
                  <a:gd name="T45" fmla="*/ 2147483647 h 107"/>
                  <a:gd name="T46" fmla="*/ 2147483647 w 87"/>
                  <a:gd name="T47" fmla="*/ 2147483647 h 107"/>
                  <a:gd name="T48" fmla="*/ 2147483647 w 87"/>
                  <a:gd name="T49" fmla="*/ 2147483647 h 107"/>
                  <a:gd name="T50" fmla="*/ 2147483647 w 87"/>
                  <a:gd name="T51" fmla="*/ 2147483647 h 107"/>
                  <a:gd name="T52" fmla="*/ 2147483647 w 87"/>
                  <a:gd name="T53" fmla="*/ 2147483647 h 107"/>
                  <a:gd name="T54" fmla="*/ 2147483647 w 87"/>
                  <a:gd name="T55" fmla="*/ 2147483647 h 107"/>
                  <a:gd name="T56" fmla="*/ 2147483647 w 87"/>
                  <a:gd name="T57" fmla="*/ 2147483647 h 107"/>
                  <a:gd name="T58" fmla="*/ 2147483647 w 87"/>
                  <a:gd name="T59" fmla="*/ 2147483647 h 107"/>
                  <a:gd name="T60" fmla="*/ 2147483647 w 87"/>
                  <a:gd name="T61" fmla="*/ 2147483647 h 107"/>
                  <a:gd name="T62" fmla="*/ 2147483647 w 87"/>
                  <a:gd name="T63" fmla="*/ 2147483647 h 107"/>
                  <a:gd name="T64" fmla="*/ 2147483647 w 87"/>
                  <a:gd name="T65" fmla="*/ 2147483647 h 107"/>
                  <a:gd name="T66" fmla="*/ 2147483647 w 87"/>
                  <a:gd name="T67" fmla="*/ 2147483647 h 107"/>
                  <a:gd name="T68" fmla="*/ 2147483647 w 87"/>
                  <a:gd name="T69" fmla="*/ 2147483647 h 107"/>
                  <a:gd name="T70" fmla="*/ 2147483647 w 87"/>
                  <a:gd name="T71" fmla="*/ 2147483647 h 107"/>
                  <a:gd name="T72" fmla="*/ 2147483647 w 87"/>
                  <a:gd name="T73" fmla="*/ 2147483647 h 107"/>
                  <a:gd name="T74" fmla="*/ 2147483647 w 87"/>
                  <a:gd name="T75" fmla="*/ 2147483647 h 107"/>
                  <a:gd name="T76" fmla="*/ 2147483647 w 87"/>
                  <a:gd name="T77" fmla="*/ 2147483647 h 107"/>
                  <a:gd name="T78" fmla="*/ 0 w 87"/>
                  <a:gd name="T79" fmla="*/ 2147483647 h 107"/>
                  <a:gd name="T80" fmla="*/ 0 w 87"/>
                  <a:gd name="T81" fmla="*/ 2147483647 h 107"/>
                  <a:gd name="T82" fmla="*/ 2147483647 w 87"/>
                  <a:gd name="T83" fmla="*/ 2147483647 h 107"/>
                  <a:gd name="T84" fmla="*/ 2147483647 w 87"/>
                  <a:gd name="T85" fmla="*/ 2147483647 h 107"/>
                  <a:gd name="T86" fmla="*/ 2147483647 w 87"/>
                  <a:gd name="T87" fmla="*/ 2147483647 h 107"/>
                  <a:gd name="T88" fmla="*/ 2147483647 w 87"/>
                  <a:gd name="T89" fmla="*/ 2147483647 h 107"/>
                  <a:gd name="T90" fmla="*/ 2147483647 w 87"/>
                  <a:gd name="T91" fmla="*/ 2147483647 h 107"/>
                  <a:gd name="T92" fmla="*/ 2147483647 w 87"/>
                  <a:gd name="T93" fmla="*/ 2147483647 h 107"/>
                  <a:gd name="T94" fmla="*/ 2147483647 w 87"/>
                  <a:gd name="T95" fmla="*/ 2147483647 h 10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87"/>
                  <a:gd name="T145" fmla="*/ 0 h 107"/>
                  <a:gd name="T146" fmla="*/ 87 w 87"/>
                  <a:gd name="T147" fmla="*/ 107 h 10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87" h="107">
                    <a:moveTo>
                      <a:pt x="26" y="22"/>
                    </a:moveTo>
                    <a:lnTo>
                      <a:pt x="24" y="18"/>
                    </a:lnTo>
                    <a:lnTo>
                      <a:pt x="20" y="14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4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2" y="24"/>
                    </a:lnTo>
                    <a:lnTo>
                      <a:pt x="42" y="28"/>
                    </a:lnTo>
                    <a:lnTo>
                      <a:pt x="44" y="32"/>
                    </a:lnTo>
                    <a:lnTo>
                      <a:pt x="46" y="36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2" y="44"/>
                    </a:lnTo>
                    <a:lnTo>
                      <a:pt x="56" y="42"/>
                    </a:lnTo>
                    <a:lnTo>
                      <a:pt x="58" y="38"/>
                    </a:lnTo>
                    <a:lnTo>
                      <a:pt x="62" y="38"/>
                    </a:lnTo>
                    <a:lnTo>
                      <a:pt x="66" y="36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4" y="36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4" y="56"/>
                    </a:lnTo>
                    <a:lnTo>
                      <a:pt x="74" y="60"/>
                    </a:lnTo>
                    <a:lnTo>
                      <a:pt x="72" y="64"/>
                    </a:lnTo>
                    <a:lnTo>
                      <a:pt x="74" y="68"/>
                    </a:lnTo>
                    <a:lnTo>
                      <a:pt x="76" y="72"/>
                    </a:lnTo>
                    <a:lnTo>
                      <a:pt x="78" y="76"/>
                    </a:lnTo>
                    <a:lnTo>
                      <a:pt x="78" y="80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84" y="86"/>
                    </a:lnTo>
                    <a:lnTo>
                      <a:pt x="80" y="86"/>
                    </a:lnTo>
                    <a:lnTo>
                      <a:pt x="76" y="88"/>
                    </a:lnTo>
                    <a:lnTo>
                      <a:pt x="76" y="92"/>
                    </a:lnTo>
                    <a:lnTo>
                      <a:pt x="76" y="96"/>
                    </a:lnTo>
                    <a:lnTo>
                      <a:pt x="76" y="100"/>
                    </a:lnTo>
                    <a:lnTo>
                      <a:pt x="76" y="104"/>
                    </a:lnTo>
                    <a:lnTo>
                      <a:pt x="72" y="102"/>
                    </a:lnTo>
                    <a:lnTo>
                      <a:pt x="68" y="100"/>
                    </a:lnTo>
                    <a:lnTo>
                      <a:pt x="64" y="102"/>
                    </a:lnTo>
                    <a:lnTo>
                      <a:pt x="60" y="102"/>
                    </a:lnTo>
                    <a:lnTo>
                      <a:pt x="56" y="104"/>
                    </a:lnTo>
                    <a:lnTo>
                      <a:pt x="52" y="106"/>
                    </a:lnTo>
                    <a:lnTo>
                      <a:pt x="48" y="106"/>
                    </a:lnTo>
                    <a:lnTo>
                      <a:pt x="44" y="106"/>
                    </a:lnTo>
                    <a:lnTo>
                      <a:pt x="42" y="102"/>
                    </a:lnTo>
                    <a:lnTo>
                      <a:pt x="40" y="98"/>
                    </a:lnTo>
                    <a:lnTo>
                      <a:pt x="38" y="94"/>
                    </a:lnTo>
                    <a:lnTo>
                      <a:pt x="36" y="90"/>
                    </a:lnTo>
                    <a:lnTo>
                      <a:pt x="32" y="88"/>
                    </a:lnTo>
                    <a:lnTo>
                      <a:pt x="28" y="86"/>
                    </a:lnTo>
                    <a:lnTo>
                      <a:pt x="28" y="82"/>
                    </a:lnTo>
                    <a:lnTo>
                      <a:pt x="26" y="78"/>
                    </a:lnTo>
                    <a:lnTo>
                      <a:pt x="26" y="74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18" y="62"/>
                    </a:lnTo>
                    <a:lnTo>
                      <a:pt x="16" y="58"/>
                    </a:lnTo>
                    <a:lnTo>
                      <a:pt x="14" y="54"/>
                    </a:lnTo>
                    <a:lnTo>
                      <a:pt x="12" y="50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6" y="32"/>
                    </a:lnTo>
                    <a:lnTo>
                      <a:pt x="4" y="28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6" y="12"/>
                    </a:lnTo>
                    <a:lnTo>
                      <a:pt x="8" y="16"/>
                    </a:lnTo>
                    <a:lnTo>
                      <a:pt x="12" y="20"/>
                    </a:lnTo>
                    <a:lnTo>
                      <a:pt x="14" y="24"/>
                    </a:lnTo>
                    <a:lnTo>
                      <a:pt x="18" y="26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4" y="2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4" name="Freeform 34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2177463" y="2728082"/>
                <a:ext cx="680186" cy="549473"/>
              </a:xfrm>
              <a:custGeom>
                <a:avLst/>
                <a:gdLst>
                  <a:gd name="T0" fmla="*/ 2147483647 w 475"/>
                  <a:gd name="T1" fmla="*/ 2147483647 h 403"/>
                  <a:gd name="T2" fmla="*/ 2147483647 w 475"/>
                  <a:gd name="T3" fmla="*/ 2147483647 h 403"/>
                  <a:gd name="T4" fmla="*/ 2147483647 w 475"/>
                  <a:gd name="T5" fmla="*/ 2147483647 h 403"/>
                  <a:gd name="T6" fmla="*/ 2147483647 w 475"/>
                  <a:gd name="T7" fmla="*/ 2147483647 h 403"/>
                  <a:gd name="T8" fmla="*/ 2147483647 w 475"/>
                  <a:gd name="T9" fmla="*/ 2147483647 h 403"/>
                  <a:gd name="T10" fmla="*/ 2147483647 w 475"/>
                  <a:gd name="T11" fmla="*/ 2147483647 h 403"/>
                  <a:gd name="T12" fmla="*/ 2147483647 w 475"/>
                  <a:gd name="T13" fmla="*/ 2147483647 h 403"/>
                  <a:gd name="T14" fmla="*/ 2147483647 w 475"/>
                  <a:gd name="T15" fmla="*/ 2147483647 h 403"/>
                  <a:gd name="T16" fmla="*/ 2147483647 w 475"/>
                  <a:gd name="T17" fmla="*/ 2147483647 h 403"/>
                  <a:gd name="T18" fmla="*/ 2147483647 w 475"/>
                  <a:gd name="T19" fmla="*/ 2147483647 h 403"/>
                  <a:gd name="T20" fmla="*/ 2147483647 w 475"/>
                  <a:gd name="T21" fmla="*/ 2147483647 h 403"/>
                  <a:gd name="T22" fmla="*/ 2147483647 w 475"/>
                  <a:gd name="T23" fmla="*/ 2147483647 h 403"/>
                  <a:gd name="T24" fmla="*/ 2147483647 w 475"/>
                  <a:gd name="T25" fmla="*/ 2147483647 h 403"/>
                  <a:gd name="T26" fmla="*/ 2147483647 w 475"/>
                  <a:gd name="T27" fmla="*/ 2147483647 h 403"/>
                  <a:gd name="T28" fmla="*/ 2147483647 w 475"/>
                  <a:gd name="T29" fmla="*/ 2147483647 h 403"/>
                  <a:gd name="T30" fmla="*/ 2147483647 w 475"/>
                  <a:gd name="T31" fmla="*/ 2147483647 h 403"/>
                  <a:gd name="T32" fmla="*/ 2147483647 w 475"/>
                  <a:gd name="T33" fmla="*/ 2147483647 h 403"/>
                  <a:gd name="T34" fmla="*/ 2147483647 w 475"/>
                  <a:gd name="T35" fmla="*/ 2147483647 h 403"/>
                  <a:gd name="T36" fmla="*/ 2147483647 w 475"/>
                  <a:gd name="T37" fmla="*/ 2147483647 h 403"/>
                  <a:gd name="T38" fmla="*/ 2147483647 w 475"/>
                  <a:gd name="T39" fmla="*/ 2147483647 h 403"/>
                  <a:gd name="T40" fmla="*/ 2147483647 w 475"/>
                  <a:gd name="T41" fmla="*/ 2147483647 h 403"/>
                  <a:gd name="T42" fmla="*/ 2147483647 w 475"/>
                  <a:gd name="T43" fmla="*/ 2147483647 h 403"/>
                  <a:gd name="T44" fmla="*/ 2147483647 w 475"/>
                  <a:gd name="T45" fmla="*/ 2147483647 h 403"/>
                  <a:gd name="T46" fmla="*/ 2147483647 w 475"/>
                  <a:gd name="T47" fmla="*/ 2147483647 h 403"/>
                  <a:gd name="T48" fmla="*/ 2147483647 w 475"/>
                  <a:gd name="T49" fmla="*/ 2147483647 h 403"/>
                  <a:gd name="T50" fmla="*/ 2147483647 w 475"/>
                  <a:gd name="T51" fmla="*/ 2147483647 h 403"/>
                  <a:gd name="T52" fmla="*/ 2147483647 w 475"/>
                  <a:gd name="T53" fmla="*/ 2147483647 h 403"/>
                  <a:gd name="T54" fmla="*/ 2147483647 w 475"/>
                  <a:gd name="T55" fmla="*/ 2147483647 h 403"/>
                  <a:gd name="T56" fmla="*/ 2147483647 w 475"/>
                  <a:gd name="T57" fmla="*/ 2147483647 h 403"/>
                  <a:gd name="T58" fmla="*/ 2147483647 w 475"/>
                  <a:gd name="T59" fmla="*/ 2147483647 h 403"/>
                  <a:gd name="T60" fmla="*/ 2147483647 w 475"/>
                  <a:gd name="T61" fmla="*/ 2147483647 h 403"/>
                  <a:gd name="T62" fmla="*/ 2147483647 w 475"/>
                  <a:gd name="T63" fmla="*/ 2147483647 h 403"/>
                  <a:gd name="T64" fmla="*/ 2147483647 w 475"/>
                  <a:gd name="T65" fmla="*/ 2147483647 h 403"/>
                  <a:gd name="T66" fmla="*/ 2147483647 w 475"/>
                  <a:gd name="T67" fmla="*/ 2147483647 h 403"/>
                  <a:gd name="T68" fmla="*/ 0 w 475"/>
                  <a:gd name="T69" fmla="*/ 2147483647 h 403"/>
                  <a:gd name="T70" fmla="*/ 2147483647 w 475"/>
                  <a:gd name="T71" fmla="*/ 2147483647 h 403"/>
                  <a:gd name="T72" fmla="*/ 2147483647 w 475"/>
                  <a:gd name="T73" fmla="*/ 2147483647 h 403"/>
                  <a:gd name="T74" fmla="*/ 2147483647 w 475"/>
                  <a:gd name="T75" fmla="*/ 2147483647 h 403"/>
                  <a:gd name="T76" fmla="*/ 2147483647 w 475"/>
                  <a:gd name="T77" fmla="*/ 2147483647 h 403"/>
                  <a:gd name="T78" fmla="*/ 2147483647 w 475"/>
                  <a:gd name="T79" fmla="*/ 2147483647 h 403"/>
                  <a:gd name="T80" fmla="*/ 2147483647 w 475"/>
                  <a:gd name="T81" fmla="*/ 2147483647 h 403"/>
                  <a:gd name="T82" fmla="*/ 2147483647 w 475"/>
                  <a:gd name="T83" fmla="*/ 2147483647 h 403"/>
                  <a:gd name="T84" fmla="*/ 2147483647 w 475"/>
                  <a:gd name="T85" fmla="*/ 2147483647 h 403"/>
                  <a:gd name="T86" fmla="*/ 2147483647 w 475"/>
                  <a:gd name="T87" fmla="*/ 2147483647 h 403"/>
                  <a:gd name="T88" fmla="*/ 2147483647 w 475"/>
                  <a:gd name="T89" fmla="*/ 2147483647 h 403"/>
                  <a:gd name="T90" fmla="*/ 2147483647 w 475"/>
                  <a:gd name="T91" fmla="*/ 2147483647 h 403"/>
                  <a:gd name="T92" fmla="*/ 2147483647 w 475"/>
                  <a:gd name="T93" fmla="*/ 2147483647 h 403"/>
                  <a:gd name="T94" fmla="*/ 2147483647 w 475"/>
                  <a:gd name="T95" fmla="*/ 2147483647 h 403"/>
                  <a:gd name="T96" fmla="*/ 2147483647 w 475"/>
                  <a:gd name="T97" fmla="*/ 2147483647 h 403"/>
                  <a:gd name="T98" fmla="*/ 2147483647 w 475"/>
                  <a:gd name="T99" fmla="*/ 2147483647 h 403"/>
                  <a:gd name="T100" fmla="*/ 2147483647 w 475"/>
                  <a:gd name="T101" fmla="*/ 2147483647 h 403"/>
                  <a:gd name="T102" fmla="*/ 2147483647 w 475"/>
                  <a:gd name="T103" fmla="*/ 2147483647 h 403"/>
                  <a:gd name="T104" fmla="*/ 2147483647 w 475"/>
                  <a:gd name="T105" fmla="*/ 2147483647 h 403"/>
                  <a:gd name="T106" fmla="*/ 2147483647 w 475"/>
                  <a:gd name="T107" fmla="*/ 2147483647 h 403"/>
                  <a:gd name="T108" fmla="*/ 2147483647 w 475"/>
                  <a:gd name="T109" fmla="*/ 2147483647 h 403"/>
                  <a:gd name="T110" fmla="*/ 2147483647 w 475"/>
                  <a:gd name="T111" fmla="*/ 2147483647 h 403"/>
                  <a:gd name="T112" fmla="*/ 2147483647 w 475"/>
                  <a:gd name="T113" fmla="*/ 2147483647 h 403"/>
                  <a:gd name="T114" fmla="*/ 2147483647 w 475"/>
                  <a:gd name="T115" fmla="*/ 2147483647 h 403"/>
                  <a:gd name="T116" fmla="*/ 2147483647 w 475"/>
                  <a:gd name="T117" fmla="*/ 2147483647 h 403"/>
                  <a:gd name="T118" fmla="*/ 2147483647 w 475"/>
                  <a:gd name="T119" fmla="*/ 2147483647 h 40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75"/>
                  <a:gd name="T181" fmla="*/ 0 h 403"/>
                  <a:gd name="T182" fmla="*/ 475 w 475"/>
                  <a:gd name="T183" fmla="*/ 403 h 40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75" h="403">
                    <a:moveTo>
                      <a:pt x="437" y="123"/>
                    </a:moveTo>
                    <a:lnTo>
                      <a:pt x="450" y="155"/>
                    </a:lnTo>
                    <a:lnTo>
                      <a:pt x="463" y="166"/>
                    </a:lnTo>
                    <a:lnTo>
                      <a:pt x="460" y="178"/>
                    </a:lnTo>
                    <a:lnTo>
                      <a:pt x="472" y="193"/>
                    </a:lnTo>
                    <a:lnTo>
                      <a:pt x="475" y="209"/>
                    </a:lnTo>
                    <a:lnTo>
                      <a:pt x="468" y="231"/>
                    </a:lnTo>
                    <a:lnTo>
                      <a:pt x="456" y="235"/>
                    </a:lnTo>
                    <a:lnTo>
                      <a:pt x="444" y="226"/>
                    </a:lnTo>
                    <a:lnTo>
                      <a:pt x="432" y="219"/>
                    </a:lnTo>
                    <a:lnTo>
                      <a:pt x="421" y="228"/>
                    </a:lnTo>
                    <a:lnTo>
                      <a:pt x="408" y="228"/>
                    </a:lnTo>
                    <a:lnTo>
                      <a:pt x="394" y="235"/>
                    </a:lnTo>
                    <a:lnTo>
                      <a:pt x="390" y="223"/>
                    </a:lnTo>
                    <a:lnTo>
                      <a:pt x="375" y="207"/>
                    </a:lnTo>
                    <a:lnTo>
                      <a:pt x="352" y="195"/>
                    </a:lnTo>
                    <a:lnTo>
                      <a:pt x="335" y="188"/>
                    </a:lnTo>
                    <a:lnTo>
                      <a:pt x="324" y="190"/>
                    </a:lnTo>
                    <a:lnTo>
                      <a:pt x="331" y="209"/>
                    </a:lnTo>
                    <a:lnTo>
                      <a:pt x="338" y="224"/>
                    </a:lnTo>
                    <a:lnTo>
                      <a:pt x="338" y="242"/>
                    </a:lnTo>
                    <a:lnTo>
                      <a:pt x="331" y="256"/>
                    </a:lnTo>
                    <a:lnTo>
                      <a:pt x="345" y="259"/>
                    </a:lnTo>
                    <a:lnTo>
                      <a:pt x="328" y="275"/>
                    </a:lnTo>
                    <a:lnTo>
                      <a:pt x="307" y="278"/>
                    </a:lnTo>
                    <a:lnTo>
                      <a:pt x="303" y="292"/>
                    </a:lnTo>
                    <a:lnTo>
                      <a:pt x="305" y="302"/>
                    </a:lnTo>
                    <a:lnTo>
                      <a:pt x="291" y="315"/>
                    </a:lnTo>
                    <a:lnTo>
                      <a:pt x="303" y="318"/>
                    </a:lnTo>
                    <a:lnTo>
                      <a:pt x="316" y="316"/>
                    </a:lnTo>
                    <a:lnTo>
                      <a:pt x="326" y="313"/>
                    </a:lnTo>
                    <a:lnTo>
                      <a:pt x="338" y="299"/>
                    </a:lnTo>
                    <a:lnTo>
                      <a:pt x="362" y="306"/>
                    </a:lnTo>
                    <a:lnTo>
                      <a:pt x="371" y="323"/>
                    </a:lnTo>
                    <a:lnTo>
                      <a:pt x="364" y="339"/>
                    </a:lnTo>
                    <a:lnTo>
                      <a:pt x="354" y="349"/>
                    </a:lnTo>
                    <a:lnTo>
                      <a:pt x="335" y="358"/>
                    </a:lnTo>
                    <a:lnTo>
                      <a:pt x="326" y="365"/>
                    </a:lnTo>
                    <a:lnTo>
                      <a:pt x="328" y="377"/>
                    </a:lnTo>
                    <a:lnTo>
                      <a:pt x="321" y="389"/>
                    </a:lnTo>
                    <a:lnTo>
                      <a:pt x="312" y="400"/>
                    </a:lnTo>
                    <a:lnTo>
                      <a:pt x="288" y="403"/>
                    </a:lnTo>
                    <a:lnTo>
                      <a:pt x="274" y="403"/>
                    </a:lnTo>
                    <a:lnTo>
                      <a:pt x="260" y="391"/>
                    </a:lnTo>
                    <a:lnTo>
                      <a:pt x="251" y="380"/>
                    </a:lnTo>
                    <a:lnTo>
                      <a:pt x="243" y="370"/>
                    </a:lnTo>
                    <a:lnTo>
                      <a:pt x="236" y="382"/>
                    </a:lnTo>
                    <a:lnTo>
                      <a:pt x="229" y="368"/>
                    </a:lnTo>
                    <a:lnTo>
                      <a:pt x="215" y="367"/>
                    </a:lnTo>
                    <a:lnTo>
                      <a:pt x="201" y="358"/>
                    </a:lnTo>
                    <a:lnTo>
                      <a:pt x="194" y="348"/>
                    </a:lnTo>
                    <a:lnTo>
                      <a:pt x="177" y="354"/>
                    </a:lnTo>
                    <a:lnTo>
                      <a:pt x="168" y="349"/>
                    </a:lnTo>
                    <a:lnTo>
                      <a:pt x="158" y="339"/>
                    </a:lnTo>
                    <a:lnTo>
                      <a:pt x="154" y="323"/>
                    </a:lnTo>
                    <a:lnTo>
                      <a:pt x="142" y="325"/>
                    </a:lnTo>
                    <a:lnTo>
                      <a:pt x="132" y="335"/>
                    </a:lnTo>
                    <a:lnTo>
                      <a:pt x="121" y="327"/>
                    </a:lnTo>
                    <a:lnTo>
                      <a:pt x="111" y="313"/>
                    </a:lnTo>
                    <a:lnTo>
                      <a:pt x="99" y="313"/>
                    </a:lnTo>
                    <a:lnTo>
                      <a:pt x="92" y="296"/>
                    </a:lnTo>
                    <a:lnTo>
                      <a:pt x="75" y="294"/>
                    </a:lnTo>
                    <a:lnTo>
                      <a:pt x="64" y="294"/>
                    </a:lnTo>
                    <a:cubicBezTo>
                      <a:pt x="56" y="283"/>
                      <a:pt x="61" y="285"/>
                      <a:pt x="52" y="285"/>
                    </a:cubicBezTo>
                    <a:lnTo>
                      <a:pt x="40" y="287"/>
                    </a:lnTo>
                    <a:lnTo>
                      <a:pt x="21" y="275"/>
                    </a:lnTo>
                    <a:lnTo>
                      <a:pt x="14" y="263"/>
                    </a:lnTo>
                    <a:lnTo>
                      <a:pt x="5" y="254"/>
                    </a:lnTo>
                    <a:lnTo>
                      <a:pt x="0" y="242"/>
                    </a:lnTo>
                    <a:lnTo>
                      <a:pt x="0" y="230"/>
                    </a:lnTo>
                    <a:lnTo>
                      <a:pt x="3" y="218"/>
                    </a:lnTo>
                    <a:lnTo>
                      <a:pt x="9" y="205"/>
                    </a:lnTo>
                    <a:lnTo>
                      <a:pt x="17" y="197"/>
                    </a:lnTo>
                    <a:lnTo>
                      <a:pt x="26" y="181"/>
                    </a:lnTo>
                    <a:lnTo>
                      <a:pt x="49" y="169"/>
                    </a:lnTo>
                    <a:lnTo>
                      <a:pt x="45" y="155"/>
                    </a:lnTo>
                    <a:lnTo>
                      <a:pt x="54" y="139"/>
                    </a:lnTo>
                    <a:lnTo>
                      <a:pt x="61" y="131"/>
                    </a:lnTo>
                    <a:lnTo>
                      <a:pt x="52" y="117"/>
                    </a:lnTo>
                    <a:lnTo>
                      <a:pt x="43" y="100"/>
                    </a:lnTo>
                    <a:lnTo>
                      <a:pt x="61" y="91"/>
                    </a:lnTo>
                    <a:lnTo>
                      <a:pt x="66" y="82"/>
                    </a:lnTo>
                    <a:lnTo>
                      <a:pt x="73" y="65"/>
                    </a:lnTo>
                    <a:lnTo>
                      <a:pt x="82" y="60"/>
                    </a:lnTo>
                    <a:lnTo>
                      <a:pt x="104" y="58"/>
                    </a:lnTo>
                    <a:lnTo>
                      <a:pt x="114" y="70"/>
                    </a:lnTo>
                    <a:lnTo>
                      <a:pt x="130" y="77"/>
                    </a:lnTo>
                    <a:lnTo>
                      <a:pt x="153" y="68"/>
                    </a:lnTo>
                    <a:lnTo>
                      <a:pt x="156" y="58"/>
                    </a:lnTo>
                    <a:lnTo>
                      <a:pt x="154" y="48"/>
                    </a:lnTo>
                    <a:lnTo>
                      <a:pt x="142" y="42"/>
                    </a:lnTo>
                    <a:lnTo>
                      <a:pt x="140" y="30"/>
                    </a:lnTo>
                    <a:lnTo>
                      <a:pt x="151" y="25"/>
                    </a:lnTo>
                    <a:lnTo>
                      <a:pt x="142" y="15"/>
                    </a:lnTo>
                    <a:cubicBezTo>
                      <a:pt x="140" y="0"/>
                      <a:pt x="140" y="8"/>
                      <a:pt x="153" y="8"/>
                    </a:cubicBezTo>
                    <a:lnTo>
                      <a:pt x="166" y="1"/>
                    </a:lnTo>
                    <a:lnTo>
                      <a:pt x="177" y="4"/>
                    </a:lnTo>
                    <a:lnTo>
                      <a:pt x="187" y="13"/>
                    </a:lnTo>
                    <a:lnTo>
                      <a:pt x="182" y="23"/>
                    </a:lnTo>
                    <a:lnTo>
                      <a:pt x="192" y="37"/>
                    </a:lnTo>
                    <a:lnTo>
                      <a:pt x="192" y="51"/>
                    </a:lnTo>
                    <a:lnTo>
                      <a:pt x="199" y="65"/>
                    </a:lnTo>
                    <a:lnTo>
                      <a:pt x="212" y="77"/>
                    </a:lnTo>
                    <a:lnTo>
                      <a:pt x="231" y="82"/>
                    </a:lnTo>
                    <a:lnTo>
                      <a:pt x="251" y="81"/>
                    </a:lnTo>
                    <a:lnTo>
                      <a:pt x="241" y="65"/>
                    </a:lnTo>
                    <a:lnTo>
                      <a:pt x="232" y="51"/>
                    </a:lnTo>
                    <a:lnTo>
                      <a:pt x="241" y="37"/>
                    </a:lnTo>
                    <a:lnTo>
                      <a:pt x="264" y="34"/>
                    </a:lnTo>
                    <a:lnTo>
                      <a:pt x="279" y="23"/>
                    </a:lnTo>
                    <a:lnTo>
                      <a:pt x="305" y="29"/>
                    </a:lnTo>
                    <a:lnTo>
                      <a:pt x="331" y="27"/>
                    </a:lnTo>
                    <a:lnTo>
                      <a:pt x="347" y="18"/>
                    </a:lnTo>
                    <a:lnTo>
                      <a:pt x="357" y="32"/>
                    </a:lnTo>
                    <a:lnTo>
                      <a:pt x="364" y="42"/>
                    </a:lnTo>
                    <a:lnTo>
                      <a:pt x="359" y="58"/>
                    </a:lnTo>
                    <a:lnTo>
                      <a:pt x="361" y="81"/>
                    </a:lnTo>
                    <a:lnTo>
                      <a:pt x="375" y="67"/>
                    </a:lnTo>
                    <a:lnTo>
                      <a:pt x="380" y="59"/>
                    </a:lnTo>
                    <a:lnTo>
                      <a:pt x="416" y="84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5" name="Freeform 54"/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1627479" y="2942283"/>
                <a:ext cx="338970" cy="195575"/>
              </a:xfrm>
              <a:custGeom>
                <a:avLst/>
                <a:gdLst>
                  <a:gd name="T0" fmla="*/ 2147483647 w 274"/>
                  <a:gd name="T1" fmla="*/ 2147483647 h 166"/>
                  <a:gd name="T2" fmla="*/ 2147483647 w 274"/>
                  <a:gd name="T3" fmla="*/ 2147483647 h 166"/>
                  <a:gd name="T4" fmla="*/ 2147483647 w 274"/>
                  <a:gd name="T5" fmla="*/ 2147483647 h 166"/>
                  <a:gd name="T6" fmla="*/ 2147483647 w 274"/>
                  <a:gd name="T7" fmla="*/ 2147483647 h 166"/>
                  <a:gd name="T8" fmla="*/ 2147483647 w 274"/>
                  <a:gd name="T9" fmla="*/ 2147483647 h 166"/>
                  <a:gd name="T10" fmla="*/ 2147483647 w 274"/>
                  <a:gd name="T11" fmla="*/ 2147483647 h 166"/>
                  <a:gd name="T12" fmla="*/ 2147483647 w 274"/>
                  <a:gd name="T13" fmla="*/ 2147483647 h 166"/>
                  <a:gd name="T14" fmla="*/ 2147483647 w 274"/>
                  <a:gd name="T15" fmla="*/ 2147483647 h 166"/>
                  <a:gd name="T16" fmla="*/ 2147483647 w 274"/>
                  <a:gd name="T17" fmla="*/ 2147483647 h 166"/>
                  <a:gd name="T18" fmla="*/ 2147483647 w 274"/>
                  <a:gd name="T19" fmla="*/ 2147483647 h 166"/>
                  <a:gd name="T20" fmla="*/ 2147483647 w 274"/>
                  <a:gd name="T21" fmla="*/ 2147483647 h 166"/>
                  <a:gd name="T22" fmla="*/ 2147483647 w 274"/>
                  <a:gd name="T23" fmla="*/ 2147483647 h 166"/>
                  <a:gd name="T24" fmla="*/ 2147483647 w 274"/>
                  <a:gd name="T25" fmla="*/ 2147483647 h 166"/>
                  <a:gd name="T26" fmla="*/ 2147483647 w 274"/>
                  <a:gd name="T27" fmla="*/ 2147483647 h 166"/>
                  <a:gd name="T28" fmla="*/ 2147483647 w 274"/>
                  <a:gd name="T29" fmla="*/ 2147483647 h 166"/>
                  <a:gd name="T30" fmla="*/ 2147483647 w 274"/>
                  <a:gd name="T31" fmla="*/ 2147483647 h 166"/>
                  <a:gd name="T32" fmla="*/ 2147483647 w 274"/>
                  <a:gd name="T33" fmla="*/ 2147483647 h 166"/>
                  <a:gd name="T34" fmla="*/ 2147483647 w 274"/>
                  <a:gd name="T35" fmla="*/ 2147483647 h 166"/>
                  <a:gd name="T36" fmla="*/ 2147483647 w 274"/>
                  <a:gd name="T37" fmla="*/ 2147483647 h 166"/>
                  <a:gd name="T38" fmla="*/ 2147483647 w 274"/>
                  <a:gd name="T39" fmla="*/ 2147483647 h 166"/>
                  <a:gd name="T40" fmla="*/ 2147483647 w 274"/>
                  <a:gd name="T41" fmla="*/ 2147483647 h 166"/>
                  <a:gd name="T42" fmla="*/ 2147483647 w 274"/>
                  <a:gd name="T43" fmla="*/ 2147483647 h 166"/>
                  <a:gd name="T44" fmla="*/ 2147483647 w 274"/>
                  <a:gd name="T45" fmla="*/ 2147483647 h 166"/>
                  <a:gd name="T46" fmla="*/ 2147483647 w 274"/>
                  <a:gd name="T47" fmla="*/ 2147483647 h 166"/>
                  <a:gd name="T48" fmla="*/ 2147483647 w 274"/>
                  <a:gd name="T49" fmla="*/ 2147483647 h 166"/>
                  <a:gd name="T50" fmla="*/ 2147483647 w 274"/>
                  <a:gd name="T51" fmla="*/ 2147483647 h 166"/>
                  <a:gd name="T52" fmla="*/ 2147483647 w 274"/>
                  <a:gd name="T53" fmla="*/ 2147483647 h 166"/>
                  <a:gd name="T54" fmla="*/ 2147483647 w 274"/>
                  <a:gd name="T55" fmla="*/ 2147483647 h 166"/>
                  <a:gd name="T56" fmla="*/ 2147483647 w 274"/>
                  <a:gd name="T57" fmla="*/ 2147483647 h 166"/>
                  <a:gd name="T58" fmla="*/ 2147483647 w 274"/>
                  <a:gd name="T59" fmla="*/ 2147483647 h 166"/>
                  <a:gd name="T60" fmla="*/ 2147483647 w 274"/>
                  <a:gd name="T61" fmla="*/ 2147483647 h 166"/>
                  <a:gd name="T62" fmla="*/ 2147483647 w 274"/>
                  <a:gd name="T63" fmla="*/ 2147483647 h 166"/>
                  <a:gd name="T64" fmla="*/ 0 w 274"/>
                  <a:gd name="T65" fmla="*/ 2147483647 h 166"/>
                  <a:gd name="T66" fmla="*/ 2147483647 w 274"/>
                  <a:gd name="T67" fmla="*/ 2147483647 h 166"/>
                  <a:gd name="T68" fmla="*/ 2147483647 w 274"/>
                  <a:gd name="T69" fmla="*/ 2147483647 h 166"/>
                  <a:gd name="T70" fmla="*/ 2147483647 w 274"/>
                  <a:gd name="T71" fmla="*/ 2147483647 h 166"/>
                  <a:gd name="T72" fmla="*/ 2147483647 w 274"/>
                  <a:gd name="T73" fmla="*/ 2147483647 h 166"/>
                  <a:gd name="T74" fmla="*/ 2147483647 w 274"/>
                  <a:gd name="T75" fmla="*/ 2147483647 h 166"/>
                  <a:gd name="T76" fmla="*/ 2147483647 w 274"/>
                  <a:gd name="T77" fmla="*/ 2147483647 h 166"/>
                  <a:gd name="T78" fmla="*/ 2147483647 w 274"/>
                  <a:gd name="T79" fmla="*/ 2147483647 h 166"/>
                  <a:gd name="T80" fmla="*/ 2147483647 w 274"/>
                  <a:gd name="T81" fmla="*/ 2147483647 h 166"/>
                  <a:gd name="T82" fmla="*/ 2147483647 w 274"/>
                  <a:gd name="T83" fmla="*/ 2147483647 h 166"/>
                  <a:gd name="T84" fmla="*/ 2147483647 w 274"/>
                  <a:gd name="T85" fmla="*/ 2147483647 h 166"/>
                  <a:gd name="T86" fmla="*/ 2147483647 w 274"/>
                  <a:gd name="T87" fmla="*/ 2147483647 h 166"/>
                  <a:gd name="T88" fmla="*/ 2147483647 w 274"/>
                  <a:gd name="T89" fmla="*/ 2147483647 h 166"/>
                  <a:gd name="T90" fmla="*/ 2147483647 w 274"/>
                  <a:gd name="T91" fmla="*/ 2147483647 h 166"/>
                  <a:gd name="T92" fmla="*/ 2147483647 w 274"/>
                  <a:gd name="T93" fmla="*/ 2147483647 h 166"/>
                  <a:gd name="T94" fmla="*/ 2147483647 w 274"/>
                  <a:gd name="T95" fmla="*/ 2147483647 h 166"/>
                  <a:gd name="T96" fmla="*/ 2147483647 w 274"/>
                  <a:gd name="T97" fmla="*/ 2147483647 h 166"/>
                  <a:gd name="T98" fmla="*/ 2147483647 w 274"/>
                  <a:gd name="T99" fmla="*/ 2147483647 h 166"/>
                  <a:gd name="T100" fmla="*/ 2147483647 w 274"/>
                  <a:gd name="T101" fmla="*/ 2147483647 h 166"/>
                  <a:gd name="T102" fmla="*/ 2147483647 w 274"/>
                  <a:gd name="T103" fmla="*/ 2147483647 h 166"/>
                  <a:gd name="T104" fmla="*/ 2147483647 w 274"/>
                  <a:gd name="T105" fmla="*/ 2147483647 h 166"/>
                  <a:gd name="T106" fmla="*/ 2147483647 w 274"/>
                  <a:gd name="T107" fmla="*/ 2147483647 h 166"/>
                  <a:gd name="T108" fmla="*/ 2147483647 w 274"/>
                  <a:gd name="T109" fmla="*/ 2147483647 h 166"/>
                  <a:gd name="T110" fmla="*/ 2147483647 w 274"/>
                  <a:gd name="T111" fmla="*/ 2147483647 h 166"/>
                  <a:gd name="T112" fmla="*/ 2147483647 w 274"/>
                  <a:gd name="T113" fmla="*/ 2147483647 h 166"/>
                  <a:gd name="T114" fmla="*/ 2147483647 w 274"/>
                  <a:gd name="T115" fmla="*/ 2147483647 h 166"/>
                  <a:gd name="T116" fmla="*/ 2147483647 w 274"/>
                  <a:gd name="T117" fmla="*/ 2147483647 h 166"/>
                  <a:gd name="T118" fmla="*/ 2147483647 w 274"/>
                  <a:gd name="T119" fmla="*/ 2147483647 h 16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74"/>
                  <a:gd name="T181" fmla="*/ 0 h 166"/>
                  <a:gd name="T182" fmla="*/ 274 w 274"/>
                  <a:gd name="T183" fmla="*/ 166 h 16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74" h="166">
                    <a:moveTo>
                      <a:pt x="256" y="119"/>
                    </a:moveTo>
                    <a:lnTo>
                      <a:pt x="256" y="119"/>
                    </a:lnTo>
                    <a:lnTo>
                      <a:pt x="254" y="113"/>
                    </a:lnTo>
                    <a:lnTo>
                      <a:pt x="250" y="110"/>
                    </a:lnTo>
                    <a:lnTo>
                      <a:pt x="247" y="106"/>
                    </a:lnTo>
                    <a:lnTo>
                      <a:pt x="246" y="102"/>
                    </a:lnTo>
                    <a:lnTo>
                      <a:pt x="246" y="97"/>
                    </a:lnTo>
                    <a:lnTo>
                      <a:pt x="242" y="95"/>
                    </a:lnTo>
                    <a:lnTo>
                      <a:pt x="238" y="93"/>
                    </a:lnTo>
                    <a:lnTo>
                      <a:pt x="235" y="87"/>
                    </a:lnTo>
                    <a:lnTo>
                      <a:pt x="237" y="84"/>
                    </a:lnTo>
                    <a:lnTo>
                      <a:pt x="236" y="79"/>
                    </a:lnTo>
                    <a:lnTo>
                      <a:pt x="236" y="75"/>
                    </a:lnTo>
                    <a:lnTo>
                      <a:pt x="235" y="71"/>
                    </a:lnTo>
                    <a:lnTo>
                      <a:pt x="233" y="67"/>
                    </a:lnTo>
                    <a:lnTo>
                      <a:pt x="227" y="63"/>
                    </a:lnTo>
                    <a:lnTo>
                      <a:pt x="226" y="60"/>
                    </a:lnTo>
                    <a:lnTo>
                      <a:pt x="226" y="55"/>
                    </a:lnTo>
                    <a:lnTo>
                      <a:pt x="222" y="53"/>
                    </a:lnTo>
                    <a:lnTo>
                      <a:pt x="218" y="51"/>
                    </a:lnTo>
                    <a:lnTo>
                      <a:pt x="218" y="46"/>
                    </a:lnTo>
                    <a:lnTo>
                      <a:pt x="217" y="42"/>
                    </a:lnTo>
                    <a:lnTo>
                      <a:pt x="213" y="42"/>
                    </a:lnTo>
                    <a:lnTo>
                      <a:pt x="208" y="45"/>
                    </a:lnTo>
                    <a:lnTo>
                      <a:pt x="201" y="46"/>
                    </a:lnTo>
                    <a:lnTo>
                      <a:pt x="197" y="46"/>
                    </a:lnTo>
                    <a:lnTo>
                      <a:pt x="191" y="42"/>
                    </a:lnTo>
                    <a:lnTo>
                      <a:pt x="190" y="39"/>
                    </a:lnTo>
                    <a:lnTo>
                      <a:pt x="190" y="34"/>
                    </a:lnTo>
                    <a:lnTo>
                      <a:pt x="190" y="30"/>
                    </a:lnTo>
                    <a:lnTo>
                      <a:pt x="195" y="26"/>
                    </a:lnTo>
                    <a:lnTo>
                      <a:pt x="194" y="22"/>
                    </a:lnTo>
                    <a:lnTo>
                      <a:pt x="198" y="19"/>
                    </a:lnTo>
                    <a:lnTo>
                      <a:pt x="197" y="15"/>
                    </a:lnTo>
                    <a:lnTo>
                      <a:pt x="197" y="11"/>
                    </a:lnTo>
                    <a:lnTo>
                      <a:pt x="193" y="12"/>
                    </a:lnTo>
                    <a:lnTo>
                      <a:pt x="188" y="12"/>
                    </a:lnTo>
                    <a:lnTo>
                      <a:pt x="183" y="15"/>
                    </a:lnTo>
                    <a:lnTo>
                      <a:pt x="178" y="16"/>
                    </a:lnTo>
                    <a:lnTo>
                      <a:pt x="174" y="16"/>
                    </a:lnTo>
                    <a:lnTo>
                      <a:pt x="169" y="15"/>
                    </a:lnTo>
                    <a:lnTo>
                      <a:pt x="164" y="11"/>
                    </a:lnTo>
                    <a:lnTo>
                      <a:pt x="159" y="9"/>
                    </a:lnTo>
                    <a:lnTo>
                      <a:pt x="155" y="10"/>
                    </a:lnTo>
                    <a:lnTo>
                      <a:pt x="150" y="10"/>
                    </a:lnTo>
                    <a:lnTo>
                      <a:pt x="146" y="11"/>
                    </a:lnTo>
                    <a:lnTo>
                      <a:pt x="142" y="14"/>
                    </a:lnTo>
                    <a:lnTo>
                      <a:pt x="138" y="19"/>
                    </a:lnTo>
                    <a:lnTo>
                      <a:pt x="133" y="20"/>
                    </a:lnTo>
                    <a:lnTo>
                      <a:pt x="133" y="15"/>
                    </a:lnTo>
                    <a:lnTo>
                      <a:pt x="132" y="12"/>
                    </a:lnTo>
                    <a:lnTo>
                      <a:pt x="129" y="5"/>
                    </a:lnTo>
                    <a:lnTo>
                      <a:pt x="124" y="4"/>
                    </a:lnTo>
                    <a:lnTo>
                      <a:pt x="120" y="4"/>
                    </a:lnTo>
                    <a:lnTo>
                      <a:pt x="115" y="5"/>
                    </a:lnTo>
                    <a:lnTo>
                      <a:pt x="112" y="8"/>
                    </a:lnTo>
                    <a:lnTo>
                      <a:pt x="107" y="8"/>
                    </a:lnTo>
                    <a:lnTo>
                      <a:pt x="103" y="11"/>
                    </a:lnTo>
                    <a:lnTo>
                      <a:pt x="96" y="12"/>
                    </a:lnTo>
                    <a:lnTo>
                      <a:pt x="93" y="8"/>
                    </a:lnTo>
                    <a:lnTo>
                      <a:pt x="93" y="5"/>
                    </a:lnTo>
                    <a:lnTo>
                      <a:pt x="90" y="0"/>
                    </a:lnTo>
                    <a:lnTo>
                      <a:pt x="85" y="1"/>
                    </a:lnTo>
                    <a:lnTo>
                      <a:pt x="78" y="2"/>
                    </a:lnTo>
                    <a:lnTo>
                      <a:pt x="70" y="8"/>
                    </a:lnTo>
                    <a:lnTo>
                      <a:pt x="66" y="9"/>
                    </a:lnTo>
                    <a:lnTo>
                      <a:pt x="61" y="10"/>
                    </a:lnTo>
                    <a:lnTo>
                      <a:pt x="58" y="13"/>
                    </a:lnTo>
                    <a:lnTo>
                      <a:pt x="54" y="15"/>
                    </a:lnTo>
                    <a:lnTo>
                      <a:pt x="50" y="16"/>
                    </a:lnTo>
                    <a:lnTo>
                      <a:pt x="45" y="15"/>
                    </a:lnTo>
                    <a:lnTo>
                      <a:pt x="41" y="15"/>
                    </a:lnTo>
                    <a:lnTo>
                      <a:pt x="36" y="18"/>
                    </a:lnTo>
                    <a:lnTo>
                      <a:pt x="35" y="23"/>
                    </a:lnTo>
                    <a:lnTo>
                      <a:pt x="37" y="26"/>
                    </a:lnTo>
                    <a:lnTo>
                      <a:pt x="41" y="30"/>
                    </a:lnTo>
                    <a:lnTo>
                      <a:pt x="41" y="34"/>
                    </a:lnTo>
                    <a:lnTo>
                      <a:pt x="42" y="37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39" y="51"/>
                    </a:lnTo>
                    <a:lnTo>
                      <a:pt x="37" y="55"/>
                    </a:lnTo>
                    <a:lnTo>
                      <a:pt x="40" y="60"/>
                    </a:lnTo>
                    <a:lnTo>
                      <a:pt x="45" y="61"/>
                    </a:lnTo>
                    <a:lnTo>
                      <a:pt x="48" y="65"/>
                    </a:lnTo>
                    <a:lnTo>
                      <a:pt x="41" y="70"/>
                    </a:lnTo>
                    <a:lnTo>
                      <a:pt x="37" y="70"/>
                    </a:lnTo>
                    <a:lnTo>
                      <a:pt x="32" y="71"/>
                    </a:lnTo>
                    <a:lnTo>
                      <a:pt x="26" y="74"/>
                    </a:lnTo>
                    <a:lnTo>
                      <a:pt x="22" y="77"/>
                    </a:lnTo>
                    <a:lnTo>
                      <a:pt x="17" y="79"/>
                    </a:lnTo>
                    <a:lnTo>
                      <a:pt x="13" y="79"/>
                    </a:lnTo>
                    <a:lnTo>
                      <a:pt x="12" y="84"/>
                    </a:lnTo>
                    <a:lnTo>
                      <a:pt x="12" y="89"/>
                    </a:lnTo>
                    <a:lnTo>
                      <a:pt x="13" y="91"/>
                    </a:lnTo>
                    <a:lnTo>
                      <a:pt x="8" y="94"/>
                    </a:lnTo>
                    <a:lnTo>
                      <a:pt x="4" y="95"/>
                    </a:lnTo>
                    <a:lnTo>
                      <a:pt x="0" y="98"/>
                    </a:lnTo>
                    <a:lnTo>
                      <a:pt x="0" y="102"/>
                    </a:lnTo>
                    <a:lnTo>
                      <a:pt x="3" y="106"/>
                    </a:lnTo>
                    <a:lnTo>
                      <a:pt x="6" y="110"/>
                    </a:lnTo>
                    <a:lnTo>
                      <a:pt x="10" y="111"/>
                    </a:lnTo>
                    <a:lnTo>
                      <a:pt x="11" y="116"/>
                    </a:lnTo>
                    <a:lnTo>
                      <a:pt x="11" y="119"/>
                    </a:lnTo>
                    <a:lnTo>
                      <a:pt x="17" y="120"/>
                    </a:lnTo>
                    <a:lnTo>
                      <a:pt x="21" y="123"/>
                    </a:lnTo>
                    <a:lnTo>
                      <a:pt x="26" y="122"/>
                    </a:lnTo>
                    <a:lnTo>
                      <a:pt x="30" y="121"/>
                    </a:lnTo>
                    <a:lnTo>
                      <a:pt x="35" y="123"/>
                    </a:lnTo>
                    <a:lnTo>
                      <a:pt x="39" y="124"/>
                    </a:lnTo>
                    <a:lnTo>
                      <a:pt x="45" y="125"/>
                    </a:lnTo>
                    <a:lnTo>
                      <a:pt x="47" y="129"/>
                    </a:lnTo>
                    <a:lnTo>
                      <a:pt x="51" y="131"/>
                    </a:lnTo>
                    <a:lnTo>
                      <a:pt x="57" y="132"/>
                    </a:lnTo>
                    <a:lnTo>
                      <a:pt x="61" y="134"/>
                    </a:lnTo>
                    <a:lnTo>
                      <a:pt x="66" y="134"/>
                    </a:lnTo>
                    <a:lnTo>
                      <a:pt x="70" y="134"/>
                    </a:lnTo>
                    <a:lnTo>
                      <a:pt x="74" y="136"/>
                    </a:lnTo>
                    <a:lnTo>
                      <a:pt x="78" y="135"/>
                    </a:lnTo>
                    <a:lnTo>
                      <a:pt x="83" y="136"/>
                    </a:lnTo>
                    <a:lnTo>
                      <a:pt x="88" y="138"/>
                    </a:lnTo>
                    <a:lnTo>
                      <a:pt x="93" y="137"/>
                    </a:lnTo>
                    <a:lnTo>
                      <a:pt x="97" y="137"/>
                    </a:lnTo>
                    <a:lnTo>
                      <a:pt x="97" y="142"/>
                    </a:lnTo>
                    <a:lnTo>
                      <a:pt x="102" y="142"/>
                    </a:lnTo>
                    <a:lnTo>
                      <a:pt x="107" y="143"/>
                    </a:lnTo>
                    <a:lnTo>
                      <a:pt x="112" y="143"/>
                    </a:lnTo>
                    <a:lnTo>
                      <a:pt x="116" y="142"/>
                    </a:lnTo>
                    <a:lnTo>
                      <a:pt x="120" y="142"/>
                    </a:lnTo>
                    <a:lnTo>
                      <a:pt x="124" y="141"/>
                    </a:lnTo>
                    <a:lnTo>
                      <a:pt x="129" y="140"/>
                    </a:lnTo>
                    <a:lnTo>
                      <a:pt x="133" y="138"/>
                    </a:lnTo>
                    <a:lnTo>
                      <a:pt x="138" y="134"/>
                    </a:lnTo>
                    <a:lnTo>
                      <a:pt x="142" y="134"/>
                    </a:lnTo>
                    <a:lnTo>
                      <a:pt x="146" y="128"/>
                    </a:lnTo>
                    <a:lnTo>
                      <a:pt x="149" y="124"/>
                    </a:lnTo>
                    <a:lnTo>
                      <a:pt x="154" y="123"/>
                    </a:lnTo>
                    <a:lnTo>
                      <a:pt x="158" y="121"/>
                    </a:lnTo>
                    <a:lnTo>
                      <a:pt x="159" y="124"/>
                    </a:lnTo>
                    <a:lnTo>
                      <a:pt x="164" y="126"/>
                    </a:lnTo>
                    <a:lnTo>
                      <a:pt x="169" y="125"/>
                    </a:lnTo>
                    <a:lnTo>
                      <a:pt x="171" y="130"/>
                    </a:lnTo>
                    <a:lnTo>
                      <a:pt x="172" y="133"/>
                    </a:lnTo>
                    <a:lnTo>
                      <a:pt x="170" y="138"/>
                    </a:lnTo>
                    <a:lnTo>
                      <a:pt x="171" y="142"/>
                    </a:lnTo>
                    <a:lnTo>
                      <a:pt x="175" y="143"/>
                    </a:lnTo>
                    <a:lnTo>
                      <a:pt x="180" y="145"/>
                    </a:lnTo>
                    <a:lnTo>
                      <a:pt x="185" y="146"/>
                    </a:lnTo>
                    <a:lnTo>
                      <a:pt x="190" y="145"/>
                    </a:lnTo>
                    <a:lnTo>
                      <a:pt x="194" y="147"/>
                    </a:lnTo>
                    <a:lnTo>
                      <a:pt x="199" y="146"/>
                    </a:lnTo>
                    <a:lnTo>
                      <a:pt x="201" y="151"/>
                    </a:lnTo>
                    <a:lnTo>
                      <a:pt x="204" y="154"/>
                    </a:lnTo>
                    <a:lnTo>
                      <a:pt x="207" y="153"/>
                    </a:lnTo>
                    <a:lnTo>
                      <a:pt x="212" y="153"/>
                    </a:lnTo>
                    <a:lnTo>
                      <a:pt x="216" y="152"/>
                    </a:lnTo>
                    <a:lnTo>
                      <a:pt x="221" y="151"/>
                    </a:lnTo>
                    <a:lnTo>
                      <a:pt x="223" y="155"/>
                    </a:lnTo>
                    <a:lnTo>
                      <a:pt x="227" y="160"/>
                    </a:lnTo>
                    <a:lnTo>
                      <a:pt x="231" y="161"/>
                    </a:lnTo>
                    <a:lnTo>
                      <a:pt x="236" y="160"/>
                    </a:lnTo>
                    <a:lnTo>
                      <a:pt x="240" y="160"/>
                    </a:lnTo>
                    <a:lnTo>
                      <a:pt x="245" y="160"/>
                    </a:lnTo>
                    <a:lnTo>
                      <a:pt x="248" y="165"/>
                    </a:lnTo>
                    <a:lnTo>
                      <a:pt x="252" y="164"/>
                    </a:lnTo>
                    <a:lnTo>
                      <a:pt x="256" y="162"/>
                    </a:lnTo>
                    <a:lnTo>
                      <a:pt x="274" y="161"/>
                    </a:lnTo>
                    <a:lnTo>
                      <a:pt x="268" y="166"/>
                    </a:lnTo>
                    <a:lnTo>
                      <a:pt x="269" y="156"/>
                    </a:lnTo>
                    <a:lnTo>
                      <a:pt x="271" y="152"/>
                    </a:lnTo>
                    <a:lnTo>
                      <a:pt x="270" y="147"/>
                    </a:lnTo>
                    <a:lnTo>
                      <a:pt x="267" y="144"/>
                    </a:lnTo>
                    <a:lnTo>
                      <a:pt x="269" y="137"/>
                    </a:lnTo>
                    <a:lnTo>
                      <a:pt x="271" y="132"/>
                    </a:lnTo>
                    <a:lnTo>
                      <a:pt x="266" y="133"/>
                    </a:lnTo>
                    <a:lnTo>
                      <a:pt x="261" y="132"/>
                    </a:lnTo>
                    <a:lnTo>
                      <a:pt x="259" y="128"/>
                    </a:lnTo>
                    <a:lnTo>
                      <a:pt x="254" y="127"/>
                    </a:lnTo>
                    <a:lnTo>
                      <a:pt x="249" y="124"/>
                    </a:lnTo>
                    <a:lnTo>
                      <a:pt x="257" y="124"/>
                    </a:lnTo>
                    <a:lnTo>
                      <a:pt x="244" y="123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6" name="Freeform 56"/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1472584" y="2853809"/>
                <a:ext cx="237953" cy="314316"/>
              </a:xfrm>
              <a:custGeom>
                <a:avLst/>
                <a:gdLst>
                  <a:gd name="T0" fmla="*/ 2147483647 w 193"/>
                  <a:gd name="T1" fmla="*/ 2147483647 h 267"/>
                  <a:gd name="T2" fmla="*/ 2147483647 w 193"/>
                  <a:gd name="T3" fmla="*/ 2147483647 h 267"/>
                  <a:gd name="T4" fmla="*/ 2147483647 w 193"/>
                  <a:gd name="T5" fmla="*/ 2147483647 h 267"/>
                  <a:gd name="T6" fmla="*/ 2147483647 w 193"/>
                  <a:gd name="T7" fmla="*/ 2147483647 h 267"/>
                  <a:gd name="T8" fmla="*/ 2147483647 w 193"/>
                  <a:gd name="T9" fmla="*/ 2147483647 h 267"/>
                  <a:gd name="T10" fmla="*/ 2147483647 w 193"/>
                  <a:gd name="T11" fmla="*/ 2147483647 h 267"/>
                  <a:gd name="T12" fmla="*/ 2147483647 w 193"/>
                  <a:gd name="T13" fmla="*/ 2147483647 h 267"/>
                  <a:gd name="T14" fmla="*/ 2147483647 w 193"/>
                  <a:gd name="T15" fmla="*/ 2147483647 h 267"/>
                  <a:gd name="T16" fmla="*/ 2147483647 w 193"/>
                  <a:gd name="T17" fmla="*/ 2147483647 h 267"/>
                  <a:gd name="T18" fmla="*/ 2147483647 w 193"/>
                  <a:gd name="T19" fmla="*/ 2147483647 h 267"/>
                  <a:gd name="T20" fmla="*/ 2147483647 w 193"/>
                  <a:gd name="T21" fmla="*/ 2147483647 h 267"/>
                  <a:gd name="T22" fmla="*/ 2147483647 w 193"/>
                  <a:gd name="T23" fmla="*/ 2147483647 h 267"/>
                  <a:gd name="T24" fmla="*/ 2147483647 w 193"/>
                  <a:gd name="T25" fmla="*/ 2147483647 h 267"/>
                  <a:gd name="T26" fmla="*/ 2147483647 w 193"/>
                  <a:gd name="T27" fmla="*/ 2147483647 h 267"/>
                  <a:gd name="T28" fmla="*/ 2147483647 w 193"/>
                  <a:gd name="T29" fmla="*/ 2147483647 h 267"/>
                  <a:gd name="T30" fmla="*/ 2147483647 w 193"/>
                  <a:gd name="T31" fmla="*/ 2147483647 h 267"/>
                  <a:gd name="T32" fmla="*/ 0 w 193"/>
                  <a:gd name="T33" fmla="*/ 2147483647 h 267"/>
                  <a:gd name="T34" fmla="*/ 2147483647 w 193"/>
                  <a:gd name="T35" fmla="*/ 2147483647 h 267"/>
                  <a:gd name="T36" fmla="*/ 2147483647 w 193"/>
                  <a:gd name="T37" fmla="*/ 2147483647 h 267"/>
                  <a:gd name="T38" fmla="*/ 2147483647 w 193"/>
                  <a:gd name="T39" fmla="*/ 2147483647 h 267"/>
                  <a:gd name="T40" fmla="*/ 2147483647 w 193"/>
                  <a:gd name="T41" fmla="*/ 2147483647 h 267"/>
                  <a:gd name="T42" fmla="*/ 2147483647 w 193"/>
                  <a:gd name="T43" fmla="*/ 2147483647 h 267"/>
                  <a:gd name="T44" fmla="*/ 2147483647 w 193"/>
                  <a:gd name="T45" fmla="*/ 2147483647 h 267"/>
                  <a:gd name="T46" fmla="*/ 2147483647 w 193"/>
                  <a:gd name="T47" fmla="*/ 2147483647 h 267"/>
                  <a:gd name="T48" fmla="*/ 2147483647 w 193"/>
                  <a:gd name="T49" fmla="*/ 2147483647 h 267"/>
                  <a:gd name="T50" fmla="*/ 2147483647 w 193"/>
                  <a:gd name="T51" fmla="*/ 2147483647 h 267"/>
                  <a:gd name="T52" fmla="*/ 2147483647 w 193"/>
                  <a:gd name="T53" fmla="*/ 2147483647 h 267"/>
                  <a:gd name="T54" fmla="*/ 2147483647 w 193"/>
                  <a:gd name="T55" fmla="*/ 2147483647 h 267"/>
                  <a:gd name="T56" fmla="*/ 2147483647 w 193"/>
                  <a:gd name="T57" fmla="*/ 2147483647 h 267"/>
                  <a:gd name="T58" fmla="*/ 2147483647 w 193"/>
                  <a:gd name="T59" fmla="*/ 2147483647 h 267"/>
                  <a:gd name="T60" fmla="*/ 2147483647 w 193"/>
                  <a:gd name="T61" fmla="*/ 2147483647 h 267"/>
                  <a:gd name="T62" fmla="*/ 2147483647 w 193"/>
                  <a:gd name="T63" fmla="*/ 2147483647 h 267"/>
                  <a:gd name="T64" fmla="*/ 2147483647 w 193"/>
                  <a:gd name="T65" fmla="*/ 2147483647 h 267"/>
                  <a:gd name="T66" fmla="*/ 2147483647 w 193"/>
                  <a:gd name="T67" fmla="*/ 2147483647 h 267"/>
                  <a:gd name="T68" fmla="*/ 2147483647 w 193"/>
                  <a:gd name="T69" fmla="*/ 2147483647 h 267"/>
                  <a:gd name="T70" fmla="*/ 2147483647 w 193"/>
                  <a:gd name="T71" fmla="*/ 2147483647 h 267"/>
                  <a:gd name="T72" fmla="*/ 2147483647 w 193"/>
                  <a:gd name="T73" fmla="*/ 2147483647 h 267"/>
                  <a:gd name="T74" fmla="*/ 2147483647 w 193"/>
                  <a:gd name="T75" fmla="*/ 2147483647 h 267"/>
                  <a:gd name="T76" fmla="*/ 2147483647 w 193"/>
                  <a:gd name="T77" fmla="*/ 2147483647 h 267"/>
                  <a:gd name="T78" fmla="*/ 2147483647 w 193"/>
                  <a:gd name="T79" fmla="*/ 2147483647 h 267"/>
                  <a:gd name="T80" fmla="*/ 2147483647 w 193"/>
                  <a:gd name="T81" fmla="*/ 2147483647 h 267"/>
                  <a:gd name="T82" fmla="*/ 2147483647 w 193"/>
                  <a:gd name="T83" fmla="*/ 2147483647 h 267"/>
                  <a:gd name="T84" fmla="*/ 2147483647 w 193"/>
                  <a:gd name="T85" fmla="*/ 2147483647 h 267"/>
                  <a:gd name="T86" fmla="*/ 2147483647 w 193"/>
                  <a:gd name="T87" fmla="*/ 2147483647 h 267"/>
                  <a:gd name="T88" fmla="*/ 2147483647 w 193"/>
                  <a:gd name="T89" fmla="*/ 2147483647 h 267"/>
                  <a:gd name="T90" fmla="*/ 2147483647 w 193"/>
                  <a:gd name="T91" fmla="*/ 2147483647 h 267"/>
                  <a:gd name="T92" fmla="*/ 2147483647 w 193"/>
                  <a:gd name="T93" fmla="*/ 2147483647 h 267"/>
                  <a:gd name="T94" fmla="*/ 2147483647 w 193"/>
                  <a:gd name="T95" fmla="*/ 2147483647 h 267"/>
                  <a:gd name="T96" fmla="*/ 2147483647 w 193"/>
                  <a:gd name="T97" fmla="*/ 2147483647 h 267"/>
                  <a:gd name="T98" fmla="*/ 2147483647 w 193"/>
                  <a:gd name="T99" fmla="*/ 2147483647 h 267"/>
                  <a:gd name="T100" fmla="*/ 2147483647 w 193"/>
                  <a:gd name="T101" fmla="*/ 2147483647 h 267"/>
                  <a:gd name="T102" fmla="*/ 2147483647 w 193"/>
                  <a:gd name="T103" fmla="*/ 2147483647 h 26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93"/>
                  <a:gd name="T157" fmla="*/ 0 h 267"/>
                  <a:gd name="T158" fmla="*/ 193 w 193"/>
                  <a:gd name="T159" fmla="*/ 267 h 26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93" h="267">
                    <a:moveTo>
                      <a:pt x="165" y="1"/>
                    </a:moveTo>
                    <a:lnTo>
                      <a:pt x="160" y="1"/>
                    </a:lnTo>
                    <a:lnTo>
                      <a:pt x="159" y="7"/>
                    </a:lnTo>
                    <a:lnTo>
                      <a:pt x="154" y="8"/>
                    </a:lnTo>
                    <a:lnTo>
                      <a:pt x="155" y="12"/>
                    </a:lnTo>
                    <a:lnTo>
                      <a:pt x="160" y="12"/>
                    </a:lnTo>
                    <a:lnTo>
                      <a:pt x="158" y="17"/>
                    </a:lnTo>
                    <a:lnTo>
                      <a:pt x="153" y="18"/>
                    </a:lnTo>
                    <a:lnTo>
                      <a:pt x="149" y="15"/>
                    </a:lnTo>
                    <a:lnTo>
                      <a:pt x="144" y="16"/>
                    </a:lnTo>
                    <a:lnTo>
                      <a:pt x="143" y="21"/>
                    </a:lnTo>
                    <a:lnTo>
                      <a:pt x="143" y="24"/>
                    </a:lnTo>
                    <a:lnTo>
                      <a:pt x="138" y="25"/>
                    </a:lnTo>
                    <a:lnTo>
                      <a:pt x="135" y="25"/>
                    </a:lnTo>
                    <a:lnTo>
                      <a:pt x="130" y="26"/>
                    </a:lnTo>
                    <a:lnTo>
                      <a:pt x="126" y="24"/>
                    </a:lnTo>
                    <a:lnTo>
                      <a:pt x="121" y="27"/>
                    </a:lnTo>
                    <a:lnTo>
                      <a:pt x="120" y="32"/>
                    </a:lnTo>
                    <a:lnTo>
                      <a:pt x="121" y="36"/>
                    </a:lnTo>
                    <a:lnTo>
                      <a:pt x="121" y="40"/>
                    </a:lnTo>
                    <a:lnTo>
                      <a:pt x="122" y="44"/>
                    </a:lnTo>
                    <a:lnTo>
                      <a:pt x="120" y="49"/>
                    </a:lnTo>
                    <a:lnTo>
                      <a:pt x="119" y="52"/>
                    </a:lnTo>
                    <a:lnTo>
                      <a:pt x="120" y="57"/>
                    </a:lnTo>
                    <a:lnTo>
                      <a:pt x="115" y="58"/>
                    </a:lnTo>
                    <a:lnTo>
                      <a:pt x="111" y="59"/>
                    </a:lnTo>
                    <a:lnTo>
                      <a:pt x="106" y="59"/>
                    </a:lnTo>
                    <a:lnTo>
                      <a:pt x="103" y="55"/>
                    </a:lnTo>
                    <a:lnTo>
                      <a:pt x="103" y="52"/>
                    </a:lnTo>
                    <a:lnTo>
                      <a:pt x="98" y="52"/>
                    </a:lnTo>
                    <a:lnTo>
                      <a:pt x="94" y="54"/>
                    </a:lnTo>
                    <a:lnTo>
                      <a:pt x="91" y="51"/>
                    </a:lnTo>
                    <a:lnTo>
                      <a:pt x="86" y="49"/>
                    </a:lnTo>
                    <a:lnTo>
                      <a:pt x="82" y="49"/>
                    </a:lnTo>
                    <a:lnTo>
                      <a:pt x="77" y="50"/>
                    </a:lnTo>
                    <a:lnTo>
                      <a:pt x="73" y="51"/>
                    </a:lnTo>
                    <a:lnTo>
                      <a:pt x="71" y="56"/>
                    </a:lnTo>
                    <a:lnTo>
                      <a:pt x="69" y="59"/>
                    </a:lnTo>
                    <a:lnTo>
                      <a:pt x="68" y="64"/>
                    </a:lnTo>
                    <a:lnTo>
                      <a:pt x="69" y="68"/>
                    </a:lnTo>
                    <a:lnTo>
                      <a:pt x="69" y="72"/>
                    </a:lnTo>
                    <a:lnTo>
                      <a:pt x="68" y="77"/>
                    </a:lnTo>
                    <a:lnTo>
                      <a:pt x="63" y="77"/>
                    </a:lnTo>
                    <a:lnTo>
                      <a:pt x="61" y="82"/>
                    </a:lnTo>
                    <a:lnTo>
                      <a:pt x="57" y="84"/>
                    </a:lnTo>
                    <a:lnTo>
                      <a:pt x="53" y="85"/>
                    </a:lnTo>
                    <a:lnTo>
                      <a:pt x="48" y="87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36" y="91"/>
                    </a:lnTo>
                    <a:lnTo>
                      <a:pt x="37" y="96"/>
                    </a:lnTo>
                    <a:lnTo>
                      <a:pt x="35" y="99"/>
                    </a:lnTo>
                    <a:lnTo>
                      <a:pt x="36" y="104"/>
                    </a:lnTo>
                    <a:lnTo>
                      <a:pt x="31" y="107"/>
                    </a:lnTo>
                    <a:lnTo>
                      <a:pt x="37" y="108"/>
                    </a:lnTo>
                    <a:lnTo>
                      <a:pt x="37" y="112"/>
                    </a:lnTo>
                    <a:lnTo>
                      <a:pt x="32" y="115"/>
                    </a:lnTo>
                    <a:lnTo>
                      <a:pt x="31" y="119"/>
                    </a:lnTo>
                    <a:lnTo>
                      <a:pt x="30" y="124"/>
                    </a:lnTo>
                    <a:lnTo>
                      <a:pt x="30" y="127"/>
                    </a:lnTo>
                    <a:lnTo>
                      <a:pt x="25" y="131"/>
                    </a:lnTo>
                    <a:lnTo>
                      <a:pt x="21" y="131"/>
                    </a:lnTo>
                    <a:lnTo>
                      <a:pt x="17" y="134"/>
                    </a:lnTo>
                    <a:lnTo>
                      <a:pt x="13" y="136"/>
                    </a:lnTo>
                    <a:lnTo>
                      <a:pt x="8" y="137"/>
                    </a:lnTo>
                    <a:lnTo>
                      <a:pt x="7" y="140"/>
                    </a:lnTo>
                    <a:lnTo>
                      <a:pt x="2" y="141"/>
                    </a:lnTo>
                    <a:lnTo>
                      <a:pt x="0" y="146"/>
                    </a:lnTo>
                    <a:lnTo>
                      <a:pt x="1" y="150"/>
                    </a:lnTo>
                    <a:lnTo>
                      <a:pt x="3" y="154"/>
                    </a:lnTo>
                    <a:lnTo>
                      <a:pt x="8" y="153"/>
                    </a:lnTo>
                    <a:lnTo>
                      <a:pt x="9" y="157"/>
                    </a:lnTo>
                    <a:lnTo>
                      <a:pt x="9" y="162"/>
                    </a:lnTo>
                    <a:lnTo>
                      <a:pt x="10" y="165"/>
                    </a:lnTo>
                    <a:lnTo>
                      <a:pt x="11" y="170"/>
                    </a:lnTo>
                    <a:lnTo>
                      <a:pt x="13" y="174"/>
                    </a:lnTo>
                    <a:lnTo>
                      <a:pt x="18" y="176"/>
                    </a:lnTo>
                    <a:lnTo>
                      <a:pt x="22" y="175"/>
                    </a:lnTo>
                    <a:lnTo>
                      <a:pt x="23" y="178"/>
                    </a:lnTo>
                    <a:lnTo>
                      <a:pt x="23" y="182"/>
                    </a:lnTo>
                    <a:lnTo>
                      <a:pt x="24" y="186"/>
                    </a:lnTo>
                    <a:lnTo>
                      <a:pt x="22" y="191"/>
                    </a:lnTo>
                    <a:lnTo>
                      <a:pt x="17" y="191"/>
                    </a:lnTo>
                    <a:lnTo>
                      <a:pt x="14" y="195"/>
                    </a:lnTo>
                    <a:lnTo>
                      <a:pt x="14" y="199"/>
                    </a:lnTo>
                    <a:lnTo>
                      <a:pt x="13" y="203"/>
                    </a:lnTo>
                    <a:lnTo>
                      <a:pt x="17" y="204"/>
                    </a:lnTo>
                    <a:lnTo>
                      <a:pt x="22" y="202"/>
                    </a:lnTo>
                    <a:lnTo>
                      <a:pt x="26" y="203"/>
                    </a:lnTo>
                    <a:lnTo>
                      <a:pt x="31" y="203"/>
                    </a:lnTo>
                    <a:lnTo>
                      <a:pt x="36" y="206"/>
                    </a:lnTo>
                    <a:lnTo>
                      <a:pt x="36" y="210"/>
                    </a:lnTo>
                    <a:lnTo>
                      <a:pt x="41" y="211"/>
                    </a:lnTo>
                    <a:lnTo>
                      <a:pt x="44" y="215"/>
                    </a:lnTo>
                    <a:lnTo>
                      <a:pt x="45" y="220"/>
                    </a:lnTo>
                    <a:lnTo>
                      <a:pt x="45" y="223"/>
                    </a:lnTo>
                    <a:lnTo>
                      <a:pt x="48" y="228"/>
                    </a:lnTo>
                    <a:lnTo>
                      <a:pt x="48" y="232"/>
                    </a:lnTo>
                    <a:lnTo>
                      <a:pt x="49" y="235"/>
                    </a:lnTo>
                    <a:lnTo>
                      <a:pt x="47" y="240"/>
                    </a:lnTo>
                    <a:lnTo>
                      <a:pt x="46" y="257"/>
                    </a:lnTo>
                    <a:lnTo>
                      <a:pt x="55" y="266"/>
                    </a:lnTo>
                    <a:lnTo>
                      <a:pt x="51" y="252"/>
                    </a:lnTo>
                    <a:lnTo>
                      <a:pt x="51" y="260"/>
                    </a:lnTo>
                    <a:lnTo>
                      <a:pt x="76" y="267"/>
                    </a:lnTo>
                    <a:lnTo>
                      <a:pt x="60" y="263"/>
                    </a:lnTo>
                    <a:lnTo>
                      <a:pt x="69" y="266"/>
                    </a:lnTo>
                    <a:lnTo>
                      <a:pt x="82" y="267"/>
                    </a:lnTo>
                    <a:lnTo>
                      <a:pt x="87" y="263"/>
                    </a:lnTo>
                    <a:lnTo>
                      <a:pt x="88" y="255"/>
                    </a:lnTo>
                    <a:lnTo>
                      <a:pt x="80" y="258"/>
                    </a:lnTo>
                    <a:lnTo>
                      <a:pt x="81" y="253"/>
                    </a:lnTo>
                    <a:lnTo>
                      <a:pt x="86" y="252"/>
                    </a:lnTo>
                    <a:lnTo>
                      <a:pt x="91" y="249"/>
                    </a:lnTo>
                    <a:lnTo>
                      <a:pt x="92" y="244"/>
                    </a:lnTo>
                    <a:lnTo>
                      <a:pt x="96" y="243"/>
                    </a:lnTo>
                    <a:lnTo>
                      <a:pt x="101" y="241"/>
                    </a:lnTo>
                    <a:lnTo>
                      <a:pt x="104" y="238"/>
                    </a:lnTo>
                    <a:lnTo>
                      <a:pt x="104" y="235"/>
                    </a:lnTo>
                    <a:lnTo>
                      <a:pt x="101" y="230"/>
                    </a:lnTo>
                    <a:lnTo>
                      <a:pt x="106" y="230"/>
                    </a:lnTo>
                    <a:lnTo>
                      <a:pt x="110" y="229"/>
                    </a:lnTo>
                    <a:lnTo>
                      <a:pt x="110" y="225"/>
                    </a:lnTo>
                    <a:lnTo>
                      <a:pt x="109" y="221"/>
                    </a:lnTo>
                    <a:lnTo>
                      <a:pt x="109" y="217"/>
                    </a:lnTo>
                    <a:lnTo>
                      <a:pt x="106" y="213"/>
                    </a:lnTo>
                    <a:lnTo>
                      <a:pt x="108" y="209"/>
                    </a:lnTo>
                    <a:lnTo>
                      <a:pt x="112" y="206"/>
                    </a:lnTo>
                    <a:lnTo>
                      <a:pt x="109" y="202"/>
                    </a:lnTo>
                    <a:lnTo>
                      <a:pt x="111" y="199"/>
                    </a:lnTo>
                    <a:lnTo>
                      <a:pt x="115" y="198"/>
                    </a:lnTo>
                    <a:lnTo>
                      <a:pt x="120" y="198"/>
                    </a:lnTo>
                    <a:lnTo>
                      <a:pt x="120" y="193"/>
                    </a:lnTo>
                    <a:lnTo>
                      <a:pt x="119" y="189"/>
                    </a:lnTo>
                    <a:lnTo>
                      <a:pt x="123" y="188"/>
                    </a:lnTo>
                    <a:lnTo>
                      <a:pt x="128" y="184"/>
                    </a:lnTo>
                    <a:lnTo>
                      <a:pt x="132" y="187"/>
                    </a:lnTo>
                    <a:lnTo>
                      <a:pt x="129" y="183"/>
                    </a:lnTo>
                    <a:lnTo>
                      <a:pt x="127" y="180"/>
                    </a:lnTo>
                    <a:lnTo>
                      <a:pt x="126" y="175"/>
                    </a:lnTo>
                    <a:lnTo>
                      <a:pt x="128" y="171"/>
                    </a:lnTo>
                    <a:lnTo>
                      <a:pt x="132" y="172"/>
                    </a:lnTo>
                    <a:lnTo>
                      <a:pt x="137" y="171"/>
                    </a:lnTo>
                    <a:lnTo>
                      <a:pt x="141" y="171"/>
                    </a:lnTo>
                    <a:lnTo>
                      <a:pt x="140" y="167"/>
                    </a:lnTo>
                    <a:lnTo>
                      <a:pt x="140" y="163"/>
                    </a:lnTo>
                    <a:lnTo>
                      <a:pt x="137" y="160"/>
                    </a:lnTo>
                    <a:lnTo>
                      <a:pt x="142" y="156"/>
                    </a:lnTo>
                    <a:lnTo>
                      <a:pt x="146" y="156"/>
                    </a:lnTo>
                    <a:lnTo>
                      <a:pt x="147" y="152"/>
                    </a:lnTo>
                    <a:lnTo>
                      <a:pt x="152" y="149"/>
                    </a:lnTo>
                    <a:lnTo>
                      <a:pt x="155" y="150"/>
                    </a:lnTo>
                    <a:lnTo>
                      <a:pt x="160" y="148"/>
                    </a:lnTo>
                    <a:lnTo>
                      <a:pt x="163" y="144"/>
                    </a:lnTo>
                    <a:lnTo>
                      <a:pt x="168" y="143"/>
                    </a:lnTo>
                    <a:lnTo>
                      <a:pt x="166" y="139"/>
                    </a:lnTo>
                    <a:lnTo>
                      <a:pt x="169" y="135"/>
                    </a:lnTo>
                    <a:lnTo>
                      <a:pt x="174" y="131"/>
                    </a:lnTo>
                    <a:lnTo>
                      <a:pt x="174" y="135"/>
                    </a:lnTo>
                    <a:lnTo>
                      <a:pt x="174" y="131"/>
                    </a:lnTo>
                    <a:lnTo>
                      <a:pt x="173" y="127"/>
                    </a:lnTo>
                    <a:lnTo>
                      <a:pt x="170" y="123"/>
                    </a:lnTo>
                    <a:lnTo>
                      <a:pt x="166" y="124"/>
                    </a:lnTo>
                    <a:lnTo>
                      <a:pt x="167" y="119"/>
                    </a:lnTo>
                    <a:lnTo>
                      <a:pt x="167" y="116"/>
                    </a:lnTo>
                    <a:lnTo>
                      <a:pt x="162" y="114"/>
                    </a:lnTo>
                    <a:lnTo>
                      <a:pt x="159" y="110"/>
                    </a:lnTo>
                    <a:lnTo>
                      <a:pt x="156" y="107"/>
                    </a:lnTo>
                    <a:lnTo>
                      <a:pt x="161" y="106"/>
                    </a:lnTo>
                    <a:lnTo>
                      <a:pt x="165" y="107"/>
                    </a:lnTo>
                    <a:lnTo>
                      <a:pt x="167" y="103"/>
                    </a:lnTo>
                    <a:lnTo>
                      <a:pt x="166" y="99"/>
                    </a:lnTo>
                    <a:lnTo>
                      <a:pt x="164" y="95"/>
                    </a:lnTo>
                    <a:lnTo>
                      <a:pt x="165" y="91"/>
                    </a:lnTo>
                    <a:lnTo>
                      <a:pt x="171" y="92"/>
                    </a:lnTo>
                    <a:lnTo>
                      <a:pt x="174" y="89"/>
                    </a:lnTo>
                    <a:lnTo>
                      <a:pt x="179" y="89"/>
                    </a:lnTo>
                    <a:lnTo>
                      <a:pt x="183" y="90"/>
                    </a:lnTo>
                    <a:lnTo>
                      <a:pt x="188" y="88"/>
                    </a:lnTo>
                    <a:lnTo>
                      <a:pt x="188" y="84"/>
                    </a:lnTo>
                    <a:lnTo>
                      <a:pt x="192" y="83"/>
                    </a:lnTo>
                    <a:lnTo>
                      <a:pt x="191" y="78"/>
                    </a:lnTo>
                    <a:lnTo>
                      <a:pt x="189" y="75"/>
                    </a:lnTo>
                    <a:lnTo>
                      <a:pt x="188" y="70"/>
                    </a:lnTo>
                    <a:lnTo>
                      <a:pt x="189" y="66"/>
                    </a:lnTo>
                    <a:lnTo>
                      <a:pt x="189" y="62"/>
                    </a:lnTo>
                    <a:lnTo>
                      <a:pt x="186" y="59"/>
                    </a:lnTo>
                    <a:lnTo>
                      <a:pt x="184" y="54"/>
                    </a:lnTo>
                    <a:lnTo>
                      <a:pt x="188" y="53"/>
                    </a:lnTo>
                    <a:lnTo>
                      <a:pt x="193" y="53"/>
                    </a:lnTo>
                    <a:lnTo>
                      <a:pt x="192" y="50"/>
                    </a:lnTo>
                    <a:lnTo>
                      <a:pt x="191" y="45"/>
                    </a:lnTo>
                    <a:lnTo>
                      <a:pt x="191" y="41"/>
                    </a:lnTo>
                    <a:lnTo>
                      <a:pt x="191" y="38"/>
                    </a:lnTo>
                    <a:lnTo>
                      <a:pt x="186" y="38"/>
                    </a:lnTo>
                    <a:lnTo>
                      <a:pt x="183" y="34"/>
                    </a:lnTo>
                    <a:lnTo>
                      <a:pt x="180" y="29"/>
                    </a:lnTo>
                    <a:lnTo>
                      <a:pt x="182" y="26"/>
                    </a:lnTo>
                    <a:lnTo>
                      <a:pt x="178" y="26"/>
                    </a:lnTo>
                    <a:lnTo>
                      <a:pt x="174" y="23"/>
                    </a:lnTo>
                    <a:lnTo>
                      <a:pt x="174" y="18"/>
                    </a:lnTo>
                    <a:lnTo>
                      <a:pt x="173" y="15"/>
                    </a:lnTo>
                    <a:lnTo>
                      <a:pt x="173" y="10"/>
                    </a:lnTo>
                    <a:lnTo>
                      <a:pt x="175" y="6"/>
                    </a:lnTo>
                    <a:lnTo>
                      <a:pt x="175" y="2"/>
                    </a:lnTo>
                    <a:lnTo>
                      <a:pt x="169" y="0"/>
                    </a:lnTo>
                    <a:lnTo>
                      <a:pt x="166" y="6"/>
                    </a:lnTo>
                    <a:lnTo>
                      <a:pt x="166" y="9"/>
                    </a:lnTo>
                    <a:lnTo>
                      <a:pt x="165" y="1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7" name="Freeform 57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1676865" y="2765334"/>
                <a:ext cx="435498" cy="293363"/>
              </a:xfrm>
              <a:custGeom>
                <a:avLst/>
                <a:gdLst>
                  <a:gd name="T0" fmla="*/ 2147483647 w 351"/>
                  <a:gd name="T1" fmla="*/ 2147483647 h 250"/>
                  <a:gd name="T2" fmla="*/ 2147483647 w 351"/>
                  <a:gd name="T3" fmla="*/ 2147483647 h 250"/>
                  <a:gd name="T4" fmla="*/ 2147483647 w 351"/>
                  <a:gd name="T5" fmla="*/ 2147483647 h 250"/>
                  <a:gd name="T6" fmla="*/ 2147483647 w 351"/>
                  <a:gd name="T7" fmla="*/ 2147483647 h 250"/>
                  <a:gd name="T8" fmla="*/ 2147483647 w 351"/>
                  <a:gd name="T9" fmla="*/ 2147483647 h 250"/>
                  <a:gd name="T10" fmla="*/ 2147483647 w 351"/>
                  <a:gd name="T11" fmla="*/ 2147483647 h 250"/>
                  <a:gd name="T12" fmla="*/ 2147483647 w 351"/>
                  <a:gd name="T13" fmla="*/ 2147483647 h 250"/>
                  <a:gd name="T14" fmla="*/ 2147483647 w 351"/>
                  <a:gd name="T15" fmla="*/ 2147483647 h 250"/>
                  <a:gd name="T16" fmla="*/ 2147483647 w 351"/>
                  <a:gd name="T17" fmla="*/ 2147483647 h 250"/>
                  <a:gd name="T18" fmla="*/ 2147483647 w 351"/>
                  <a:gd name="T19" fmla="*/ 2147483647 h 250"/>
                  <a:gd name="T20" fmla="*/ 2147483647 w 351"/>
                  <a:gd name="T21" fmla="*/ 2147483647 h 250"/>
                  <a:gd name="T22" fmla="*/ 2147483647 w 351"/>
                  <a:gd name="T23" fmla="*/ 2147483647 h 250"/>
                  <a:gd name="T24" fmla="*/ 2147483647 w 351"/>
                  <a:gd name="T25" fmla="*/ 2147483647 h 250"/>
                  <a:gd name="T26" fmla="*/ 2147483647 w 351"/>
                  <a:gd name="T27" fmla="*/ 2147483647 h 250"/>
                  <a:gd name="T28" fmla="*/ 2147483647 w 351"/>
                  <a:gd name="T29" fmla="*/ 2147483647 h 250"/>
                  <a:gd name="T30" fmla="*/ 2147483647 w 351"/>
                  <a:gd name="T31" fmla="*/ 2147483647 h 250"/>
                  <a:gd name="T32" fmla="*/ 2147483647 w 351"/>
                  <a:gd name="T33" fmla="*/ 2147483647 h 250"/>
                  <a:gd name="T34" fmla="*/ 2147483647 w 351"/>
                  <a:gd name="T35" fmla="*/ 2147483647 h 250"/>
                  <a:gd name="T36" fmla="*/ 2147483647 w 351"/>
                  <a:gd name="T37" fmla="*/ 2147483647 h 250"/>
                  <a:gd name="T38" fmla="*/ 2147483647 w 351"/>
                  <a:gd name="T39" fmla="*/ 2147483647 h 250"/>
                  <a:gd name="T40" fmla="*/ 2147483647 w 351"/>
                  <a:gd name="T41" fmla="*/ 2147483647 h 250"/>
                  <a:gd name="T42" fmla="*/ 2147483647 w 351"/>
                  <a:gd name="T43" fmla="*/ 2147483647 h 250"/>
                  <a:gd name="T44" fmla="*/ 2147483647 w 351"/>
                  <a:gd name="T45" fmla="*/ 2147483647 h 250"/>
                  <a:gd name="T46" fmla="*/ 2147483647 w 351"/>
                  <a:gd name="T47" fmla="*/ 2147483647 h 250"/>
                  <a:gd name="T48" fmla="*/ 2147483647 w 351"/>
                  <a:gd name="T49" fmla="*/ 2147483647 h 250"/>
                  <a:gd name="T50" fmla="*/ 2147483647 w 351"/>
                  <a:gd name="T51" fmla="*/ 2147483647 h 250"/>
                  <a:gd name="T52" fmla="*/ 2147483647 w 351"/>
                  <a:gd name="T53" fmla="*/ 2147483647 h 250"/>
                  <a:gd name="T54" fmla="*/ 2147483647 w 351"/>
                  <a:gd name="T55" fmla="*/ 2147483647 h 250"/>
                  <a:gd name="T56" fmla="*/ 2147483647 w 351"/>
                  <a:gd name="T57" fmla="*/ 2147483647 h 250"/>
                  <a:gd name="T58" fmla="*/ 2147483647 w 351"/>
                  <a:gd name="T59" fmla="*/ 2147483647 h 250"/>
                  <a:gd name="T60" fmla="*/ 2147483647 w 351"/>
                  <a:gd name="T61" fmla="*/ 2147483647 h 250"/>
                  <a:gd name="T62" fmla="*/ 2147483647 w 351"/>
                  <a:gd name="T63" fmla="*/ 2147483647 h 250"/>
                  <a:gd name="T64" fmla="*/ 2147483647 w 351"/>
                  <a:gd name="T65" fmla="*/ 2147483647 h 250"/>
                  <a:gd name="T66" fmla="*/ 2147483647 w 351"/>
                  <a:gd name="T67" fmla="*/ 2147483647 h 250"/>
                  <a:gd name="T68" fmla="*/ 2147483647 w 351"/>
                  <a:gd name="T69" fmla="*/ 2147483647 h 250"/>
                  <a:gd name="T70" fmla="*/ 2147483647 w 351"/>
                  <a:gd name="T71" fmla="*/ 2147483647 h 250"/>
                  <a:gd name="T72" fmla="*/ 2147483647 w 351"/>
                  <a:gd name="T73" fmla="*/ 2147483647 h 250"/>
                  <a:gd name="T74" fmla="*/ 2147483647 w 351"/>
                  <a:gd name="T75" fmla="*/ 2147483647 h 250"/>
                  <a:gd name="T76" fmla="*/ 2147483647 w 351"/>
                  <a:gd name="T77" fmla="*/ 0 h 250"/>
                  <a:gd name="T78" fmla="*/ 2147483647 w 351"/>
                  <a:gd name="T79" fmla="*/ 2147483647 h 250"/>
                  <a:gd name="T80" fmla="*/ 2147483647 w 351"/>
                  <a:gd name="T81" fmla="*/ 2147483647 h 250"/>
                  <a:gd name="T82" fmla="*/ 2147483647 w 351"/>
                  <a:gd name="T83" fmla="*/ 2147483647 h 250"/>
                  <a:gd name="T84" fmla="*/ 2147483647 w 351"/>
                  <a:gd name="T85" fmla="*/ 2147483647 h 250"/>
                  <a:gd name="T86" fmla="*/ 2147483647 w 351"/>
                  <a:gd name="T87" fmla="*/ 2147483647 h 250"/>
                  <a:gd name="T88" fmla="*/ 2147483647 w 351"/>
                  <a:gd name="T89" fmla="*/ 2147483647 h 250"/>
                  <a:gd name="T90" fmla="*/ 2147483647 w 351"/>
                  <a:gd name="T91" fmla="*/ 2147483647 h 250"/>
                  <a:gd name="T92" fmla="*/ 2147483647 w 351"/>
                  <a:gd name="T93" fmla="*/ 2147483647 h 250"/>
                  <a:gd name="T94" fmla="*/ 2147483647 w 351"/>
                  <a:gd name="T95" fmla="*/ 2147483647 h 250"/>
                  <a:gd name="T96" fmla="*/ 2147483647 w 351"/>
                  <a:gd name="T97" fmla="*/ 2147483647 h 250"/>
                  <a:gd name="T98" fmla="*/ 2147483647 w 351"/>
                  <a:gd name="T99" fmla="*/ 2147483647 h 250"/>
                  <a:gd name="T100" fmla="*/ 2147483647 w 351"/>
                  <a:gd name="T101" fmla="*/ 2147483647 h 250"/>
                  <a:gd name="T102" fmla="*/ 2147483647 w 351"/>
                  <a:gd name="T103" fmla="*/ 2147483647 h 250"/>
                  <a:gd name="T104" fmla="*/ 2147483647 w 351"/>
                  <a:gd name="T105" fmla="*/ 2147483647 h 250"/>
                  <a:gd name="T106" fmla="*/ 2147483647 w 351"/>
                  <a:gd name="T107" fmla="*/ 2147483647 h 25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351"/>
                  <a:gd name="T163" fmla="*/ 0 h 250"/>
                  <a:gd name="T164" fmla="*/ 351 w 351"/>
                  <a:gd name="T165" fmla="*/ 250 h 25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351" h="250">
                    <a:moveTo>
                      <a:pt x="15" y="62"/>
                    </a:moveTo>
                    <a:lnTo>
                      <a:pt x="10" y="62"/>
                    </a:lnTo>
                    <a:lnTo>
                      <a:pt x="6" y="63"/>
                    </a:lnTo>
                    <a:lnTo>
                      <a:pt x="2" y="64"/>
                    </a:lnTo>
                    <a:lnTo>
                      <a:pt x="0" y="69"/>
                    </a:lnTo>
                    <a:lnTo>
                      <a:pt x="3" y="73"/>
                    </a:lnTo>
                    <a:lnTo>
                      <a:pt x="6" y="76"/>
                    </a:lnTo>
                    <a:lnTo>
                      <a:pt x="7" y="80"/>
                    </a:lnTo>
                    <a:lnTo>
                      <a:pt x="9" y="85"/>
                    </a:lnTo>
                    <a:lnTo>
                      <a:pt x="12" y="88"/>
                    </a:lnTo>
                    <a:lnTo>
                      <a:pt x="14" y="92"/>
                    </a:lnTo>
                    <a:lnTo>
                      <a:pt x="15" y="96"/>
                    </a:lnTo>
                    <a:lnTo>
                      <a:pt x="15" y="99"/>
                    </a:lnTo>
                    <a:lnTo>
                      <a:pt x="16" y="104"/>
                    </a:lnTo>
                    <a:lnTo>
                      <a:pt x="21" y="105"/>
                    </a:lnTo>
                    <a:lnTo>
                      <a:pt x="26" y="110"/>
                    </a:lnTo>
                    <a:lnTo>
                      <a:pt x="26" y="113"/>
                    </a:lnTo>
                    <a:lnTo>
                      <a:pt x="25" y="118"/>
                    </a:lnTo>
                    <a:lnTo>
                      <a:pt x="24" y="122"/>
                    </a:lnTo>
                    <a:lnTo>
                      <a:pt x="24" y="126"/>
                    </a:lnTo>
                    <a:lnTo>
                      <a:pt x="25" y="130"/>
                    </a:lnTo>
                    <a:lnTo>
                      <a:pt x="25" y="135"/>
                    </a:lnTo>
                    <a:lnTo>
                      <a:pt x="26" y="138"/>
                    </a:lnTo>
                    <a:lnTo>
                      <a:pt x="24" y="142"/>
                    </a:lnTo>
                    <a:lnTo>
                      <a:pt x="25" y="147"/>
                    </a:lnTo>
                    <a:lnTo>
                      <a:pt x="25" y="150"/>
                    </a:lnTo>
                    <a:lnTo>
                      <a:pt x="26" y="155"/>
                    </a:lnTo>
                    <a:lnTo>
                      <a:pt x="28" y="159"/>
                    </a:lnTo>
                    <a:lnTo>
                      <a:pt x="32" y="158"/>
                    </a:lnTo>
                    <a:lnTo>
                      <a:pt x="37" y="158"/>
                    </a:lnTo>
                    <a:lnTo>
                      <a:pt x="41" y="155"/>
                    </a:lnTo>
                    <a:lnTo>
                      <a:pt x="46" y="153"/>
                    </a:lnTo>
                    <a:lnTo>
                      <a:pt x="49" y="150"/>
                    </a:lnTo>
                    <a:lnTo>
                      <a:pt x="55" y="151"/>
                    </a:lnTo>
                    <a:lnTo>
                      <a:pt x="57" y="155"/>
                    </a:lnTo>
                    <a:lnTo>
                      <a:pt x="60" y="159"/>
                    </a:lnTo>
                    <a:lnTo>
                      <a:pt x="65" y="160"/>
                    </a:lnTo>
                    <a:lnTo>
                      <a:pt x="71" y="159"/>
                    </a:lnTo>
                    <a:lnTo>
                      <a:pt x="75" y="161"/>
                    </a:lnTo>
                    <a:lnTo>
                      <a:pt x="80" y="158"/>
                    </a:lnTo>
                    <a:lnTo>
                      <a:pt x="84" y="158"/>
                    </a:lnTo>
                    <a:lnTo>
                      <a:pt x="89" y="157"/>
                    </a:lnTo>
                    <a:lnTo>
                      <a:pt x="93" y="158"/>
                    </a:lnTo>
                    <a:lnTo>
                      <a:pt x="98" y="161"/>
                    </a:lnTo>
                    <a:lnTo>
                      <a:pt x="96" y="164"/>
                    </a:lnTo>
                    <a:lnTo>
                      <a:pt x="101" y="165"/>
                    </a:lnTo>
                    <a:lnTo>
                      <a:pt x="106" y="165"/>
                    </a:lnTo>
                    <a:lnTo>
                      <a:pt x="110" y="164"/>
                    </a:lnTo>
                    <a:lnTo>
                      <a:pt x="115" y="165"/>
                    </a:lnTo>
                    <a:lnTo>
                      <a:pt x="119" y="163"/>
                    </a:lnTo>
                    <a:lnTo>
                      <a:pt x="120" y="160"/>
                    </a:lnTo>
                    <a:lnTo>
                      <a:pt x="125" y="159"/>
                    </a:lnTo>
                    <a:lnTo>
                      <a:pt x="129" y="158"/>
                    </a:lnTo>
                    <a:lnTo>
                      <a:pt x="133" y="161"/>
                    </a:lnTo>
                    <a:lnTo>
                      <a:pt x="137" y="161"/>
                    </a:lnTo>
                    <a:lnTo>
                      <a:pt x="142" y="160"/>
                    </a:lnTo>
                    <a:lnTo>
                      <a:pt x="146" y="159"/>
                    </a:lnTo>
                    <a:lnTo>
                      <a:pt x="148" y="164"/>
                    </a:lnTo>
                    <a:lnTo>
                      <a:pt x="147" y="168"/>
                    </a:lnTo>
                    <a:lnTo>
                      <a:pt x="147" y="172"/>
                    </a:lnTo>
                    <a:lnTo>
                      <a:pt x="150" y="176"/>
                    </a:lnTo>
                    <a:lnTo>
                      <a:pt x="146" y="176"/>
                    </a:lnTo>
                    <a:lnTo>
                      <a:pt x="145" y="182"/>
                    </a:lnTo>
                    <a:lnTo>
                      <a:pt x="145" y="185"/>
                    </a:lnTo>
                    <a:lnTo>
                      <a:pt x="148" y="189"/>
                    </a:lnTo>
                    <a:lnTo>
                      <a:pt x="150" y="193"/>
                    </a:lnTo>
                    <a:lnTo>
                      <a:pt x="155" y="192"/>
                    </a:lnTo>
                    <a:lnTo>
                      <a:pt x="159" y="192"/>
                    </a:lnTo>
                    <a:lnTo>
                      <a:pt x="164" y="191"/>
                    </a:lnTo>
                    <a:lnTo>
                      <a:pt x="168" y="191"/>
                    </a:lnTo>
                    <a:lnTo>
                      <a:pt x="173" y="190"/>
                    </a:lnTo>
                    <a:lnTo>
                      <a:pt x="175" y="194"/>
                    </a:lnTo>
                    <a:lnTo>
                      <a:pt x="176" y="198"/>
                    </a:lnTo>
                    <a:lnTo>
                      <a:pt x="177" y="203"/>
                    </a:lnTo>
                    <a:lnTo>
                      <a:pt x="179" y="205"/>
                    </a:lnTo>
                    <a:lnTo>
                      <a:pt x="184" y="207"/>
                    </a:lnTo>
                    <a:lnTo>
                      <a:pt x="188" y="206"/>
                    </a:lnTo>
                    <a:lnTo>
                      <a:pt x="186" y="202"/>
                    </a:lnTo>
                    <a:lnTo>
                      <a:pt x="188" y="206"/>
                    </a:lnTo>
                    <a:lnTo>
                      <a:pt x="189" y="211"/>
                    </a:lnTo>
                    <a:lnTo>
                      <a:pt x="191" y="214"/>
                    </a:lnTo>
                    <a:lnTo>
                      <a:pt x="192" y="219"/>
                    </a:lnTo>
                    <a:lnTo>
                      <a:pt x="192" y="223"/>
                    </a:lnTo>
                    <a:lnTo>
                      <a:pt x="193" y="227"/>
                    </a:lnTo>
                    <a:lnTo>
                      <a:pt x="194" y="231"/>
                    </a:lnTo>
                    <a:lnTo>
                      <a:pt x="196" y="235"/>
                    </a:lnTo>
                    <a:lnTo>
                      <a:pt x="200" y="237"/>
                    </a:lnTo>
                    <a:lnTo>
                      <a:pt x="201" y="240"/>
                    </a:lnTo>
                    <a:lnTo>
                      <a:pt x="201" y="245"/>
                    </a:lnTo>
                    <a:lnTo>
                      <a:pt x="205" y="248"/>
                    </a:lnTo>
                    <a:lnTo>
                      <a:pt x="209" y="249"/>
                    </a:lnTo>
                    <a:lnTo>
                      <a:pt x="214" y="247"/>
                    </a:lnTo>
                    <a:lnTo>
                      <a:pt x="218" y="246"/>
                    </a:lnTo>
                    <a:lnTo>
                      <a:pt x="223" y="244"/>
                    </a:lnTo>
                    <a:lnTo>
                      <a:pt x="227" y="245"/>
                    </a:lnTo>
                    <a:lnTo>
                      <a:pt x="232" y="249"/>
                    </a:lnTo>
                    <a:lnTo>
                      <a:pt x="236" y="250"/>
                    </a:lnTo>
                    <a:lnTo>
                      <a:pt x="241" y="249"/>
                    </a:lnTo>
                    <a:lnTo>
                      <a:pt x="245" y="249"/>
                    </a:lnTo>
                    <a:lnTo>
                      <a:pt x="250" y="248"/>
                    </a:lnTo>
                    <a:lnTo>
                      <a:pt x="254" y="246"/>
                    </a:lnTo>
                    <a:lnTo>
                      <a:pt x="256" y="241"/>
                    </a:lnTo>
                    <a:lnTo>
                      <a:pt x="260" y="241"/>
                    </a:lnTo>
                    <a:lnTo>
                      <a:pt x="265" y="240"/>
                    </a:lnTo>
                    <a:lnTo>
                      <a:pt x="269" y="240"/>
                    </a:lnTo>
                    <a:lnTo>
                      <a:pt x="274" y="237"/>
                    </a:lnTo>
                    <a:lnTo>
                      <a:pt x="273" y="232"/>
                    </a:lnTo>
                    <a:lnTo>
                      <a:pt x="268" y="229"/>
                    </a:lnTo>
                    <a:lnTo>
                      <a:pt x="264" y="228"/>
                    </a:lnTo>
                    <a:lnTo>
                      <a:pt x="263" y="223"/>
                    </a:lnTo>
                    <a:lnTo>
                      <a:pt x="267" y="221"/>
                    </a:lnTo>
                    <a:lnTo>
                      <a:pt x="272" y="220"/>
                    </a:lnTo>
                    <a:lnTo>
                      <a:pt x="276" y="219"/>
                    </a:lnTo>
                    <a:lnTo>
                      <a:pt x="275" y="216"/>
                    </a:lnTo>
                    <a:lnTo>
                      <a:pt x="275" y="212"/>
                    </a:lnTo>
                    <a:lnTo>
                      <a:pt x="274" y="208"/>
                    </a:lnTo>
                    <a:lnTo>
                      <a:pt x="272" y="203"/>
                    </a:lnTo>
                    <a:lnTo>
                      <a:pt x="275" y="202"/>
                    </a:lnTo>
                    <a:lnTo>
                      <a:pt x="278" y="199"/>
                    </a:lnTo>
                    <a:lnTo>
                      <a:pt x="282" y="195"/>
                    </a:lnTo>
                    <a:lnTo>
                      <a:pt x="287" y="195"/>
                    </a:lnTo>
                    <a:lnTo>
                      <a:pt x="291" y="194"/>
                    </a:lnTo>
                    <a:lnTo>
                      <a:pt x="292" y="190"/>
                    </a:lnTo>
                    <a:lnTo>
                      <a:pt x="297" y="187"/>
                    </a:lnTo>
                    <a:lnTo>
                      <a:pt x="301" y="186"/>
                    </a:lnTo>
                    <a:lnTo>
                      <a:pt x="304" y="185"/>
                    </a:lnTo>
                    <a:lnTo>
                      <a:pt x="308" y="182"/>
                    </a:lnTo>
                    <a:lnTo>
                      <a:pt x="307" y="178"/>
                    </a:lnTo>
                    <a:lnTo>
                      <a:pt x="307" y="173"/>
                    </a:lnTo>
                    <a:lnTo>
                      <a:pt x="312" y="171"/>
                    </a:lnTo>
                    <a:lnTo>
                      <a:pt x="315" y="169"/>
                    </a:lnTo>
                    <a:lnTo>
                      <a:pt x="319" y="171"/>
                    </a:lnTo>
                    <a:lnTo>
                      <a:pt x="323" y="171"/>
                    </a:lnTo>
                    <a:lnTo>
                      <a:pt x="328" y="170"/>
                    </a:lnTo>
                    <a:lnTo>
                      <a:pt x="331" y="169"/>
                    </a:lnTo>
                    <a:lnTo>
                      <a:pt x="336" y="168"/>
                    </a:lnTo>
                    <a:lnTo>
                      <a:pt x="341" y="168"/>
                    </a:lnTo>
                    <a:lnTo>
                      <a:pt x="345" y="167"/>
                    </a:lnTo>
                    <a:lnTo>
                      <a:pt x="347" y="163"/>
                    </a:lnTo>
                    <a:lnTo>
                      <a:pt x="344" y="158"/>
                    </a:lnTo>
                    <a:lnTo>
                      <a:pt x="344" y="155"/>
                    </a:lnTo>
                    <a:lnTo>
                      <a:pt x="345" y="150"/>
                    </a:lnTo>
                    <a:lnTo>
                      <a:pt x="349" y="145"/>
                    </a:lnTo>
                    <a:lnTo>
                      <a:pt x="351" y="141"/>
                    </a:lnTo>
                    <a:lnTo>
                      <a:pt x="345" y="137"/>
                    </a:lnTo>
                    <a:lnTo>
                      <a:pt x="341" y="135"/>
                    </a:lnTo>
                    <a:lnTo>
                      <a:pt x="336" y="134"/>
                    </a:lnTo>
                    <a:lnTo>
                      <a:pt x="332" y="132"/>
                    </a:lnTo>
                    <a:lnTo>
                      <a:pt x="327" y="132"/>
                    </a:lnTo>
                    <a:lnTo>
                      <a:pt x="322" y="130"/>
                    </a:lnTo>
                    <a:lnTo>
                      <a:pt x="317" y="131"/>
                    </a:lnTo>
                    <a:lnTo>
                      <a:pt x="313" y="127"/>
                    </a:lnTo>
                    <a:lnTo>
                      <a:pt x="312" y="123"/>
                    </a:lnTo>
                    <a:lnTo>
                      <a:pt x="312" y="119"/>
                    </a:lnTo>
                    <a:lnTo>
                      <a:pt x="309" y="110"/>
                    </a:lnTo>
                    <a:lnTo>
                      <a:pt x="304" y="116"/>
                    </a:lnTo>
                    <a:lnTo>
                      <a:pt x="305" y="107"/>
                    </a:lnTo>
                    <a:lnTo>
                      <a:pt x="295" y="112"/>
                    </a:lnTo>
                    <a:lnTo>
                      <a:pt x="291" y="111"/>
                    </a:lnTo>
                    <a:lnTo>
                      <a:pt x="292" y="114"/>
                    </a:lnTo>
                    <a:lnTo>
                      <a:pt x="294" y="109"/>
                    </a:lnTo>
                    <a:lnTo>
                      <a:pt x="284" y="110"/>
                    </a:lnTo>
                    <a:lnTo>
                      <a:pt x="279" y="103"/>
                    </a:lnTo>
                    <a:lnTo>
                      <a:pt x="276" y="109"/>
                    </a:lnTo>
                    <a:lnTo>
                      <a:pt x="273" y="115"/>
                    </a:lnTo>
                    <a:lnTo>
                      <a:pt x="264" y="110"/>
                    </a:lnTo>
                    <a:lnTo>
                      <a:pt x="264" y="116"/>
                    </a:lnTo>
                    <a:lnTo>
                      <a:pt x="260" y="117"/>
                    </a:lnTo>
                    <a:lnTo>
                      <a:pt x="255" y="116"/>
                    </a:lnTo>
                    <a:lnTo>
                      <a:pt x="251" y="115"/>
                    </a:lnTo>
                    <a:lnTo>
                      <a:pt x="246" y="116"/>
                    </a:lnTo>
                    <a:lnTo>
                      <a:pt x="242" y="116"/>
                    </a:lnTo>
                    <a:lnTo>
                      <a:pt x="237" y="119"/>
                    </a:lnTo>
                    <a:lnTo>
                      <a:pt x="233" y="120"/>
                    </a:lnTo>
                    <a:lnTo>
                      <a:pt x="228" y="121"/>
                    </a:lnTo>
                    <a:lnTo>
                      <a:pt x="224" y="121"/>
                    </a:lnTo>
                    <a:lnTo>
                      <a:pt x="220" y="124"/>
                    </a:lnTo>
                    <a:lnTo>
                      <a:pt x="218" y="129"/>
                    </a:lnTo>
                    <a:lnTo>
                      <a:pt x="219" y="133"/>
                    </a:lnTo>
                    <a:lnTo>
                      <a:pt x="214" y="136"/>
                    </a:lnTo>
                    <a:lnTo>
                      <a:pt x="210" y="137"/>
                    </a:lnTo>
                    <a:lnTo>
                      <a:pt x="205" y="135"/>
                    </a:lnTo>
                    <a:lnTo>
                      <a:pt x="202" y="131"/>
                    </a:lnTo>
                    <a:lnTo>
                      <a:pt x="200" y="127"/>
                    </a:lnTo>
                    <a:lnTo>
                      <a:pt x="199" y="124"/>
                    </a:lnTo>
                    <a:lnTo>
                      <a:pt x="201" y="119"/>
                    </a:lnTo>
                    <a:lnTo>
                      <a:pt x="200" y="115"/>
                    </a:lnTo>
                    <a:lnTo>
                      <a:pt x="196" y="113"/>
                    </a:lnTo>
                    <a:lnTo>
                      <a:pt x="191" y="113"/>
                    </a:lnTo>
                    <a:lnTo>
                      <a:pt x="187" y="113"/>
                    </a:lnTo>
                    <a:lnTo>
                      <a:pt x="182" y="114"/>
                    </a:lnTo>
                    <a:lnTo>
                      <a:pt x="178" y="115"/>
                    </a:lnTo>
                    <a:lnTo>
                      <a:pt x="176" y="118"/>
                    </a:lnTo>
                    <a:lnTo>
                      <a:pt x="173" y="120"/>
                    </a:lnTo>
                    <a:lnTo>
                      <a:pt x="167" y="119"/>
                    </a:lnTo>
                    <a:lnTo>
                      <a:pt x="163" y="117"/>
                    </a:lnTo>
                    <a:lnTo>
                      <a:pt x="160" y="112"/>
                    </a:lnTo>
                    <a:lnTo>
                      <a:pt x="155" y="111"/>
                    </a:lnTo>
                    <a:lnTo>
                      <a:pt x="153" y="106"/>
                    </a:lnTo>
                    <a:lnTo>
                      <a:pt x="156" y="105"/>
                    </a:lnTo>
                    <a:lnTo>
                      <a:pt x="161" y="102"/>
                    </a:lnTo>
                    <a:lnTo>
                      <a:pt x="165" y="99"/>
                    </a:lnTo>
                    <a:lnTo>
                      <a:pt x="169" y="96"/>
                    </a:lnTo>
                    <a:lnTo>
                      <a:pt x="173" y="93"/>
                    </a:lnTo>
                    <a:lnTo>
                      <a:pt x="175" y="90"/>
                    </a:lnTo>
                    <a:lnTo>
                      <a:pt x="176" y="85"/>
                    </a:lnTo>
                    <a:lnTo>
                      <a:pt x="180" y="82"/>
                    </a:lnTo>
                    <a:lnTo>
                      <a:pt x="182" y="77"/>
                    </a:lnTo>
                    <a:lnTo>
                      <a:pt x="181" y="74"/>
                    </a:lnTo>
                    <a:lnTo>
                      <a:pt x="185" y="71"/>
                    </a:lnTo>
                    <a:lnTo>
                      <a:pt x="190" y="71"/>
                    </a:lnTo>
                    <a:lnTo>
                      <a:pt x="189" y="66"/>
                    </a:lnTo>
                    <a:lnTo>
                      <a:pt x="186" y="63"/>
                    </a:lnTo>
                    <a:lnTo>
                      <a:pt x="183" y="58"/>
                    </a:lnTo>
                    <a:lnTo>
                      <a:pt x="188" y="56"/>
                    </a:lnTo>
                    <a:lnTo>
                      <a:pt x="192" y="53"/>
                    </a:lnTo>
                    <a:lnTo>
                      <a:pt x="197" y="53"/>
                    </a:lnTo>
                    <a:lnTo>
                      <a:pt x="200" y="50"/>
                    </a:lnTo>
                    <a:lnTo>
                      <a:pt x="202" y="46"/>
                    </a:lnTo>
                    <a:lnTo>
                      <a:pt x="201" y="42"/>
                    </a:lnTo>
                    <a:lnTo>
                      <a:pt x="199" y="37"/>
                    </a:lnTo>
                    <a:lnTo>
                      <a:pt x="198" y="34"/>
                    </a:lnTo>
                    <a:lnTo>
                      <a:pt x="198" y="29"/>
                    </a:lnTo>
                    <a:lnTo>
                      <a:pt x="197" y="25"/>
                    </a:lnTo>
                    <a:lnTo>
                      <a:pt x="195" y="22"/>
                    </a:lnTo>
                    <a:lnTo>
                      <a:pt x="192" y="18"/>
                    </a:lnTo>
                    <a:lnTo>
                      <a:pt x="187" y="17"/>
                    </a:lnTo>
                    <a:lnTo>
                      <a:pt x="186" y="13"/>
                    </a:lnTo>
                    <a:lnTo>
                      <a:pt x="188" y="8"/>
                    </a:lnTo>
                    <a:lnTo>
                      <a:pt x="187" y="3"/>
                    </a:lnTo>
                    <a:lnTo>
                      <a:pt x="187" y="0"/>
                    </a:lnTo>
                    <a:lnTo>
                      <a:pt x="183" y="1"/>
                    </a:lnTo>
                    <a:lnTo>
                      <a:pt x="178" y="0"/>
                    </a:lnTo>
                    <a:lnTo>
                      <a:pt x="174" y="0"/>
                    </a:lnTo>
                    <a:lnTo>
                      <a:pt x="169" y="1"/>
                    </a:lnTo>
                    <a:lnTo>
                      <a:pt x="165" y="3"/>
                    </a:lnTo>
                    <a:lnTo>
                      <a:pt x="161" y="4"/>
                    </a:lnTo>
                    <a:lnTo>
                      <a:pt x="157" y="4"/>
                    </a:lnTo>
                    <a:lnTo>
                      <a:pt x="152" y="5"/>
                    </a:lnTo>
                    <a:lnTo>
                      <a:pt x="148" y="4"/>
                    </a:lnTo>
                    <a:lnTo>
                      <a:pt x="143" y="4"/>
                    </a:lnTo>
                    <a:lnTo>
                      <a:pt x="139" y="5"/>
                    </a:lnTo>
                    <a:lnTo>
                      <a:pt x="134" y="3"/>
                    </a:lnTo>
                    <a:lnTo>
                      <a:pt x="130" y="3"/>
                    </a:lnTo>
                    <a:lnTo>
                      <a:pt x="124" y="2"/>
                    </a:lnTo>
                    <a:lnTo>
                      <a:pt x="120" y="2"/>
                    </a:lnTo>
                    <a:lnTo>
                      <a:pt x="115" y="3"/>
                    </a:lnTo>
                    <a:lnTo>
                      <a:pt x="111" y="3"/>
                    </a:lnTo>
                    <a:lnTo>
                      <a:pt x="107" y="4"/>
                    </a:lnTo>
                    <a:lnTo>
                      <a:pt x="103" y="5"/>
                    </a:lnTo>
                    <a:lnTo>
                      <a:pt x="100" y="10"/>
                    </a:lnTo>
                    <a:lnTo>
                      <a:pt x="104" y="13"/>
                    </a:lnTo>
                    <a:lnTo>
                      <a:pt x="108" y="12"/>
                    </a:lnTo>
                    <a:lnTo>
                      <a:pt x="113" y="13"/>
                    </a:lnTo>
                    <a:lnTo>
                      <a:pt x="117" y="15"/>
                    </a:lnTo>
                    <a:lnTo>
                      <a:pt x="122" y="17"/>
                    </a:lnTo>
                    <a:lnTo>
                      <a:pt x="125" y="21"/>
                    </a:lnTo>
                    <a:lnTo>
                      <a:pt x="120" y="22"/>
                    </a:lnTo>
                    <a:lnTo>
                      <a:pt x="117" y="26"/>
                    </a:lnTo>
                    <a:lnTo>
                      <a:pt x="115" y="30"/>
                    </a:lnTo>
                    <a:lnTo>
                      <a:pt x="116" y="35"/>
                    </a:lnTo>
                    <a:lnTo>
                      <a:pt x="116" y="38"/>
                    </a:lnTo>
                    <a:lnTo>
                      <a:pt x="114" y="44"/>
                    </a:lnTo>
                    <a:lnTo>
                      <a:pt x="108" y="44"/>
                    </a:lnTo>
                    <a:lnTo>
                      <a:pt x="103" y="47"/>
                    </a:lnTo>
                    <a:lnTo>
                      <a:pt x="106" y="50"/>
                    </a:lnTo>
                    <a:lnTo>
                      <a:pt x="111" y="51"/>
                    </a:lnTo>
                    <a:lnTo>
                      <a:pt x="115" y="50"/>
                    </a:lnTo>
                    <a:lnTo>
                      <a:pt x="120" y="53"/>
                    </a:lnTo>
                    <a:lnTo>
                      <a:pt x="121" y="57"/>
                    </a:lnTo>
                    <a:lnTo>
                      <a:pt x="123" y="60"/>
                    </a:lnTo>
                    <a:lnTo>
                      <a:pt x="128" y="60"/>
                    </a:lnTo>
                    <a:lnTo>
                      <a:pt x="132" y="61"/>
                    </a:lnTo>
                    <a:lnTo>
                      <a:pt x="133" y="65"/>
                    </a:lnTo>
                    <a:lnTo>
                      <a:pt x="134" y="70"/>
                    </a:lnTo>
                    <a:lnTo>
                      <a:pt x="134" y="73"/>
                    </a:lnTo>
                    <a:lnTo>
                      <a:pt x="130" y="74"/>
                    </a:lnTo>
                    <a:lnTo>
                      <a:pt x="125" y="77"/>
                    </a:lnTo>
                    <a:lnTo>
                      <a:pt x="124" y="82"/>
                    </a:lnTo>
                    <a:lnTo>
                      <a:pt x="124" y="84"/>
                    </a:lnTo>
                    <a:lnTo>
                      <a:pt x="127" y="89"/>
                    </a:lnTo>
                    <a:lnTo>
                      <a:pt x="130" y="93"/>
                    </a:lnTo>
                    <a:lnTo>
                      <a:pt x="126" y="96"/>
                    </a:lnTo>
                    <a:lnTo>
                      <a:pt x="121" y="97"/>
                    </a:lnTo>
                    <a:lnTo>
                      <a:pt x="117" y="95"/>
                    </a:lnTo>
                    <a:lnTo>
                      <a:pt x="111" y="93"/>
                    </a:lnTo>
                    <a:lnTo>
                      <a:pt x="109" y="90"/>
                    </a:lnTo>
                    <a:lnTo>
                      <a:pt x="113" y="86"/>
                    </a:lnTo>
                    <a:lnTo>
                      <a:pt x="117" y="85"/>
                    </a:lnTo>
                    <a:lnTo>
                      <a:pt x="117" y="82"/>
                    </a:lnTo>
                    <a:lnTo>
                      <a:pt x="115" y="79"/>
                    </a:lnTo>
                    <a:lnTo>
                      <a:pt x="112" y="74"/>
                    </a:lnTo>
                    <a:lnTo>
                      <a:pt x="109" y="71"/>
                    </a:lnTo>
                    <a:lnTo>
                      <a:pt x="108" y="67"/>
                    </a:lnTo>
                    <a:lnTo>
                      <a:pt x="107" y="63"/>
                    </a:lnTo>
                    <a:lnTo>
                      <a:pt x="103" y="61"/>
                    </a:lnTo>
                    <a:lnTo>
                      <a:pt x="98" y="60"/>
                    </a:lnTo>
                    <a:lnTo>
                      <a:pt x="94" y="62"/>
                    </a:lnTo>
                    <a:lnTo>
                      <a:pt x="89" y="63"/>
                    </a:lnTo>
                    <a:lnTo>
                      <a:pt x="85" y="62"/>
                    </a:lnTo>
                    <a:lnTo>
                      <a:pt x="80" y="60"/>
                    </a:lnTo>
                    <a:lnTo>
                      <a:pt x="79" y="55"/>
                    </a:lnTo>
                    <a:lnTo>
                      <a:pt x="77" y="53"/>
                    </a:lnTo>
                    <a:lnTo>
                      <a:pt x="72" y="54"/>
                    </a:lnTo>
                    <a:lnTo>
                      <a:pt x="68" y="55"/>
                    </a:lnTo>
                    <a:lnTo>
                      <a:pt x="63" y="55"/>
                    </a:lnTo>
                    <a:lnTo>
                      <a:pt x="61" y="53"/>
                    </a:lnTo>
                    <a:lnTo>
                      <a:pt x="65" y="50"/>
                    </a:lnTo>
                    <a:lnTo>
                      <a:pt x="65" y="45"/>
                    </a:lnTo>
                    <a:lnTo>
                      <a:pt x="59" y="44"/>
                    </a:lnTo>
                    <a:lnTo>
                      <a:pt x="55" y="43"/>
                    </a:lnTo>
                    <a:lnTo>
                      <a:pt x="51" y="45"/>
                    </a:lnTo>
                    <a:lnTo>
                      <a:pt x="50" y="49"/>
                    </a:lnTo>
                    <a:lnTo>
                      <a:pt x="45" y="53"/>
                    </a:lnTo>
                    <a:lnTo>
                      <a:pt x="41" y="53"/>
                    </a:lnTo>
                    <a:lnTo>
                      <a:pt x="37" y="56"/>
                    </a:lnTo>
                    <a:lnTo>
                      <a:pt x="37" y="59"/>
                    </a:lnTo>
                    <a:lnTo>
                      <a:pt x="41" y="63"/>
                    </a:lnTo>
                    <a:lnTo>
                      <a:pt x="36" y="66"/>
                    </a:lnTo>
                    <a:lnTo>
                      <a:pt x="32" y="65"/>
                    </a:lnTo>
                    <a:lnTo>
                      <a:pt x="27" y="62"/>
                    </a:lnTo>
                    <a:lnTo>
                      <a:pt x="23" y="63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8" y="63"/>
                    </a:lnTo>
                    <a:lnTo>
                      <a:pt x="5" y="63"/>
                    </a:lnTo>
                    <a:lnTo>
                      <a:pt x="0" y="66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8" name="Freeform 58"/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 rot="21140016">
                <a:off x="1905839" y="2488269"/>
                <a:ext cx="532026" cy="502907"/>
              </a:xfrm>
              <a:custGeom>
                <a:avLst/>
                <a:gdLst>
                  <a:gd name="T0" fmla="*/ 2147483647 w 381"/>
                  <a:gd name="T1" fmla="*/ 2147483647 h 374"/>
                  <a:gd name="T2" fmla="*/ 2147483647 w 381"/>
                  <a:gd name="T3" fmla="*/ 2147483647 h 374"/>
                  <a:gd name="T4" fmla="*/ 2147483647 w 381"/>
                  <a:gd name="T5" fmla="*/ 2147483647 h 374"/>
                  <a:gd name="T6" fmla="*/ 2147483647 w 381"/>
                  <a:gd name="T7" fmla="*/ 2147483647 h 374"/>
                  <a:gd name="T8" fmla="*/ 2147483647 w 381"/>
                  <a:gd name="T9" fmla="*/ 2147483647 h 374"/>
                  <a:gd name="T10" fmla="*/ 2147483647 w 381"/>
                  <a:gd name="T11" fmla="*/ 2147483647 h 374"/>
                  <a:gd name="T12" fmla="*/ 2147483647 w 381"/>
                  <a:gd name="T13" fmla="*/ 2147483647 h 374"/>
                  <a:gd name="T14" fmla="*/ 2147483647 w 381"/>
                  <a:gd name="T15" fmla="*/ 2147483647 h 374"/>
                  <a:gd name="T16" fmla="*/ 2147483647 w 381"/>
                  <a:gd name="T17" fmla="*/ 2147483647 h 374"/>
                  <a:gd name="T18" fmla="*/ 2147483647 w 381"/>
                  <a:gd name="T19" fmla="*/ 2147483647 h 374"/>
                  <a:gd name="T20" fmla="*/ 2147483647 w 381"/>
                  <a:gd name="T21" fmla="*/ 2147483647 h 374"/>
                  <a:gd name="T22" fmla="*/ 2147483647 w 381"/>
                  <a:gd name="T23" fmla="*/ 2147483647 h 374"/>
                  <a:gd name="T24" fmla="*/ 2147483647 w 381"/>
                  <a:gd name="T25" fmla="*/ 2147483647 h 374"/>
                  <a:gd name="T26" fmla="*/ 2147483647 w 381"/>
                  <a:gd name="T27" fmla="*/ 2147483647 h 374"/>
                  <a:gd name="T28" fmla="*/ 2147483647 w 381"/>
                  <a:gd name="T29" fmla="*/ 2147483647 h 374"/>
                  <a:gd name="T30" fmla="*/ 2147483647 w 381"/>
                  <a:gd name="T31" fmla="*/ 2147483647 h 374"/>
                  <a:gd name="T32" fmla="*/ 2147483647 w 381"/>
                  <a:gd name="T33" fmla="*/ 2147483647 h 374"/>
                  <a:gd name="T34" fmla="*/ 2147483647 w 381"/>
                  <a:gd name="T35" fmla="*/ 2147483647 h 374"/>
                  <a:gd name="T36" fmla="*/ 2147483647 w 381"/>
                  <a:gd name="T37" fmla="*/ 2147483647 h 374"/>
                  <a:gd name="T38" fmla="*/ 2147483647 w 381"/>
                  <a:gd name="T39" fmla="*/ 2147483647 h 374"/>
                  <a:gd name="T40" fmla="*/ 2147483647 w 381"/>
                  <a:gd name="T41" fmla="*/ 2147483647 h 374"/>
                  <a:gd name="T42" fmla="*/ 2147483647 w 381"/>
                  <a:gd name="T43" fmla="*/ 2147483647 h 374"/>
                  <a:gd name="T44" fmla="*/ 2147483647 w 381"/>
                  <a:gd name="T45" fmla="*/ 2147483647 h 374"/>
                  <a:gd name="T46" fmla="*/ 2147483647 w 381"/>
                  <a:gd name="T47" fmla="*/ 2147483647 h 374"/>
                  <a:gd name="T48" fmla="*/ 2147483647 w 381"/>
                  <a:gd name="T49" fmla="*/ 2147483647 h 374"/>
                  <a:gd name="T50" fmla="*/ 2147483647 w 381"/>
                  <a:gd name="T51" fmla="*/ 2147483647 h 374"/>
                  <a:gd name="T52" fmla="*/ 2147483647 w 381"/>
                  <a:gd name="T53" fmla="*/ 2147483647 h 374"/>
                  <a:gd name="T54" fmla="*/ 2147483647 w 381"/>
                  <a:gd name="T55" fmla="*/ 2147483647 h 374"/>
                  <a:gd name="T56" fmla="*/ 2147483647 w 381"/>
                  <a:gd name="T57" fmla="*/ 2147483647 h 374"/>
                  <a:gd name="T58" fmla="*/ 2147483647 w 381"/>
                  <a:gd name="T59" fmla="*/ 2147483647 h 374"/>
                  <a:gd name="T60" fmla="*/ 2147483647 w 381"/>
                  <a:gd name="T61" fmla="*/ 2147483647 h 374"/>
                  <a:gd name="T62" fmla="*/ 2147483647 w 381"/>
                  <a:gd name="T63" fmla="*/ 2147483647 h 374"/>
                  <a:gd name="T64" fmla="*/ 2147483647 w 381"/>
                  <a:gd name="T65" fmla="*/ 2147483647 h 374"/>
                  <a:gd name="T66" fmla="*/ 2147483647 w 381"/>
                  <a:gd name="T67" fmla="*/ 2147483647 h 374"/>
                  <a:gd name="T68" fmla="*/ 2147483647 w 381"/>
                  <a:gd name="T69" fmla="*/ 2147483647 h 374"/>
                  <a:gd name="T70" fmla="*/ 2147483647 w 381"/>
                  <a:gd name="T71" fmla="*/ 2147483647 h 374"/>
                  <a:gd name="T72" fmla="*/ 2147483647 w 381"/>
                  <a:gd name="T73" fmla="*/ 2147483647 h 374"/>
                  <a:gd name="T74" fmla="*/ 2147483647 w 381"/>
                  <a:gd name="T75" fmla="*/ 2147483647 h 374"/>
                  <a:gd name="T76" fmla="*/ 2147483647 w 381"/>
                  <a:gd name="T77" fmla="*/ 2147483647 h 374"/>
                  <a:gd name="T78" fmla="*/ 2147483647 w 381"/>
                  <a:gd name="T79" fmla="*/ 2147483647 h 374"/>
                  <a:gd name="T80" fmla="*/ 2147483647 w 381"/>
                  <a:gd name="T81" fmla="*/ 2147483647 h 374"/>
                  <a:gd name="T82" fmla="*/ 2147483647 w 381"/>
                  <a:gd name="T83" fmla="*/ 2147483647 h 374"/>
                  <a:gd name="T84" fmla="*/ 2147483647 w 381"/>
                  <a:gd name="T85" fmla="*/ 2147483647 h 374"/>
                  <a:gd name="T86" fmla="*/ 2147483647 w 381"/>
                  <a:gd name="T87" fmla="*/ 2147483647 h 374"/>
                  <a:gd name="T88" fmla="*/ 2147483647 w 381"/>
                  <a:gd name="T89" fmla="*/ 2147483647 h 374"/>
                  <a:gd name="T90" fmla="*/ 2147483647 w 381"/>
                  <a:gd name="T91" fmla="*/ 2147483647 h 374"/>
                  <a:gd name="T92" fmla="*/ 2147483647 w 381"/>
                  <a:gd name="T93" fmla="*/ 2147483647 h 374"/>
                  <a:gd name="T94" fmla="*/ 2147483647 w 381"/>
                  <a:gd name="T95" fmla="*/ 2147483647 h 374"/>
                  <a:gd name="T96" fmla="*/ 2147483647 w 381"/>
                  <a:gd name="T97" fmla="*/ 2147483647 h 374"/>
                  <a:gd name="T98" fmla="*/ 2147483647 w 381"/>
                  <a:gd name="T99" fmla="*/ 2147483647 h 374"/>
                  <a:gd name="T100" fmla="*/ 2147483647 w 381"/>
                  <a:gd name="T101" fmla="*/ 2147483647 h 374"/>
                  <a:gd name="T102" fmla="*/ 2147483647 w 381"/>
                  <a:gd name="T103" fmla="*/ 2147483647 h 374"/>
                  <a:gd name="T104" fmla="*/ 2147483647 w 381"/>
                  <a:gd name="T105" fmla="*/ 2147483647 h 374"/>
                  <a:gd name="T106" fmla="*/ 2147483647 w 381"/>
                  <a:gd name="T107" fmla="*/ 2147483647 h 374"/>
                  <a:gd name="T108" fmla="*/ 2147483647 w 381"/>
                  <a:gd name="T109" fmla="*/ 2147483647 h 374"/>
                  <a:gd name="T110" fmla="*/ 2147483647 w 381"/>
                  <a:gd name="T111" fmla="*/ 2147483647 h 374"/>
                  <a:gd name="T112" fmla="*/ 2147483647 w 381"/>
                  <a:gd name="T113" fmla="*/ 2147483647 h 374"/>
                  <a:gd name="T114" fmla="*/ 2147483647 w 381"/>
                  <a:gd name="T115" fmla="*/ 2147483647 h 374"/>
                  <a:gd name="T116" fmla="*/ 2147483647 w 381"/>
                  <a:gd name="T117" fmla="*/ 2147483647 h 374"/>
                  <a:gd name="T118" fmla="*/ 2147483647 w 381"/>
                  <a:gd name="T119" fmla="*/ 2147483647 h 374"/>
                  <a:gd name="T120" fmla="*/ 2147483647 w 381"/>
                  <a:gd name="T121" fmla="*/ 2147483647 h 374"/>
                  <a:gd name="T122" fmla="*/ 2147483647 w 381"/>
                  <a:gd name="T123" fmla="*/ 2147483647 h 374"/>
                  <a:gd name="T124" fmla="*/ 2147483647 w 381"/>
                  <a:gd name="T125" fmla="*/ 2147483647 h 37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81"/>
                  <a:gd name="T190" fmla="*/ 0 h 374"/>
                  <a:gd name="T191" fmla="*/ 381 w 381"/>
                  <a:gd name="T192" fmla="*/ 374 h 37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81" h="374">
                    <a:moveTo>
                      <a:pt x="4" y="179"/>
                    </a:moveTo>
                    <a:lnTo>
                      <a:pt x="8" y="179"/>
                    </a:lnTo>
                    <a:lnTo>
                      <a:pt x="12" y="179"/>
                    </a:lnTo>
                    <a:lnTo>
                      <a:pt x="16" y="179"/>
                    </a:lnTo>
                    <a:lnTo>
                      <a:pt x="20" y="179"/>
                    </a:lnTo>
                    <a:lnTo>
                      <a:pt x="24" y="179"/>
                    </a:lnTo>
                    <a:lnTo>
                      <a:pt x="28" y="181"/>
                    </a:lnTo>
                    <a:lnTo>
                      <a:pt x="32" y="181"/>
                    </a:lnTo>
                    <a:lnTo>
                      <a:pt x="36" y="181"/>
                    </a:lnTo>
                    <a:lnTo>
                      <a:pt x="40" y="181"/>
                    </a:lnTo>
                    <a:lnTo>
                      <a:pt x="44" y="181"/>
                    </a:lnTo>
                    <a:lnTo>
                      <a:pt x="48" y="183"/>
                    </a:lnTo>
                    <a:lnTo>
                      <a:pt x="51" y="183"/>
                    </a:lnTo>
                    <a:lnTo>
                      <a:pt x="55" y="183"/>
                    </a:lnTo>
                    <a:lnTo>
                      <a:pt x="59" y="183"/>
                    </a:lnTo>
                    <a:lnTo>
                      <a:pt x="63" y="183"/>
                    </a:lnTo>
                    <a:lnTo>
                      <a:pt x="67" y="185"/>
                    </a:lnTo>
                    <a:lnTo>
                      <a:pt x="71" y="185"/>
                    </a:lnTo>
                    <a:lnTo>
                      <a:pt x="75" y="185"/>
                    </a:lnTo>
                    <a:lnTo>
                      <a:pt x="79" y="185"/>
                    </a:lnTo>
                    <a:lnTo>
                      <a:pt x="83" y="185"/>
                    </a:lnTo>
                    <a:lnTo>
                      <a:pt x="87" y="185"/>
                    </a:lnTo>
                    <a:lnTo>
                      <a:pt x="91" y="185"/>
                    </a:lnTo>
                    <a:lnTo>
                      <a:pt x="95" y="187"/>
                    </a:lnTo>
                    <a:lnTo>
                      <a:pt x="99" y="187"/>
                    </a:lnTo>
                    <a:lnTo>
                      <a:pt x="103" y="187"/>
                    </a:lnTo>
                    <a:lnTo>
                      <a:pt x="107" y="187"/>
                    </a:lnTo>
                    <a:lnTo>
                      <a:pt x="111" y="187"/>
                    </a:lnTo>
                    <a:lnTo>
                      <a:pt x="117" y="187"/>
                    </a:lnTo>
                    <a:lnTo>
                      <a:pt x="121" y="187"/>
                    </a:lnTo>
                    <a:lnTo>
                      <a:pt x="127" y="187"/>
                    </a:lnTo>
                    <a:lnTo>
                      <a:pt x="131" y="187"/>
                    </a:lnTo>
                    <a:lnTo>
                      <a:pt x="135" y="185"/>
                    </a:lnTo>
                    <a:lnTo>
                      <a:pt x="139" y="183"/>
                    </a:lnTo>
                    <a:lnTo>
                      <a:pt x="143" y="181"/>
                    </a:lnTo>
                    <a:lnTo>
                      <a:pt x="146" y="181"/>
                    </a:lnTo>
                    <a:lnTo>
                      <a:pt x="150" y="179"/>
                    </a:lnTo>
                    <a:lnTo>
                      <a:pt x="150" y="176"/>
                    </a:lnTo>
                    <a:lnTo>
                      <a:pt x="150" y="172"/>
                    </a:lnTo>
                    <a:lnTo>
                      <a:pt x="150" y="168"/>
                    </a:lnTo>
                    <a:lnTo>
                      <a:pt x="152" y="165"/>
                    </a:lnTo>
                    <a:lnTo>
                      <a:pt x="152" y="161"/>
                    </a:lnTo>
                    <a:lnTo>
                      <a:pt x="152" y="157"/>
                    </a:lnTo>
                    <a:lnTo>
                      <a:pt x="152" y="154"/>
                    </a:lnTo>
                    <a:lnTo>
                      <a:pt x="154" y="150"/>
                    </a:lnTo>
                    <a:lnTo>
                      <a:pt x="158" y="148"/>
                    </a:lnTo>
                    <a:lnTo>
                      <a:pt x="162" y="146"/>
                    </a:lnTo>
                    <a:lnTo>
                      <a:pt x="162" y="143"/>
                    </a:lnTo>
                    <a:lnTo>
                      <a:pt x="162" y="139"/>
                    </a:lnTo>
                    <a:lnTo>
                      <a:pt x="162" y="135"/>
                    </a:lnTo>
                    <a:lnTo>
                      <a:pt x="160" y="132"/>
                    </a:lnTo>
                    <a:lnTo>
                      <a:pt x="156" y="130"/>
                    </a:lnTo>
                    <a:lnTo>
                      <a:pt x="156" y="124"/>
                    </a:lnTo>
                    <a:lnTo>
                      <a:pt x="156" y="121"/>
                    </a:lnTo>
                    <a:lnTo>
                      <a:pt x="158" y="117"/>
                    </a:lnTo>
                    <a:lnTo>
                      <a:pt x="162" y="115"/>
                    </a:lnTo>
                    <a:lnTo>
                      <a:pt x="166" y="115"/>
                    </a:lnTo>
                    <a:lnTo>
                      <a:pt x="170" y="117"/>
                    </a:lnTo>
                    <a:lnTo>
                      <a:pt x="174" y="117"/>
                    </a:lnTo>
                    <a:lnTo>
                      <a:pt x="176" y="113"/>
                    </a:lnTo>
                    <a:lnTo>
                      <a:pt x="180" y="115"/>
                    </a:lnTo>
                    <a:lnTo>
                      <a:pt x="184" y="117"/>
                    </a:lnTo>
                    <a:lnTo>
                      <a:pt x="188" y="119"/>
                    </a:lnTo>
                    <a:lnTo>
                      <a:pt x="192" y="119"/>
                    </a:lnTo>
                    <a:lnTo>
                      <a:pt x="196" y="117"/>
                    </a:lnTo>
                    <a:lnTo>
                      <a:pt x="196" y="113"/>
                    </a:lnTo>
                    <a:lnTo>
                      <a:pt x="198" y="110"/>
                    </a:lnTo>
                    <a:lnTo>
                      <a:pt x="198" y="106"/>
                    </a:lnTo>
                    <a:lnTo>
                      <a:pt x="198" y="102"/>
                    </a:lnTo>
                    <a:lnTo>
                      <a:pt x="198" y="97"/>
                    </a:lnTo>
                    <a:lnTo>
                      <a:pt x="202" y="95"/>
                    </a:lnTo>
                    <a:lnTo>
                      <a:pt x="204" y="91"/>
                    </a:lnTo>
                    <a:lnTo>
                      <a:pt x="206" y="88"/>
                    </a:lnTo>
                    <a:lnTo>
                      <a:pt x="210" y="84"/>
                    </a:lnTo>
                    <a:lnTo>
                      <a:pt x="214" y="82"/>
                    </a:lnTo>
                    <a:lnTo>
                      <a:pt x="218" y="82"/>
                    </a:lnTo>
                    <a:lnTo>
                      <a:pt x="220" y="86"/>
                    </a:lnTo>
                    <a:lnTo>
                      <a:pt x="224" y="84"/>
                    </a:lnTo>
                    <a:lnTo>
                      <a:pt x="226" y="80"/>
                    </a:lnTo>
                    <a:lnTo>
                      <a:pt x="224" y="77"/>
                    </a:lnTo>
                    <a:lnTo>
                      <a:pt x="222" y="73"/>
                    </a:lnTo>
                    <a:lnTo>
                      <a:pt x="224" y="69"/>
                    </a:lnTo>
                    <a:lnTo>
                      <a:pt x="228" y="69"/>
                    </a:lnTo>
                    <a:lnTo>
                      <a:pt x="230" y="66"/>
                    </a:lnTo>
                    <a:lnTo>
                      <a:pt x="234" y="64"/>
                    </a:lnTo>
                    <a:lnTo>
                      <a:pt x="238" y="62"/>
                    </a:lnTo>
                    <a:lnTo>
                      <a:pt x="241" y="62"/>
                    </a:lnTo>
                    <a:lnTo>
                      <a:pt x="245" y="62"/>
                    </a:lnTo>
                    <a:lnTo>
                      <a:pt x="249" y="60"/>
                    </a:lnTo>
                    <a:lnTo>
                      <a:pt x="253" y="60"/>
                    </a:lnTo>
                    <a:lnTo>
                      <a:pt x="255" y="57"/>
                    </a:lnTo>
                    <a:lnTo>
                      <a:pt x="253" y="53"/>
                    </a:lnTo>
                    <a:lnTo>
                      <a:pt x="253" y="49"/>
                    </a:lnTo>
                    <a:lnTo>
                      <a:pt x="255" y="46"/>
                    </a:lnTo>
                    <a:lnTo>
                      <a:pt x="259" y="46"/>
                    </a:lnTo>
                    <a:lnTo>
                      <a:pt x="263" y="46"/>
                    </a:lnTo>
                    <a:lnTo>
                      <a:pt x="267" y="44"/>
                    </a:lnTo>
                    <a:lnTo>
                      <a:pt x="271" y="44"/>
                    </a:lnTo>
                    <a:lnTo>
                      <a:pt x="275" y="46"/>
                    </a:lnTo>
                    <a:lnTo>
                      <a:pt x="279" y="46"/>
                    </a:lnTo>
                    <a:lnTo>
                      <a:pt x="283" y="46"/>
                    </a:lnTo>
                    <a:lnTo>
                      <a:pt x="287" y="42"/>
                    </a:lnTo>
                    <a:lnTo>
                      <a:pt x="289" y="38"/>
                    </a:lnTo>
                    <a:lnTo>
                      <a:pt x="293" y="35"/>
                    </a:lnTo>
                    <a:lnTo>
                      <a:pt x="295" y="31"/>
                    </a:lnTo>
                    <a:lnTo>
                      <a:pt x="299" y="27"/>
                    </a:lnTo>
                    <a:lnTo>
                      <a:pt x="299" y="24"/>
                    </a:lnTo>
                    <a:lnTo>
                      <a:pt x="299" y="20"/>
                    </a:lnTo>
                    <a:lnTo>
                      <a:pt x="305" y="16"/>
                    </a:lnTo>
                    <a:lnTo>
                      <a:pt x="309" y="15"/>
                    </a:lnTo>
                    <a:lnTo>
                      <a:pt x="313" y="11"/>
                    </a:lnTo>
                    <a:lnTo>
                      <a:pt x="313" y="7"/>
                    </a:lnTo>
                    <a:lnTo>
                      <a:pt x="315" y="4"/>
                    </a:lnTo>
                    <a:lnTo>
                      <a:pt x="319" y="4"/>
                    </a:lnTo>
                    <a:lnTo>
                      <a:pt x="321" y="0"/>
                    </a:lnTo>
                    <a:lnTo>
                      <a:pt x="325" y="2"/>
                    </a:lnTo>
                    <a:lnTo>
                      <a:pt x="327" y="5"/>
                    </a:lnTo>
                    <a:lnTo>
                      <a:pt x="331" y="9"/>
                    </a:lnTo>
                    <a:lnTo>
                      <a:pt x="331" y="13"/>
                    </a:lnTo>
                    <a:lnTo>
                      <a:pt x="333" y="16"/>
                    </a:lnTo>
                    <a:lnTo>
                      <a:pt x="336" y="18"/>
                    </a:lnTo>
                    <a:lnTo>
                      <a:pt x="338" y="22"/>
                    </a:lnTo>
                    <a:lnTo>
                      <a:pt x="338" y="26"/>
                    </a:lnTo>
                    <a:lnTo>
                      <a:pt x="340" y="29"/>
                    </a:lnTo>
                    <a:lnTo>
                      <a:pt x="342" y="33"/>
                    </a:lnTo>
                    <a:lnTo>
                      <a:pt x="346" y="33"/>
                    </a:lnTo>
                    <a:lnTo>
                      <a:pt x="350" y="35"/>
                    </a:lnTo>
                    <a:lnTo>
                      <a:pt x="354" y="37"/>
                    </a:lnTo>
                    <a:lnTo>
                      <a:pt x="356" y="40"/>
                    </a:lnTo>
                    <a:lnTo>
                      <a:pt x="354" y="44"/>
                    </a:lnTo>
                    <a:lnTo>
                      <a:pt x="352" y="48"/>
                    </a:lnTo>
                    <a:lnTo>
                      <a:pt x="352" y="51"/>
                    </a:lnTo>
                    <a:lnTo>
                      <a:pt x="350" y="55"/>
                    </a:lnTo>
                    <a:lnTo>
                      <a:pt x="350" y="59"/>
                    </a:lnTo>
                    <a:lnTo>
                      <a:pt x="350" y="62"/>
                    </a:lnTo>
                    <a:lnTo>
                      <a:pt x="350" y="66"/>
                    </a:lnTo>
                    <a:lnTo>
                      <a:pt x="350" y="69"/>
                    </a:lnTo>
                    <a:lnTo>
                      <a:pt x="350" y="73"/>
                    </a:lnTo>
                    <a:lnTo>
                      <a:pt x="354" y="73"/>
                    </a:lnTo>
                    <a:lnTo>
                      <a:pt x="356" y="69"/>
                    </a:lnTo>
                    <a:lnTo>
                      <a:pt x="360" y="68"/>
                    </a:lnTo>
                    <a:lnTo>
                      <a:pt x="364" y="68"/>
                    </a:lnTo>
                    <a:lnTo>
                      <a:pt x="368" y="68"/>
                    </a:lnTo>
                    <a:lnTo>
                      <a:pt x="372" y="66"/>
                    </a:lnTo>
                    <a:lnTo>
                      <a:pt x="376" y="66"/>
                    </a:lnTo>
                    <a:lnTo>
                      <a:pt x="380" y="66"/>
                    </a:lnTo>
                    <a:lnTo>
                      <a:pt x="380" y="69"/>
                    </a:lnTo>
                    <a:lnTo>
                      <a:pt x="380" y="73"/>
                    </a:lnTo>
                    <a:lnTo>
                      <a:pt x="380" y="77"/>
                    </a:lnTo>
                    <a:lnTo>
                      <a:pt x="380" y="80"/>
                    </a:lnTo>
                    <a:lnTo>
                      <a:pt x="380" y="84"/>
                    </a:lnTo>
                    <a:lnTo>
                      <a:pt x="380" y="88"/>
                    </a:lnTo>
                    <a:lnTo>
                      <a:pt x="380" y="91"/>
                    </a:lnTo>
                    <a:lnTo>
                      <a:pt x="378" y="95"/>
                    </a:lnTo>
                    <a:lnTo>
                      <a:pt x="378" y="99"/>
                    </a:lnTo>
                    <a:lnTo>
                      <a:pt x="378" y="102"/>
                    </a:lnTo>
                    <a:lnTo>
                      <a:pt x="378" y="106"/>
                    </a:lnTo>
                    <a:lnTo>
                      <a:pt x="378" y="110"/>
                    </a:lnTo>
                    <a:lnTo>
                      <a:pt x="376" y="113"/>
                    </a:lnTo>
                    <a:lnTo>
                      <a:pt x="376" y="117"/>
                    </a:lnTo>
                    <a:lnTo>
                      <a:pt x="376" y="121"/>
                    </a:lnTo>
                    <a:lnTo>
                      <a:pt x="374" y="124"/>
                    </a:lnTo>
                    <a:lnTo>
                      <a:pt x="374" y="128"/>
                    </a:lnTo>
                    <a:lnTo>
                      <a:pt x="372" y="132"/>
                    </a:lnTo>
                    <a:lnTo>
                      <a:pt x="368" y="134"/>
                    </a:lnTo>
                    <a:lnTo>
                      <a:pt x="366" y="137"/>
                    </a:lnTo>
                    <a:lnTo>
                      <a:pt x="364" y="141"/>
                    </a:lnTo>
                    <a:lnTo>
                      <a:pt x="362" y="144"/>
                    </a:lnTo>
                    <a:lnTo>
                      <a:pt x="358" y="144"/>
                    </a:lnTo>
                    <a:lnTo>
                      <a:pt x="354" y="144"/>
                    </a:lnTo>
                    <a:lnTo>
                      <a:pt x="350" y="146"/>
                    </a:lnTo>
                    <a:lnTo>
                      <a:pt x="346" y="148"/>
                    </a:lnTo>
                    <a:lnTo>
                      <a:pt x="342" y="150"/>
                    </a:lnTo>
                    <a:lnTo>
                      <a:pt x="338" y="150"/>
                    </a:lnTo>
                    <a:lnTo>
                      <a:pt x="334" y="152"/>
                    </a:lnTo>
                    <a:lnTo>
                      <a:pt x="331" y="154"/>
                    </a:lnTo>
                    <a:lnTo>
                      <a:pt x="329" y="157"/>
                    </a:lnTo>
                    <a:lnTo>
                      <a:pt x="325" y="161"/>
                    </a:lnTo>
                    <a:lnTo>
                      <a:pt x="325" y="165"/>
                    </a:lnTo>
                    <a:lnTo>
                      <a:pt x="323" y="168"/>
                    </a:lnTo>
                    <a:lnTo>
                      <a:pt x="321" y="172"/>
                    </a:lnTo>
                    <a:lnTo>
                      <a:pt x="317" y="174"/>
                    </a:lnTo>
                    <a:lnTo>
                      <a:pt x="313" y="174"/>
                    </a:lnTo>
                    <a:lnTo>
                      <a:pt x="313" y="177"/>
                    </a:lnTo>
                    <a:lnTo>
                      <a:pt x="311" y="181"/>
                    </a:lnTo>
                    <a:lnTo>
                      <a:pt x="307" y="183"/>
                    </a:lnTo>
                    <a:lnTo>
                      <a:pt x="303" y="185"/>
                    </a:lnTo>
                    <a:lnTo>
                      <a:pt x="299" y="188"/>
                    </a:lnTo>
                    <a:lnTo>
                      <a:pt x="295" y="188"/>
                    </a:lnTo>
                    <a:lnTo>
                      <a:pt x="293" y="192"/>
                    </a:lnTo>
                    <a:lnTo>
                      <a:pt x="291" y="196"/>
                    </a:lnTo>
                    <a:lnTo>
                      <a:pt x="291" y="199"/>
                    </a:lnTo>
                    <a:lnTo>
                      <a:pt x="291" y="203"/>
                    </a:lnTo>
                    <a:lnTo>
                      <a:pt x="293" y="207"/>
                    </a:lnTo>
                    <a:lnTo>
                      <a:pt x="293" y="210"/>
                    </a:lnTo>
                    <a:lnTo>
                      <a:pt x="297" y="212"/>
                    </a:lnTo>
                    <a:lnTo>
                      <a:pt x="301" y="214"/>
                    </a:lnTo>
                    <a:lnTo>
                      <a:pt x="305" y="212"/>
                    </a:lnTo>
                    <a:lnTo>
                      <a:pt x="303" y="216"/>
                    </a:lnTo>
                    <a:lnTo>
                      <a:pt x="301" y="219"/>
                    </a:lnTo>
                    <a:lnTo>
                      <a:pt x="301" y="223"/>
                    </a:lnTo>
                    <a:lnTo>
                      <a:pt x="299" y="227"/>
                    </a:lnTo>
                    <a:lnTo>
                      <a:pt x="297" y="230"/>
                    </a:lnTo>
                    <a:lnTo>
                      <a:pt x="297" y="234"/>
                    </a:lnTo>
                    <a:lnTo>
                      <a:pt x="295" y="238"/>
                    </a:lnTo>
                    <a:lnTo>
                      <a:pt x="295" y="241"/>
                    </a:lnTo>
                    <a:lnTo>
                      <a:pt x="295" y="245"/>
                    </a:lnTo>
                    <a:lnTo>
                      <a:pt x="295" y="249"/>
                    </a:lnTo>
                    <a:lnTo>
                      <a:pt x="295" y="252"/>
                    </a:lnTo>
                    <a:lnTo>
                      <a:pt x="291" y="254"/>
                    </a:lnTo>
                    <a:lnTo>
                      <a:pt x="287" y="254"/>
                    </a:lnTo>
                    <a:lnTo>
                      <a:pt x="283" y="254"/>
                    </a:lnTo>
                    <a:lnTo>
                      <a:pt x="279" y="256"/>
                    </a:lnTo>
                    <a:lnTo>
                      <a:pt x="275" y="256"/>
                    </a:lnTo>
                    <a:lnTo>
                      <a:pt x="271" y="258"/>
                    </a:lnTo>
                    <a:lnTo>
                      <a:pt x="269" y="254"/>
                    </a:lnTo>
                    <a:lnTo>
                      <a:pt x="267" y="251"/>
                    </a:lnTo>
                    <a:lnTo>
                      <a:pt x="263" y="249"/>
                    </a:lnTo>
                    <a:lnTo>
                      <a:pt x="261" y="252"/>
                    </a:lnTo>
                    <a:lnTo>
                      <a:pt x="259" y="256"/>
                    </a:lnTo>
                    <a:lnTo>
                      <a:pt x="259" y="260"/>
                    </a:lnTo>
                    <a:lnTo>
                      <a:pt x="257" y="263"/>
                    </a:lnTo>
                    <a:lnTo>
                      <a:pt x="257" y="267"/>
                    </a:lnTo>
                    <a:lnTo>
                      <a:pt x="255" y="271"/>
                    </a:lnTo>
                    <a:lnTo>
                      <a:pt x="251" y="274"/>
                    </a:lnTo>
                    <a:lnTo>
                      <a:pt x="251" y="278"/>
                    </a:lnTo>
                    <a:lnTo>
                      <a:pt x="249" y="282"/>
                    </a:lnTo>
                    <a:lnTo>
                      <a:pt x="245" y="283"/>
                    </a:lnTo>
                    <a:lnTo>
                      <a:pt x="241" y="285"/>
                    </a:lnTo>
                    <a:lnTo>
                      <a:pt x="238" y="287"/>
                    </a:lnTo>
                    <a:lnTo>
                      <a:pt x="238" y="291"/>
                    </a:lnTo>
                    <a:lnTo>
                      <a:pt x="234" y="293"/>
                    </a:lnTo>
                    <a:lnTo>
                      <a:pt x="234" y="296"/>
                    </a:lnTo>
                    <a:lnTo>
                      <a:pt x="234" y="300"/>
                    </a:lnTo>
                    <a:lnTo>
                      <a:pt x="236" y="304"/>
                    </a:lnTo>
                    <a:lnTo>
                      <a:pt x="236" y="307"/>
                    </a:lnTo>
                    <a:lnTo>
                      <a:pt x="236" y="311"/>
                    </a:lnTo>
                    <a:lnTo>
                      <a:pt x="238" y="315"/>
                    </a:lnTo>
                    <a:lnTo>
                      <a:pt x="239" y="318"/>
                    </a:lnTo>
                    <a:lnTo>
                      <a:pt x="243" y="320"/>
                    </a:lnTo>
                    <a:lnTo>
                      <a:pt x="247" y="322"/>
                    </a:lnTo>
                    <a:lnTo>
                      <a:pt x="249" y="326"/>
                    </a:lnTo>
                    <a:lnTo>
                      <a:pt x="245" y="327"/>
                    </a:lnTo>
                    <a:lnTo>
                      <a:pt x="241" y="329"/>
                    </a:lnTo>
                    <a:lnTo>
                      <a:pt x="239" y="333"/>
                    </a:lnTo>
                    <a:lnTo>
                      <a:pt x="236" y="333"/>
                    </a:lnTo>
                    <a:lnTo>
                      <a:pt x="232" y="335"/>
                    </a:lnTo>
                    <a:lnTo>
                      <a:pt x="228" y="335"/>
                    </a:lnTo>
                    <a:lnTo>
                      <a:pt x="224" y="338"/>
                    </a:lnTo>
                    <a:lnTo>
                      <a:pt x="226" y="342"/>
                    </a:lnTo>
                    <a:lnTo>
                      <a:pt x="228" y="346"/>
                    </a:lnTo>
                    <a:lnTo>
                      <a:pt x="230" y="349"/>
                    </a:lnTo>
                    <a:lnTo>
                      <a:pt x="228" y="353"/>
                    </a:lnTo>
                    <a:lnTo>
                      <a:pt x="226" y="357"/>
                    </a:lnTo>
                    <a:lnTo>
                      <a:pt x="222" y="358"/>
                    </a:lnTo>
                    <a:lnTo>
                      <a:pt x="220" y="362"/>
                    </a:lnTo>
                    <a:lnTo>
                      <a:pt x="216" y="364"/>
                    </a:lnTo>
                    <a:lnTo>
                      <a:pt x="214" y="368"/>
                    </a:lnTo>
                    <a:lnTo>
                      <a:pt x="210" y="369"/>
                    </a:lnTo>
                    <a:lnTo>
                      <a:pt x="206" y="369"/>
                    </a:lnTo>
                    <a:lnTo>
                      <a:pt x="202" y="369"/>
                    </a:lnTo>
                    <a:lnTo>
                      <a:pt x="198" y="371"/>
                    </a:lnTo>
                    <a:lnTo>
                      <a:pt x="194" y="373"/>
                    </a:lnTo>
                    <a:lnTo>
                      <a:pt x="190" y="373"/>
                    </a:lnTo>
                    <a:lnTo>
                      <a:pt x="190" y="369"/>
                    </a:lnTo>
                    <a:lnTo>
                      <a:pt x="190" y="366"/>
                    </a:lnTo>
                    <a:lnTo>
                      <a:pt x="188" y="362"/>
                    </a:lnTo>
                    <a:lnTo>
                      <a:pt x="184" y="362"/>
                    </a:lnTo>
                    <a:lnTo>
                      <a:pt x="180" y="360"/>
                    </a:lnTo>
                    <a:lnTo>
                      <a:pt x="178" y="357"/>
                    </a:lnTo>
                    <a:lnTo>
                      <a:pt x="178" y="353"/>
                    </a:lnTo>
                    <a:lnTo>
                      <a:pt x="176" y="349"/>
                    </a:lnTo>
                    <a:lnTo>
                      <a:pt x="172" y="347"/>
                    </a:lnTo>
                    <a:lnTo>
                      <a:pt x="168" y="346"/>
                    </a:lnTo>
                    <a:lnTo>
                      <a:pt x="164" y="346"/>
                    </a:lnTo>
                    <a:lnTo>
                      <a:pt x="160" y="344"/>
                    </a:lnTo>
                    <a:lnTo>
                      <a:pt x="156" y="342"/>
                    </a:lnTo>
                    <a:lnTo>
                      <a:pt x="154" y="338"/>
                    </a:lnTo>
                    <a:lnTo>
                      <a:pt x="156" y="335"/>
                    </a:lnTo>
                    <a:lnTo>
                      <a:pt x="160" y="333"/>
                    </a:lnTo>
                    <a:lnTo>
                      <a:pt x="164" y="333"/>
                    </a:lnTo>
                    <a:lnTo>
                      <a:pt x="166" y="329"/>
                    </a:lnTo>
                    <a:lnTo>
                      <a:pt x="168" y="326"/>
                    </a:lnTo>
                    <a:lnTo>
                      <a:pt x="168" y="322"/>
                    </a:lnTo>
                    <a:lnTo>
                      <a:pt x="168" y="318"/>
                    </a:lnTo>
                    <a:lnTo>
                      <a:pt x="172" y="315"/>
                    </a:lnTo>
                    <a:lnTo>
                      <a:pt x="174" y="311"/>
                    </a:lnTo>
                    <a:lnTo>
                      <a:pt x="178" y="311"/>
                    </a:lnTo>
                    <a:lnTo>
                      <a:pt x="180" y="307"/>
                    </a:lnTo>
                    <a:lnTo>
                      <a:pt x="178" y="304"/>
                    </a:lnTo>
                    <a:lnTo>
                      <a:pt x="174" y="305"/>
                    </a:lnTo>
                    <a:lnTo>
                      <a:pt x="178" y="305"/>
                    </a:lnTo>
                    <a:lnTo>
                      <a:pt x="184" y="304"/>
                    </a:lnTo>
                    <a:lnTo>
                      <a:pt x="188" y="304"/>
                    </a:lnTo>
                    <a:lnTo>
                      <a:pt x="192" y="304"/>
                    </a:lnTo>
                    <a:lnTo>
                      <a:pt x="196" y="302"/>
                    </a:lnTo>
                    <a:lnTo>
                      <a:pt x="202" y="300"/>
                    </a:lnTo>
                    <a:lnTo>
                      <a:pt x="204" y="296"/>
                    </a:lnTo>
                    <a:lnTo>
                      <a:pt x="208" y="293"/>
                    </a:lnTo>
                    <a:lnTo>
                      <a:pt x="208" y="289"/>
                    </a:lnTo>
                    <a:lnTo>
                      <a:pt x="206" y="285"/>
                    </a:lnTo>
                    <a:lnTo>
                      <a:pt x="206" y="282"/>
                    </a:lnTo>
                    <a:lnTo>
                      <a:pt x="206" y="278"/>
                    </a:lnTo>
                    <a:lnTo>
                      <a:pt x="206" y="274"/>
                    </a:lnTo>
                    <a:lnTo>
                      <a:pt x="206" y="271"/>
                    </a:lnTo>
                    <a:lnTo>
                      <a:pt x="204" y="267"/>
                    </a:lnTo>
                    <a:lnTo>
                      <a:pt x="202" y="263"/>
                    </a:lnTo>
                    <a:lnTo>
                      <a:pt x="202" y="260"/>
                    </a:lnTo>
                    <a:lnTo>
                      <a:pt x="202" y="256"/>
                    </a:lnTo>
                    <a:lnTo>
                      <a:pt x="202" y="252"/>
                    </a:lnTo>
                    <a:lnTo>
                      <a:pt x="204" y="249"/>
                    </a:lnTo>
                    <a:lnTo>
                      <a:pt x="204" y="245"/>
                    </a:lnTo>
                    <a:lnTo>
                      <a:pt x="200" y="245"/>
                    </a:lnTo>
                    <a:lnTo>
                      <a:pt x="196" y="247"/>
                    </a:lnTo>
                    <a:lnTo>
                      <a:pt x="194" y="251"/>
                    </a:lnTo>
                    <a:lnTo>
                      <a:pt x="194" y="254"/>
                    </a:lnTo>
                    <a:lnTo>
                      <a:pt x="192" y="258"/>
                    </a:lnTo>
                    <a:lnTo>
                      <a:pt x="188" y="260"/>
                    </a:lnTo>
                    <a:lnTo>
                      <a:pt x="188" y="263"/>
                    </a:lnTo>
                    <a:lnTo>
                      <a:pt x="186" y="267"/>
                    </a:lnTo>
                    <a:lnTo>
                      <a:pt x="190" y="269"/>
                    </a:lnTo>
                    <a:lnTo>
                      <a:pt x="192" y="272"/>
                    </a:lnTo>
                    <a:lnTo>
                      <a:pt x="192" y="276"/>
                    </a:lnTo>
                    <a:lnTo>
                      <a:pt x="192" y="280"/>
                    </a:lnTo>
                    <a:lnTo>
                      <a:pt x="190" y="283"/>
                    </a:lnTo>
                    <a:lnTo>
                      <a:pt x="188" y="287"/>
                    </a:lnTo>
                    <a:lnTo>
                      <a:pt x="186" y="291"/>
                    </a:lnTo>
                    <a:lnTo>
                      <a:pt x="184" y="294"/>
                    </a:lnTo>
                    <a:lnTo>
                      <a:pt x="180" y="296"/>
                    </a:lnTo>
                    <a:lnTo>
                      <a:pt x="176" y="296"/>
                    </a:lnTo>
                    <a:lnTo>
                      <a:pt x="172" y="294"/>
                    </a:lnTo>
                    <a:lnTo>
                      <a:pt x="170" y="291"/>
                    </a:lnTo>
                    <a:lnTo>
                      <a:pt x="170" y="287"/>
                    </a:lnTo>
                    <a:lnTo>
                      <a:pt x="172" y="283"/>
                    </a:lnTo>
                    <a:lnTo>
                      <a:pt x="174" y="280"/>
                    </a:lnTo>
                    <a:lnTo>
                      <a:pt x="170" y="278"/>
                    </a:lnTo>
                    <a:lnTo>
                      <a:pt x="166" y="280"/>
                    </a:lnTo>
                    <a:lnTo>
                      <a:pt x="162" y="280"/>
                    </a:lnTo>
                    <a:lnTo>
                      <a:pt x="160" y="276"/>
                    </a:lnTo>
                    <a:lnTo>
                      <a:pt x="160" y="272"/>
                    </a:lnTo>
                    <a:lnTo>
                      <a:pt x="160" y="269"/>
                    </a:lnTo>
                    <a:lnTo>
                      <a:pt x="160" y="265"/>
                    </a:lnTo>
                    <a:lnTo>
                      <a:pt x="156" y="267"/>
                    </a:lnTo>
                    <a:lnTo>
                      <a:pt x="154" y="271"/>
                    </a:lnTo>
                    <a:lnTo>
                      <a:pt x="154" y="274"/>
                    </a:lnTo>
                    <a:lnTo>
                      <a:pt x="154" y="278"/>
                    </a:lnTo>
                    <a:lnTo>
                      <a:pt x="150" y="280"/>
                    </a:lnTo>
                    <a:lnTo>
                      <a:pt x="148" y="283"/>
                    </a:lnTo>
                    <a:lnTo>
                      <a:pt x="144" y="285"/>
                    </a:lnTo>
                    <a:lnTo>
                      <a:pt x="143" y="289"/>
                    </a:lnTo>
                    <a:lnTo>
                      <a:pt x="141" y="293"/>
                    </a:lnTo>
                    <a:lnTo>
                      <a:pt x="137" y="293"/>
                    </a:lnTo>
                    <a:lnTo>
                      <a:pt x="135" y="289"/>
                    </a:lnTo>
                    <a:lnTo>
                      <a:pt x="133" y="285"/>
                    </a:lnTo>
                    <a:lnTo>
                      <a:pt x="129" y="283"/>
                    </a:lnTo>
                    <a:lnTo>
                      <a:pt x="127" y="287"/>
                    </a:lnTo>
                    <a:lnTo>
                      <a:pt x="123" y="291"/>
                    </a:lnTo>
                    <a:lnTo>
                      <a:pt x="123" y="294"/>
                    </a:lnTo>
                    <a:lnTo>
                      <a:pt x="127" y="296"/>
                    </a:lnTo>
                    <a:lnTo>
                      <a:pt x="129" y="300"/>
                    </a:lnTo>
                    <a:lnTo>
                      <a:pt x="131" y="304"/>
                    </a:lnTo>
                    <a:lnTo>
                      <a:pt x="133" y="307"/>
                    </a:lnTo>
                    <a:lnTo>
                      <a:pt x="133" y="311"/>
                    </a:lnTo>
                    <a:lnTo>
                      <a:pt x="133" y="315"/>
                    </a:lnTo>
                    <a:lnTo>
                      <a:pt x="133" y="318"/>
                    </a:lnTo>
                    <a:lnTo>
                      <a:pt x="131" y="322"/>
                    </a:lnTo>
                    <a:lnTo>
                      <a:pt x="129" y="326"/>
                    </a:lnTo>
                    <a:lnTo>
                      <a:pt x="129" y="329"/>
                    </a:lnTo>
                    <a:lnTo>
                      <a:pt x="127" y="326"/>
                    </a:lnTo>
                    <a:lnTo>
                      <a:pt x="127" y="322"/>
                    </a:lnTo>
                    <a:lnTo>
                      <a:pt x="123" y="318"/>
                    </a:lnTo>
                    <a:lnTo>
                      <a:pt x="121" y="315"/>
                    </a:lnTo>
                    <a:lnTo>
                      <a:pt x="117" y="311"/>
                    </a:lnTo>
                    <a:lnTo>
                      <a:pt x="113" y="309"/>
                    </a:lnTo>
                    <a:lnTo>
                      <a:pt x="109" y="309"/>
                    </a:lnTo>
                    <a:lnTo>
                      <a:pt x="105" y="309"/>
                    </a:lnTo>
                    <a:lnTo>
                      <a:pt x="101" y="309"/>
                    </a:lnTo>
                    <a:lnTo>
                      <a:pt x="99" y="305"/>
                    </a:lnTo>
                    <a:lnTo>
                      <a:pt x="99" y="302"/>
                    </a:lnTo>
                    <a:lnTo>
                      <a:pt x="97" y="298"/>
                    </a:lnTo>
                    <a:lnTo>
                      <a:pt x="99" y="294"/>
                    </a:lnTo>
                    <a:lnTo>
                      <a:pt x="97" y="291"/>
                    </a:lnTo>
                    <a:lnTo>
                      <a:pt x="93" y="289"/>
                    </a:lnTo>
                    <a:lnTo>
                      <a:pt x="89" y="289"/>
                    </a:lnTo>
                    <a:lnTo>
                      <a:pt x="85" y="289"/>
                    </a:lnTo>
                    <a:lnTo>
                      <a:pt x="81" y="289"/>
                    </a:lnTo>
                    <a:lnTo>
                      <a:pt x="77" y="289"/>
                    </a:lnTo>
                    <a:lnTo>
                      <a:pt x="73" y="289"/>
                    </a:lnTo>
                    <a:lnTo>
                      <a:pt x="69" y="289"/>
                    </a:lnTo>
                    <a:lnTo>
                      <a:pt x="65" y="289"/>
                    </a:lnTo>
                    <a:lnTo>
                      <a:pt x="61" y="287"/>
                    </a:lnTo>
                    <a:lnTo>
                      <a:pt x="57" y="287"/>
                    </a:lnTo>
                    <a:lnTo>
                      <a:pt x="53" y="287"/>
                    </a:lnTo>
                    <a:lnTo>
                      <a:pt x="49" y="287"/>
                    </a:lnTo>
                    <a:lnTo>
                      <a:pt x="46" y="287"/>
                    </a:lnTo>
                    <a:lnTo>
                      <a:pt x="42" y="285"/>
                    </a:lnTo>
                    <a:lnTo>
                      <a:pt x="40" y="282"/>
                    </a:lnTo>
                    <a:lnTo>
                      <a:pt x="44" y="280"/>
                    </a:lnTo>
                    <a:lnTo>
                      <a:pt x="48" y="278"/>
                    </a:lnTo>
                    <a:lnTo>
                      <a:pt x="49" y="274"/>
                    </a:lnTo>
                    <a:lnTo>
                      <a:pt x="53" y="274"/>
                    </a:lnTo>
                    <a:lnTo>
                      <a:pt x="55" y="271"/>
                    </a:lnTo>
                    <a:lnTo>
                      <a:pt x="57" y="267"/>
                    </a:lnTo>
                    <a:lnTo>
                      <a:pt x="59" y="263"/>
                    </a:lnTo>
                    <a:lnTo>
                      <a:pt x="59" y="260"/>
                    </a:lnTo>
                    <a:lnTo>
                      <a:pt x="59" y="256"/>
                    </a:lnTo>
                    <a:lnTo>
                      <a:pt x="59" y="252"/>
                    </a:lnTo>
                    <a:lnTo>
                      <a:pt x="59" y="249"/>
                    </a:lnTo>
                    <a:lnTo>
                      <a:pt x="59" y="245"/>
                    </a:lnTo>
                    <a:lnTo>
                      <a:pt x="59" y="241"/>
                    </a:lnTo>
                    <a:lnTo>
                      <a:pt x="59" y="238"/>
                    </a:lnTo>
                    <a:lnTo>
                      <a:pt x="61" y="234"/>
                    </a:lnTo>
                    <a:lnTo>
                      <a:pt x="61" y="230"/>
                    </a:lnTo>
                    <a:lnTo>
                      <a:pt x="63" y="227"/>
                    </a:lnTo>
                    <a:lnTo>
                      <a:pt x="67" y="225"/>
                    </a:lnTo>
                    <a:lnTo>
                      <a:pt x="67" y="221"/>
                    </a:lnTo>
                    <a:lnTo>
                      <a:pt x="69" y="218"/>
                    </a:lnTo>
                    <a:lnTo>
                      <a:pt x="69" y="214"/>
                    </a:lnTo>
                    <a:lnTo>
                      <a:pt x="67" y="210"/>
                    </a:lnTo>
                    <a:lnTo>
                      <a:pt x="65" y="207"/>
                    </a:lnTo>
                    <a:lnTo>
                      <a:pt x="61" y="207"/>
                    </a:lnTo>
                    <a:lnTo>
                      <a:pt x="57" y="205"/>
                    </a:lnTo>
                    <a:lnTo>
                      <a:pt x="53" y="205"/>
                    </a:lnTo>
                    <a:lnTo>
                      <a:pt x="49" y="203"/>
                    </a:lnTo>
                    <a:lnTo>
                      <a:pt x="46" y="203"/>
                    </a:lnTo>
                    <a:lnTo>
                      <a:pt x="42" y="203"/>
                    </a:lnTo>
                    <a:lnTo>
                      <a:pt x="38" y="201"/>
                    </a:lnTo>
                    <a:lnTo>
                      <a:pt x="34" y="201"/>
                    </a:lnTo>
                    <a:lnTo>
                      <a:pt x="30" y="201"/>
                    </a:lnTo>
                    <a:lnTo>
                      <a:pt x="26" y="201"/>
                    </a:lnTo>
                    <a:lnTo>
                      <a:pt x="22" y="201"/>
                    </a:lnTo>
                    <a:lnTo>
                      <a:pt x="18" y="201"/>
                    </a:lnTo>
                    <a:lnTo>
                      <a:pt x="14" y="199"/>
                    </a:lnTo>
                    <a:lnTo>
                      <a:pt x="10" y="198"/>
                    </a:lnTo>
                    <a:lnTo>
                      <a:pt x="6" y="196"/>
                    </a:lnTo>
                    <a:lnTo>
                      <a:pt x="4" y="192"/>
                    </a:lnTo>
                    <a:lnTo>
                      <a:pt x="0" y="188"/>
                    </a:lnTo>
                    <a:lnTo>
                      <a:pt x="0" y="185"/>
                    </a:lnTo>
                    <a:lnTo>
                      <a:pt x="2" y="181"/>
                    </a:lnTo>
                    <a:lnTo>
                      <a:pt x="6" y="183"/>
                    </a:lnTo>
                    <a:lnTo>
                      <a:pt x="4" y="179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89" name="Freeform 60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 rot="21140016">
                <a:off x="1944000" y="2944611"/>
                <a:ext cx="554475" cy="419090"/>
              </a:xfrm>
              <a:custGeom>
                <a:avLst/>
                <a:gdLst>
                  <a:gd name="T0" fmla="*/ 2147483647 w 397"/>
                  <a:gd name="T1" fmla="*/ 2147483647 h 313"/>
                  <a:gd name="T2" fmla="*/ 2147483647 w 397"/>
                  <a:gd name="T3" fmla="*/ 2147483647 h 313"/>
                  <a:gd name="T4" fmla="*/ 2147483647 w 397"/>
                  <a:gd name="T5" fmla="*/ 2147483647 h 313"/>
                  <a:gd name="T6" fmla="*/ 2147483647 w 397"/>
                  <a:gd name="T7" fmla="*/ 2147483647 h 313"/>
                  <a:gd name="T8" fmla="*/ 2147483647 w 397"/>
                  <a:gd name="T9" fmla="*/ 2147483647 h 313"/>
                  <a:gd name="T10" fmla="*/ 2147483647 w 397"/>
                  <a:gd name="T11" fmla="*/ 2147483647 h 313"/>
                  <a:gd name="T12" fmla="*/ 2147483647 w 397"/>
                  <a:gd name="T13" fmla="*/ 2147483647 h 313"/>
                  <a:gd name="T14" fmla="*/ 2147483647 w 397"/>
                  <a:gd name="T15" fmla="*/ 2147483647 h 313"/>
                  <a:gd name="T16" fmla="*/ 2147483647 w 397"/>
                  <a:gd name="T17" fmla="*/ 2147483647 h 313"/>
                  <a:gd name="T18" fmla="*/ 2147483647 w 397"/>
                  <a:gd name="T19" fmla="*/ 2147483647 h 313"/>
                  <a:gd name="T20" fmla="*/ 2147483647 w 397"/>
                  <a:gd name="T21" fmla="*/ 2147483647 h 313"/>
                  <a:gd name="T22" fmla="*/ 2147483647 w 397"/>
                  <a:gd name="T23" fmla="*/ 2147483647 h 313"/>
                  <a:gd name="T24" fmla="*/ 2147483647 w 397"/>
                  <a:gd name="T25" fmla="*/ 2147483647 h 313"/>
                  <a:gd name="T26" fmla="*/ 2147483647 w 397"/>
                  <a:gd name="T27" fmla="*/ 2147483647 h 313"/>
                  <a:gd name="T28" fmla="*/ 2147483647 w 397"/>
                  <a:gd name="T29" fmla="*/ 2147483647 h 313"/>
                  <a:gd name="T30" fmla="*/ 2147483647 w 397"/>
                  <a:gd name="T31" fmla="*/ 2147483647 h 313"/>
                  <a:gd name="T32" fmla="*/ 2147483647 w 397"/>
                  <a:gd name="T33" fmla="*/ 2147483647 h 313"/>
                  <a:gd name="T34" fmla="*/ 2147483647 w 397"/>
                  <a:gd name="T35" fmla="*/ 2147483647 h 313"/>
                  <a:gd name="T36" fmla="*/ 2147483647 w 397"/>
                  <a:gd name="T37" fmla="*/ 2147483647 h 313"/>
                  <a:gd name="T38" fmla="*/ 2147483647 w 397"/>
                  <a:gd name="T39" fmla="*/ 2147483647 h 313"/>
                  <a:gd name="T40" fmla="*/ 2147483647 w 397"/>
                  <a:gd name="T41" fmla="*/ 2147483647 h 313"/>
                  <a:gd name="T42" fmla="*/ 2147483647 w 397"/>
                  <a:gd name="T43" fmla="*/ 2147483647 h 313"/>
                  <a:gd name="T44" fmla="*/ 2147483647 w 397"/>
                  <a:gd name="T45" fmla="*/ 2147483647 h 313"/>
                  <a:gd name="T46" fmla="*/ 2147483647 w 397"/>
                  <a:gd name="T47" fmla="*/ 2147483647 h 313"/>
                  <a:gd name="T48" fmla="*/ 2147483647 w 397"/>
                  <a:gd name="T49" fmla="*/ 2147483647 h 313"/>
                  <a:gd name="T50" fmla="*/ 2147483647 w 397"/>
                  <a:gd name="T51" fmla="*/ 2147483647 h 313"/>
                  <a:gd name="T52" fmla="*/ 2147483647 w 397"/>
                  <a:gd name="T53" fmla="*/ 2147483647 h 313"/>
                  <a:gd name="T54" fmla="*/ 2147483647 w 397"/>
                  <a:gd name="T55" fmla="*/ 2147483647 h 313"/>
                  <a:gd name="T56" fmla="*/ 2147483647 w 397"/>
                  <a:gd name="T57" fmla="*/ 2147483647 h 313"/>
                  <a:gd name="T58" fmla="*/ 2147483647 w 397"/>
                  <a:gd name="T59" fmla="*/ 2147483647 h 313"/>
                  <a:gd name="T60" fmla="*/ 2147483647 w 397"/>
                  <a:gd name="T61" fmla="*/ 2147483647 h 313"/>
                  <a:gd name="T62" fmla="*/ 2147483647 w 397"/>
                  <a:gd name="T63" fmla="*/ 2147483647 h 313"/>
                  <a:gd name="T64" fmla="*/ 2147483647 w 397"/>
                  <a:gd name="T65" fmla="*/ 2147483647 h 313"/>
                  <a:gd name="T66" fmla="*/ 2147483647 w 397"/>
                  <a:gd name="T67" fmla="*/ 2147483647 h 313"/>
                  <a:gd name="T68" fmla="*/ 2147483647 w 397"/>
                  <a:gd name="T69" fmla="*/ 2147483647 h 313"/>
                  <a:gd name="T70" fmla="*/ 2147483647 w 397"/>
                  <a:gd name="T71" fmla="*/ 2147483647 h 313"/>
                  <a:gd name="T72" fmla="*/ 2147483647 w 397"/>
                  <a:gd name="T73" fmla="*/ 2147483647 h 313"/>
                  <a:gd name="T74" fmla="*/ 2147483647 w 397"/>
                  <a:gd name="T75" fmla="*/ 2147483647 h 313"/>
                  <a:gd name="T76" fmla="*/ 2147483647 w 397"/>
                  <a:gd name="T77" fmla="*/ 2147483647 h 313"/>
                  <a:gd name="T78" fmla="*/ 2147483647 w 397"/>
                  <a:gd name="T79" fmla="*/ 2147483647 h 313"/>
                  <a:gd name="T80" fmla="*/ 2147483647 w 397"/>
                  <a:gd name="T81" fmla="*/ 2147483647 h 313"/>
                  <a:gd name="T82" fmla="*/ 2147483647 w 397"/>
                  <a:gd name="T83" fmla="*/ 2147483647 h 313"/>
                  <a:gd name="T84" fmla="*/ 2147483647 w 397"/>
                  <a:gd name="T85" fmla="*/ 2147483647 h 313"/>
                  <a:gd name="T86" fmla="*/ 2147483647 w 397"/>
                  <a:gd name="T87" fmla="*/ 2147483647 h 313"/>
                  <a:gd name="T88" fmla="*/ 2147483647 w 397"/>
                  <a:gd name="T89" fmla="*/ 2147483647 h 313"/>
                  <a:gd name="T90" fmla="*/ 2147483647 w 397"/>
                  <a:gd name="T91" fmla="*/ 2147483647 h 313"/>
                  <a:gd name="T92" fmla="*/ 2147483647 w 397"/>
                  <a:gd name="T93" fmla="*/ 2147483647 h 313"/>
                  <a:gd name="T94" fmla="*/ 2147483647 w 397"/>
                  <a:gd name="T95" fmla="*/ 2147483647 h 313"/>
                  <a:gd name="T96" fmla="*/ 2147483647 w 397"/>
                  <a:gd name="T97" fmla="*/ 2147483647 h 313"/>
                  <a:gd name="T98" fmla="*/ 2147483647 w 397"/>
                  <a:gd name="T99" fmla="*/ 2147483647 h 313"/>
                  <a:gd name="T100" fmla="*/ 2147483647 w 397"/>
                  <a:gd name="T101" fmla="*/ 2147483647 h 313"/>
                  <a:gd name="T102" fmla="*/ 2147483647 w 397"/>
                  <a:gd name="T103" fmla="*/ 2147483647 h 313"/>
                  <a:gd name="T104" fmla="*/ 2147483647 w 397"/>
                  <a:gd name="T105" fmla="*/ 2147483647 h 31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97"/>
                  <a:gd name="T160" fmla="*/ 0 h 313"/>
                  <a:gd name="T161" fmla="*/ 397 w 397"/>
                  <a:gd name="T162" fmla="*/ 313 h 31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97" h="313">
                    <a:moveTo>
                      <a:pt x="174" y="4"/>
                    </a:moveTo>
                    <a:lnTo>
                      <a:pt x="170" y="4"/>
                    </a:lnTo>
                    <a:lnTo>
                      <a:pt x="166" y="4"/>
                    </a:lnTo>
                    <a:lnTo>
                      <a:pt x="162" y="5"/>
                    </a:lnTo>
                    <a:lnTo>
                      <a:pt x="158" y="5"/>
                    </a:lnTo>
                    <a:lnTo>
                      <a:pt x="154" y="5"/>
                    </a:lnTo>
                    <a:lnTo>
                      <a:pt x="150" y="5"/>
                    </a:lnTo>
                    <a:lnTo>
                      <a:pt x="147" y="7"/>
                    </a:lnTo>
                    <a:lnTo>
                      <a:pt x="143" y="7"/>
                    </a:lnTo>
                    <a:lnTo>
                      <a:pt x="139" y="7"/>
                    </a:lnTo>
                    <a:lnTo>
                      <a:pt x="135" y="7"/>
                    </a:lnTo>
                    <a:lnTo>
                      <a:pt x="131" y="7"/>
                    </a:lnTo>
                    <a:lnTo>
                      <a:pt x="127" y="7"/>
                    </a:lnTo>
                    <a:lnTo>
                      <a:pt x="123" y="5"/>
                    </a:lnTo>
                    <a:lnTo>
                      <a:pt x="119" y="4"/>
                    </a:lnTo>
                    <a:lnTo>
                      <a:pt x="115" y="4"/>
                    </a:lnTo>
                    <a:lnTo>
                      <a:pt x="111" y="4"/>
                    </a:lnTo>
                    <a:lnTo>
                      <a:pt x="107" y="4"/>
                    </a:lnTo>
                    <a:lnTo>
                      <a:pt x="103" y="5"/>
                    </a:lnTo>
                    <a:lnTo>
                      <a:pt x="99" y="9"/>
                    </a:lnTo>
                    <a:lnTo>
                      <a:pt x="99" y="13"/>
                    </a:lnTo>
                    <a:lnTo>
                      <a:pt x="99" y="16"/>
                    </a:lnTo>
                    <a:lnTo>
                      <a:pt x="95" y="16"/>
                    </a:lnTo>
                    <a:lnTo>
                      <a:pt x="91" y="16"/>
                    </a:lnTo>
                    <a:lnTo>
                      <a:pt x="85" y="15"/>
                    </a:lnTo>
                    <a:lnTo>
                      <a:pt x="81" y="15"/>
                    </a:lnTo>
                    <a:lnTo>
                      <a:pt x="77" y="18"/>
                    </a:lnTo>
                    <a:lnTo>
                      <a:pt x="75" y="22"/>
                    </a:lnTo>
                    <a:lnTo>
                      <a:pt x="73" y="26"/>
                    </a:lnTo>
                    <a:lnTo>
                      <a:pt x="69" y="27"/>
                    </a:lnTo>
                    <a:lnTo>
                      <a:pt x="65" y="31"/>
                    </a:lnTo>
                    <a:lnTo>
                      <a:pt x="61" y="35"/>
                    </a:lnTo>
                    <a:lnTo>
                      <a:pt x="59" y="38"/>
                    </a:lnTo>
                    <a:lnTo>
                      <a:pt x="59" y="42"/>
                    </a:lnTo>
                    <a:lnTo>
                      <a:pt x="61" y="46"/>
                    </a:lnTo>
                    <a:lnTo>
                      <a:pt x="59" y="49"/>
                    </a:lnTo>
                    <a:lnTo>
                      <a:pt x="55" y="51"/>
                    </a:lnTo>
                    <a:lnTo>
                      <a:pt x="53" y="55"/>
                    </a:lnTo>
                    <a:lnTo>
                      <a:pt x="50" y="55"/>
                    </a:lnTo>
                    <a:lnTo>
                      <a:pt x="46" y="57"/>
                    </a:lnTo>
                    <a:lnTo>
                      <a:pt x="42" y="58"/>
                    </a:lnTo>
                    <a:lnTo>
                      <a:pt x="38" y="62"/>
                    </a:lnTo>
                    <a:lnTo>
                      <a:pt x="34" y="62"/>
                    </a:lnTo>
                    <a:lnTo>
                      <a:pt x="30" y="62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18" y="60"/>
                    </a:lnTo>
                    <a:lnTo>
                      <a:pt x="14" y="58"/>
                    </a:lnTo>
                    <a:lnTo>
                      <a:pt x="10" y="57"/>
                    </a:lnTo>
                    <a:lnTo>
                      <a:pt x="6" y="57"/>
                    </a:lnTo>
                    <a:lnTo>
                      <a:pt x="2" y="57"/>
                    </a:lnTo>
                    <a:lnTo>
                      <a:pt x="0" y="60"/>
                    </a:lnTo>
                    <a:lnTo>
                      <a:pt x="2" y="64"/>
                    </a:lnTo>
                    <a:lnTo>
                      <a:pt x="6" y="68"/>
                    </a:lnTo>
                    <a:lnTo>
                      <a:pt x="8" y="71"/>
                    </a:lnTo>
                    <a:lnTo>
                      <a:pt x="10" y="75"/>
                    </a:lnTo>
                    <a:lnTo>
                      <a:pt x="10" y="78"/>
                    </a:lnTo>
                    <a:lnTo>
                      <a:pt x="10" y="82"/>
                    </a:lnTo>
                    <a:lnTo>
                      <a:pt x="12" y="86"/>
                    </a:lnTo>
                    <a:lnTo>
                      <a:pt x="12" y="89"/>
                    </a:lnTo>
                    <a:lnTo>
                      <a:pt x="14" y="93"/>
                    </a:lnTo>
                    <a:lnTo>
                      <a:pt x="16" y="99"/>
                    </a:lnTo>
                    <a:lnTo>
                      <a:pt x="16" y="102"/>
                    </a:lnTo>
                    <a:lnTo>
                      <a:pt x="18" y="106"/>
                    </a:lnTo>
                    <a:lnTo>
                      <a:pt x="18" y="110"/>
                    </a:lnTo>
                    <a:lnTo>
                      <a:pt x="22" y="111"/>
                    </a:lnTo>
                    <a:lnTo>
                      <a:pt x="26" y="113"/>
                    </a:lnTo>
                    <a:lnTo>
                      <a:pt x="30" y="113"/>
                    </a:lnTo>
                    <a:lnTo>
                      <a:pt x="34" y="113"/>
                    </a:lnTo>
                    <a:lnTo>
                      <a:pt x="38" y="115"/>
                    </a:lnTo>
                    <a:lnTo>
                      <a:pt x="42" y="115"/>
                    </a:lnTo>
                    <a:lnTo>
                      <a:pt x="46" y="117"/>
                    </a:lnTo>
                    <a:lnTo>
                      <a:pt x="46" y="120"/>
                    </a:lnTo>
                    <a:lnTo>
                      <a:pt x="48" y="124"/>
                    </a:lnTo>
                    <a:lnTo>
                      <a:pt x="50" y="128"/>
                    </a:lnTo>
                    <a:lnTo>
                      <a:pt x="53" y="130"/>
                    </a:lnTo>
                    <a:lnTo>
                      <a:pt x="55" y="133"/>
                    </a:lnTo>
                    <a:lnTo>
                      <a:pt x="59" y="135"/>
                    </a:lnTo>
                    <a:lnTo>
                      <a:pt x="65" y="137"/>
                    </a:lnTo>
                    <a:lnTo>
                      <a:pt x="69" y="135"/>
                    </a:lnTo>
                    <a:lnTo>
                      <a:pt x="73" y="135"/>
                    </a:lnTo>
                    <a:lnTo>
                      <a:pt x="77" y="135"/>
                    </a:lnTo>
                    <a:lnTo>
                      <a:pt x="79" y="139"/>
                    </a:lnTo>
                    <a:lnTo>
                      <a:pt x="79" y="142"/>
                    </a:lnTo>
                    <a:lnTo>
                      <a:pt x="79" y="146"/>
                    </a:lnTo>
                    <a:lnTo>
                      <a:pt x="79" y="150"/>
                    </a:lnTo>
                    <a:lnTo>
                      <a:pt x="79" y="153"/>
                    </a:lnTo>
                    <a:lnTo>
                      <a:pt x="81" y="157"/>
                    </a:lnTo>
                    <a:lnTo>
                      <a:pt x="85" y="161"/>
                    </a:lnTo>
                    <a:lnTo>
                      <a:pt x="87" y="164"/>
                    </a:lnTo>
                    <a:lnTo>
                      <a:pt x="91" y="166"/>
                    </a:lnTo>
                    <a:lnTo>
                      <a:pt x="95" y="170"/>
                    </a:lnTo>
                    <a:lnTo>
                      <a:pt x="99" y="172"/>
                    </a:lnTo>
                    <a:lnTo>
                      <a:pt x="101" y="175"/>
                    </a:lnTo>
                    <a:lnTo>
                      <a:pt x="105" y="175"/>
                    </a:lnTo>
                    <a:lnTo>
                      <a:pt x="107" y="179"/>
                    </a:lnTo>
                    <a:lnTo>
                      <a:pt x="109" y="183"/>
                    </a:lnTo>
                    <a:lnTo>
                      <a:pt x="111" y="188"/>
                    </a:lnTo>
                    <a:lnTo>
                      <a:pt x="111" y="192"/>
                    </a:lnTo>
                    <a:lnTo>
                      <a:pt x="111" y="195"/>
                    </a:lnTo>
                    <a:lnTo>
                      <a:pt x="111" y="199"/>
                    </a:lnTo>
                    <a:lnTo>
                      <a:pt x="111" y="203"/>
                    </a:lnTo>
                    <a:lnTo>
                      <a:pt x="111" y="206"/>
                    </a:lnTo>
                    <a:lnTo>
                      <a:pt x="111" y="210"/>
                    </a:lnTo>
                    <a:lnTo>
                      <a:pt x="115" y="214"/>
                    </a:lnTo>
                    <a:lnTo>
                      <a:pt x="115" y="217"/>
                    </a:lnTo>
                    <a:lnTo>
                      <a:pt x="119" y="219"/>
                    </a:lnTo>
                    <a:lnTo>
                      <a:pt x="121" y="223"/>
                    </a:lnTo>
                    <a:lnTo>
                      <a:pt x="125" y="223"/>
                    </a:lnTo>
                    <a:lnTo>
                      <a:pt x="129" y="224"/>
                    </a:lnTo>
                    <a:lnTo>
                      <a:pt x="133" y="224"/>
                    </a:lnTo>
                    <a:lnTo>
                      <a:pt x="137" y="224"/>
                    </a:lnTo>
                    <a:lnTo>
                      <a:pt x="141" y="223"/>
                    </a:lnTo>
                    <a:lnTo>
                      <a:pt x="145" y="223"/>
                    </a:lnTo>
                    <a:lnTo>
                      <a:pt x="149" y="223"/>
                    </a:lnTo>
                    <a:lnTo>
                      <a:pt x="152" y="221"/>
                    </a:lnTo>
                    <a:lnTo>
                      <a:pt x="156" y="219"/>
                    </a:lnTo>
                    <a:lnTo>
                      <a:pt x="160" y="217"/>
                    </a:lnTo>
                    <a:lnTo>
                      <a:pt x="164" y="217"/>
                    </a:lnTo>
                    <a:lnTo>
                      <a:pt x="168" y="219"/>
                    </a:lnTo>
                    <a:lnTo>
                      <a:pt x="170" y="223"/>
                    </a:lnTo>
                    <a:lnTo>
                      <a:pt x="174" y="224"/>
                    </a:lnTo>
                    <a:lnTo>
                      <a:pt x="178" y="226"/>
                    </a:lnTo>
                    <a:lnTo>
                      <a:pt x="182" y="228"/>
                    </a:lnTo>
                    <a:lnTo>
                      <a:pt x="186" y="226"/>
                    </a:lnTo>
                    <a:lnTo>
                      <a:pt x="188" y="223"/>
                    </a:lnTo>
                    <a:lnTo>
                      <a:pt x="192" y="223"/>
                    </a:lnTo>
                    <a:lnTo>
                      <a:pt x="196" y="221"/>
                    </a:lnTo>
                    <a:lnTo>
                      <a:pt x="200" y="219"/>
                    </a:lnTo>
                    <a:lnTo>
                      <a:pt x="204" y="217"/>
                    </a:lnTo>
                    <a:lnTo>
                      <a:pt x="204" y="221"/>
                    </a:lnTo>
                    <a:lnTo>
                      <a:pt x="202" y="224"/>
                    </a:lnTo>
                    <a:lnTo>
                      <a:pt x="202" y="228"/>
                    </a:lnTo>
                    <a:lnTo>
                      <a:pt x="202" y="232"/>
                    </a:lnTo>
                    <a:lnTo>
                      <a:pt x="206" y="234"/>
                    </a:lnTo>
                    <a:lnTo>
                      <a:pt x="208" y="237"/>
                    </a:lnTo>
                    <a:lnTo>
                      <a:pt x="208" y="241"/>
                    </a:lnTo>
                    <a:lnTo>
                      <a:pt x="210" y="245"/>
                    </a:lnTo>
                    <a:lnTo>
                      <a:pt x="214" y="246"/>
                    </a:lnTo>
                    <a:lnTo>
                      <a:pt x="218" y="246"/>
                    </a:lnTo>
                    <a:lnTo>
                      <a:pt x="222" y="250"/>
                    </a:lnTo>
                    <a:lnTo>
                      <a:pt x="224" y="254"/>
                    </a:lnTo>
                    <a:lnTo>
                      <a:pt x="228" y="257"/>
                    </a:lnTo>
                    <a:lnTo>
                      <a:pt x="230" y="261"/>
                    </a:lnTo>
                    <a:lnTo>
                      <a:pt x="234" y="263"/>
                    </a:lnTo>
                    <a:lnTo>
                      <a:pt x="238" y="263"/>
                    </a:lnTo>
                    <a:lnTo>
                      <a:pt x="242" y="263"/>
                    </a:lnTo>
                    <a:lnTo>
                      <a:pt x="244" y="266"/>
                    </a:lnTo>
                    <a:lnTo>
                      <a:pt x="248" y="268"/>
                    </a:lnTo>
                    <a:lnTo>
                      <a:pt x="248" y="272"/>
                    </a:lnTo>
                    <a:lnTo>
                      <a:pt x="248" y="276"/>
                    </a:lnTo>
                    <a:lnTo>
                      <a:pt x="249" y="279"/>
                    </a:lnTo>
                    <a:lnTo>
                      <a:pt x="251" y="283"/>
                    </a:lnTo>
                    <a:lnTo>
                      <a:pt x="255" y="285"/>
                    </a:lnTo>
                    <a:lnTo>
                      <a:pt x="259" y="285"/>
                    </a:lnTo>
                    <a:lnTo>
                      <a:pt x="263" y="285"/>
                    </a:lnTo>
                    <a:lnTo>
                      <a:pt x="267" y="287"/>
                    </a:lnTo>
                    <a:lnTo>
                      <a:pt x="271" y="288"/>
                    </a:lnTo>
                    <a:lnTo>
                      <a:pt x="271" y="292"/>
                    </a:lnTo>
                    <a:lnTo>
                      <a:pt x="271" y="296"/>
                    </a:lnTo>
                    <a:lnTo>
                      <a:pt x="273" y="299"/>
                    </a:lnTo>
                    <a:lnTo>
                      <a:pt x="277" y="301"/>
                    </a:lnTo>
                    <a:lnTo>
                      <a:pt x="279" y="305"/>
                    </a:lnTo>
                    <a:lnTo>
                      <a:pt x="283" y="307"/>
                    </a:lnTo>
                    <a:lnTo>
                      <a:pt x="287" y="308"/>
                    </a:lnTo>
                    <a:lnTo>
                      <a:pt x="289" y="312"/>
                    </a:lnTo>
                    <a:lnTo>
                      <a:pt x="293" y="310"/>
                    </a:lnTo>
                    <a:lnTo>
                      <a:pt x="297" y="310"/>
                    </a:lnTo>
                    <a:lnTo>
                      <a:pt x="301" y="310"/>
                    </a:lnTo>
                    <a:lnTo>
                      <a:pt x="305" y="308"/>
                    </a:lnTo>
                    <a:lnTo>
                      <a:pt x="309" y="308"/>
                    </a:lnTo>
                    <a:lnTo>
                      <a:pt x="313" y="308"/>
                    </a:lnTo>
                    <a:lnTo>
                      <a:pt x="317" y="308"/>
                    </a:lnTo>
                    <a:lnTo>
                      <a:pt x="319" y="305"/>
                    </a:lnTo>
                    <a:lnTo>
                      <a:pt x="321" y="301"/>
                    </a:lnTo>
                    <a:lnTo>
                      <a:pt x="325" y="299"/>
                    </a:lnTo>
                    <a:lnTo>
                      <a:pt x="327" y="303"/>
                    </a:lnTo>
                    <a:lnTo>
                      <a:pt x="327" y="307"/>
                    </a:lnTo>
                    <a:lnTo>
                      <a:pt x="327" y="310"/>
                    </a:lnTo>
                    <a:lnTo>
                      <a:pt x="331" y="312"/>
                    </a:lnTo>
                    <a:lnTo>
                      <a:pt x="335" y="312"/>
                    </a:lnTo>
                    <a:lnTo>
                      <a:pt x="339" y="312"/>
                    </a:lnTo>
                    <a:lnTo>
                      <a:pt x="343" y="312"/>
                    </a:lnTo>
                    <a:lnTo>
                      <a:pt x="345" y="308"/>
                    </a:lnTo>
                    <a:lnTo>
                      <a:pt x="345" y="305"/>
                    </a:lnTo>
                    <a:lnTo>
                      <a:pt x="345" y="301"/>
                    </a:lnTo>
                    <a:lnTo>
                      <a:pt x="348" y="299"/>
                    </a:lnTo>
                    <a:lnTo>
                      <a:pt x="352" y="296"/>
                    </a:lnTo>
                    <a:lnTo>
                      <a:pt x="356" y="294"/>
                    </a:lnTo>
                    <a:lnTo>
                      <a:pt x="358" y="290"/>
                    </a:lnTo>
                    <a:lnTo>
                      <a:pt x="354" y="287"/>
                    </a:lnTo>
                    <a:lnTo>
                      <a:pt x="350" y="285"/>
                    </a:lnTo>
                    <a:lnTo>
                      <a:pt x="348" y="281"/>
                    </a:lnTo>
                    <a:lnTo>
                      <a:pt x="345" y="279"/>
                    </a:lnTo>
                    <a:lnTo>
                      <a:pt x="345" y="276"/>
                    </a:lnTo>
                    <a:lnTo>
                      <a:pt x="345" y="272"/>
                    </a:lnTo>
                    <a:lnTo>
                      <a:pt x="348" y="272"/>
                    </a:lnTo>
                    <a:lnTo>
                      <a:pt x="352" y="274"/>
                    </a:lnTo>
                    <a:lnTo>
                      <a:pt x="356" y="274"/>
                    </a:lnTo>
                    <a:lnTo>
                      <a:pt x="360" y="274"/>
                    </a:lnTo>
                    <a:lnTo>
                      <a:pt x="362" y="270"/>
                    </a:lnTo>
                    <a:lnTo>
                      <a:pt x="366" y="270"/>
                    </a:lnTo>
                    <a:lnTo>
                      <a:pt x="370" y="268"/>
                    </a:lnTo>
                    <a:lnTo>
                      <a:pt x="374" y="268"/>
                    </a:lnTo>
                    <a:lnTo>
                      <a:pt x="378" y="268"/>
                    </a:lnTo>
                    <a:lnTo>
                      <a:pt x="382" y="268"/>
                    </a:lnTo>
                    <a:lnTo>
                      <a:pt x="386" y="265"/>
                    </a:lnTo>
                    <a:lnTo>
                      <a:pt x="390" y="265"/>
                    </a:lnTo>
                    <a:lnTo>
                      <a:pt x="392" y="261"/>
                    </a:lnTo>
                    <a:lnTo>
                      <a:pt x="394" y="257"/>
                    </a:lnTo>
                    <a:lnTo>
                      <a:pt x="396" y="254"/>
                    </a:lnTo>
                    <a:lnTo>
                      <a:pt x="394" y="250"/>
                    </a:lnTo>
                    <a:lnTo>
                      <a:pt x="392" y="246"/>
                    </a:lnTo>
                    <a:lnTo>
                      <a:pt x="388" y="245"/>
                    </a:lnTo>
                    <a:lnTo>
                      <a:pt x="384" y="241"/>
                    </a:lnTo>
                    <a:lnTo>
                      <a:pt x="380" y="239"/>
                    </a:lnTo>
                    <a:lnTo>
                      <a:pt x="378" y="235"/>
                    </a:lnTo>
                    <a:lnTo>
                      <a:pt x="376" y="232"/>
                    </a:lnTo>
                    <a:lnTo>
                      <a:pt x="374" y="228"/>
                    </a:lnTo>
                    <a:lnTo>
                      <a:pt x="368" y="224"/>
                    </a:lnTo>
                    <a:lnTo>
                      <a:pt x="364" y="223"/>
                    </a:lnTo>
                    <a:lnTo>
                      <a:pt x="368" y="219"/>
                    </a:lnTo>
                    <a:lnTo>
                      <a:pt x="366" y="215"/>
                    </a:lnTo>
                    <a:lnTo>
                      <a:pt x="362" y="214"/>
                    </a:lnTo>
                    <a:lnTo>
                      <a:pt x="358" y="212"/>
                    </a:lnTo>
                    <a:lnTo>
                      <a:pt x="354" y="210"/>
                    </a:lnTo>
                    <a:lnTo>
                      <a:pt x="350" y="210"/>
                    </a:lnTo>
                    <a:lnTo>
                      <a:pt x="347" y="212"/>
                    </a:lnTo>
                    <a:lnTo>
                      <a:pt x="343" y="214"/>
                    </a:lnTo>
                    <a:lnTo>
                      <a:pt x="339" y="215"/>
                    </a:lnTo>
                    <a:lnTo>
                      <a:pt x="337" y="212"/>
                    </a:lnTo>
                    <a:lnTo>
                      <a:pt x="333" y="208"/>
                    </a:lnTo>
                    <a:lnTo>
                      <a:pt x="329" y="208"/>
                    </a:lnTo>
                    <a:lnTo>
                      <a:pt x="327" y="204"/>
                    </a:lnTo>
                    <a:lnTo>
                      <a:pt x="325" y="201"/>
                    </a:lnTo>
                    <a:lnTo>
                      <a:pt x="325" y="197"/>
                    </a:lnTo>
                    <a:lnTo>
                      <a:pt x="325" y="193"/>
                    </a:lnTo>
                    <a:lnTo>
                      <a:pt x="325" y="190"/>
                    </a:lnTo>
                    <a:lnTo>
                      <a:pt x="325" y="186"/>
                    </a:lnTo>
                    <a:lnTo>
                      <a:pt x="325" y="183"/>
                    </a:lnTo>
                    <a:lnTo>
                      <a:pt x="321" y="183"/>
                    </a:lnTo>
                    <a:lnTo>
                      <a:pt x="317" y="181"/>
                    </a:lnTo>
                    <a:lnTo>
                      <a:pt x="313" y="181"/>
                    </a:lnTo>
                    <a:lnTo>
                      <a:pt x="309" y="183"/>
                    </a:lnTo>
                    <a:lnTo>
                      <a:pt x="305" y="184"/>
                    </a:lnTo>
                    <a:lnTo>
                      <a:pt x="301" y="186"/>
                    </a:lnTo>
                    <a:lnTo>
                      <a:pt x="297" y="186"/>
                    </a:lnTo>
                    <a:lnTo>
                      <a:pt x="293" y="186"/>
                    </a:lnTo>
                    <a:lnTo>
                      <a:pt x="291" y="183"/>
                    </a:lnTo>
                    <a:lnTo>
                      <a:pt x="289" y="179"/>
                    </a:lnTo>
                    <a:lnTo>
                      <a:pt x="287" y="175"/>
                    </a:lnTo>
                    <a:lnTo>
                      <a:pt x="287" y="172"/>
                    </a:lnTo>
                    <a:lnTo>
                      <a:pt x="287" y="168"/>
                    </a:lnTo>
                    <a:lnTo>
                      <a:pt x="283" y="166"/>
                    </a:lnTo>
                    <a:lnTo>
                      <a:pt x="279" y="164"/>
                    </a:lnTo>
                    <a:lnTo>
                      <a:pt x="275" y="164"/>
                    </a:lnTo>
                    <a:lnTo>
                      <a:pt x="271" y="164"/>
                    </a:lnTo>
                    <a:lnTo>
                      <a:pt x="271" y="161"/>
                    </a:lnTo>
                    <a:lnTo>
                      <a:pt x="269" y="157"/>
                    </a:lnTo>
                    <a:lnTo>
                      <a:pt x="269" y="153"/>
                    </a:lnTo>
                    <a:lnTo>
                      <a:pt x="267" y="150"/>
                    </a:lnTo>
                    <a:lnTo>
                      <a:pt x="267" y="146"/>
                    </a:lnTo>
                    <a:lnTo>
                      <a:pt x="263" y="144"/>
                    </a:lnTo>
                    <a:lnTo>
                      <a:pt x="259" y="142"/>
                    </a:lnTo>
                    <a:lnTo>
                      <a:pt x="253" y="141"/>
                    </a:lnTo>
                    <a:lnTo>
                      <a:pt x="249" y="139"/>
                    </a:lnTo>
                    <a:lnTo>
                      <a:pt x="246" y="139"/>
                    </a:lnTo>
                    <a:lnTo>
                      <a:pt x="240" y="139"/>
                    </a:lnTo>
                    <a:lnTo>
                      <a:pt x="236" y="137"/>
                    </a:lnTo>
                    <a:lnTo>
                      <a:pt x="234" y="133"/>
                    </a:lnTo>
                    <a:lnTo>
                      <a:pt x="232" y="130"/>
                    </a:lnTo>
                    <a:lnTo>
                      <a:pt x="228" y="130"/>
                    </a:lnTo>
                    <a:lnTo>
                      <a:pt x="224" y="128"/>
                    </a:lnTo>
                    <a:lnTo>
                      <a:pt x="220" y="128"/>
                    </a:lnTo>
                    <a:lnTo>
                      <a:pt x="216" y="128"/>
                    </a:lnTo>
                    <a:lnTo>
                      <a:pt x="212" y="126"/>
                    </a:lnTo>
                    <a:lnTo>
                      <a:pt x="208" y="124"/>
                    </a:lnTo>
                    <a:lnTo>
                      <a:pt x="204" y="120"/>
                    </a:lnTo>
                    <a:lnTo>
                      <a:pt x="202" y="117"/>
                    </a:lnTo>
                    <a:lnTo>
                      <a:pt x="202" y="113"/>
                    </a:lnTo>
                    <a:lnTo>
                      <a:pt x="198" y="110"/>
                    </a:lnTo>
                    <a:lnTo>
                      <a:pt x="196" y="106"/>
                    </a:lnTo>
                    <a:lnTo>
                      <a:pt x="194" y="102"/>
                    </a:lnTo>
                    <a:lnTo>
                      <a:pt x="190" y="100"/>
                    </a:lnTo>
                    <a:lnTo>
                      <a:pt x="186" y="97"/>
                    </a:lnTo>
                    <a:lnTo>
                      <a:pt x="186" y="93"/>
                    </a:lnTo>
                    <a:lnTo>
                      <a:pt x="186" y="88"/>
                    </a:lnTo>
                    <a:lnTo>
                      <a:pt x="184" y="84"/>
                    </a:lnTo>
                    <a:lnTo>
                      <a:pt x="182" y="80"/>
                    </a:lnTo>
                    <a:lnTo>
                      <a:pt x="180" y="77"/>
                    </a:lnTo>
                    <a:lnTo>
                      <a:pt x="180" y="73"/>
                    </a:lnTo>
                    <a:lnTo>
                      <a:pt x="184" y="69"/>
                    </a:lnTo>
                    <a:lnTo>
                      <a:pt x="186" y="66"/>
                    </a:lnTo>
                    <a:lnTo>
                      <a:pt x="188" y="62"/>
                    </a:lnTo>
                    <a:lnTo>
                      <a:pt x="188" y="58"/>
                    </a:lnTo>
                    <a:lnTo>
                      <a:pt x="190" y="55"/>
                    </a:lnTo>
                    <a:lnTo>
                      <a:pt x="192" y="51"/>
                    </a:lnTo>
                    <a:lnTo>
                      <a:pt x="192" y="47"/>
                    </a:lnTo>
                    <a:lnTo>
                      <a:pt x="196" y="46"/>
                    </a:lnTo>
                    <a:lnTo>
                      <a:pt x="198" y="42"/>
                    </a:lnTo>
                    <a:lnTo>
                      <a:pt x="200" y="38"/>
                    </a:lnTo>
                    <a:lnTo>
                      <a:pt x="202" y="35"/>
                    </a:lnTo>
                    <a:lnTo>
                      <a:pt x="206" y="35"/>
                    </a:lnTo>
                    <a:lnTo>
                      <a:pt x="210" y="33"/>
                    </a:lnTo>
                    <a:lnTo>
                      <a:pt x="210" y="29"/>
                    </a:lnTo>
                    <a:lnTo>
                      <a:pt x="208" y="26"/>
                    </a:lnTo>
                    <a:lnTo>
                      <a:pt x="204" y="22"/>
                    </a:lnTo>
                    <a:lnTo>
                      <a:pt x="200" y="20"/>
                    </a:lnTo>
                    <a:lnTo>
                      <a:pt x="198" y="16"/>
                    </a:lnTo>
                    <a:lnTo>
                      <a:pt x="196" y="13"/>
                    </a:lnTo>
                    <a:lnTo>
                      <a:pt x="192" y="11"/>
                    </a:lnTo>
                    <a:lnTo>
                      <a:pt x="192" y="7"/>
                    </a:lnTo>
                    <a:lnTo>
                      <a:pt x="188" y="4"/>
                    </a:lnTo>
                    <a:lnTo>
                      <a:pt x="184" y="4"/>
                    </a:lnTo>
                    <a:lnTo>
                      <a:pt x="180" y="2"/>
                    </a:lnTo>
                    <a:lnTo>
                      <a:pt x="176" y="0"/>
                    </a:lnTo>
                    <a:lnTo>
                      <a:pt x="172" y="4"/>
                    </a:lnTo>
                    <a:lnTo>
                      <a:pt x="168" y="5"/>
                    </a:lnTo>
                    <a:lnTo>
                      <a:pt x="164" y="7"/>
                    </a:lnTo>
                    <a:lnTo>
                      <a:pt x="162" y="7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0" name="Freeform 65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2296440" y="3247286"/>
                <a:ext cx="460191" cy="444701"/>
              </a:xfrm>
              <a:custGeom>
                <a:avLst/>
                <a:gdLst>
                  <a:gd name="T0" fmla="*/ 2147483647 w 371"/>
                  <a:gd name="T1" fmla="*/ 2147483647 h 378"/>
                  <a:gd name="T2" fmla="*/ 2147483647 w 371"/>
                  <a:gd name="T3" fmla="*/ 2147483647 h 378"/>
                  <a:gd name="T4" fmla="*/ 2147483647 w 371"/>
                  <a:gd name="T5" fmla="*/ 2147483647 h 378"/>
                  <a:gd name="T6" fmla="*/ 2147483647 w 371"/>
                  <a:gd name="T7" fmla="*/ 2147483647 h 378"/>
                  <a:gd name="T8" fmla="*/ 2147483647 w 371"/>
                  <a:gd name="T9" fmla="*/ 2147483647 h 378"/>
                  <a:gd name="T10" fmla="*/ 2147483647 w 371"/>
                  <a:gd name="T11" fmla="*/ 2147483647 h 378"/>
                  <a:gd name="T12" fmla="*/ 2147483647 w 371"/>
                  <a:gd name="T13" fmla="*/ 2147483647 h 378"/>
                  <a:gd name="T14" fmla="*/ 2147483647 w 371"/>
                  <a:gd name="T15" fmla="*/ 2147483647 h 378"/>
                  <a:gd name="T16" fmla="*/ 2147483647 w 371"/>
                  <a:gd name="T17" fmla="*/ 2147483647 h 378"/>
                  <a:gd name="T18" fmla="*/ 2147483647 w 371"/>
                  <a:gd name="T19" fmla="*/ 2147483647 h 378"/>
                  <a:gd name="T20" fmla="*/ 2147483647 w 371"/>
                  <a:gd name="T21" fmla="*/ 2147483647 h 378"/>
                  <a:gd name="T22" fmla="*/ 2147483647 w 371"/>
                  <a:gd name="T23" fmla="*/ 2147483647 h 378"/>
                  <a:gd name="T24" fmla="*/ 2147483647 w 371"/>
                  <a:gd name="T25" fmla="*/ 2147483647 h 378"/>
                  <a:gd name="T26" fmla="*/ 2147483647 w 371"/>
                  <a:gd name="T27" fmla="*/ 2147483647 h 378"/>
                  <a:gd name="T28" fmla="*/ 2147483647 w 371"/>
                  <a:gd name="T29" fmla="*/ 2147483647 h 378"/>
                  <a:gd name="T30" fmla="*/ 0 w 371"/>
                  <a:gd name="T31" fmla="*/ 2147483647 h 378"/>
                  <a:gd name="T32" fmla="*/ 2147483647 w 371"/>
                  <a:gd name="T33" fmla="*/ 2147483647 h 378"/>
                  <a:gd name="T34" fmla="*/ 2147483647 w 371"/>
                  <a:gd name="T35" fmla="*/ 2147483647 h 378"/>
                  <a:gd name="T36" fmla="*/ 2147483647 w 371"/>
                  <a:gd name="T37" fmla="*/ 2147483647 h 378"/>
                  <a:gd name="T38" fmla="*/ 2147483647 w 371"/>
                  <a:gd name="T39" fmla="*/ 2147483647 h 378"/>
                  <a:gd name="T40" fmla="*/ 2147483647 w 371"/>
                  <a:gd name="T41" fmla="*/ 2147483647 h 378"/>
                  <a:gd name="T42" fmla="*/ 2147483647 w 371"/>
                  <a:gd name="T43" fmla="*/ 2147483647 h 378"/>
                  <a:gd name="T44" fmla="*/ 2147483647 w 371"/>
                  <a:gd name="T45" fmla="*/ 2147483647 h 378"/>
                  <a:gd name="T46" fmla="*/ 2147483647 w 371"/>
                  <a:gd name="T47" fmla="*/ 2147483647 h 378"/>
                  <a:gd name="T48" fmla="*/ 2147483647 w 371"/>
                  <a:gd name="T49" fmla="*/ 2147483647 h 378"/>
                  <a:gd name="T50" fmla="*/ 2147483647 w 371"/>
                  <a:gd name="T51" fmla="*/ 2147483647 h 378"/>
                  <a:gd name="T52" fmla="*/ 2147483647 w 371"/>
                  <a:gd name="T53" fmla="*/ 2147483647 h 378"/>
                  <a:gd name="T54" fmla="*/ 2147483647 w 371"/>
                  <a:gd name="T55" fmla="*/ 2147483647 h 378"/>
                  <a:gd name="T56" fmla="*/ 2147483647 w 371"/>
                  <a:gd name="T57" fmla="*/ 2147483647 h 378"/>
                  <a:gd name="T58" fmla="*/ 2147483647 w 371"/>
                  <a:gd name="T59" fmla="*/ 2147483647 h 378"/>
                  <a:gd name="T60" fmla="*/ 2147483647 w 371"/>
                  <a:gd name="T61" fmla="*/ 2147483647 h 378"/>
                  <a:gd name="T62" fmla="*/ 2147483647 w 371"/>
                  <a:gd name="T63" fmla="*/ 2147483647 h 378"/>
                  <a:gd name="T64" fmla="*/ 2147483647 w 371"/>
                  <a:gd name="T65" fmla="*/ 2147483647 h 378"/>
                  <a:gd name="T66" fmla="*/ 2147483647 w 371"/>
                  <a:gd name="T67" fmla="*/ 2147483647 h 378"/>
                  <a:gd name="T68" fmla="*/ 2147483647 w 371"/>
                  <a:gd name="T69" fmla="*/ 2147483647 h 378"/>
                  <a:gd name="T70" fmla="*/ 2147483647 w 371"/>
                  <a:gd name="T71" fmla="*/ 2147483647 h 378"/>
                  <a:gd name="T72" fmla="*/ 2147483647 w 371"/>
                  <a:gd name="T73" fmla="*/ 2147483647 h 378"/>
                  <a:gd name="T74" fmla="*/ 2147483647 w 371"/>
                  <a:gd name="T75" fmla="*/ 2147483647 h 378"/>
                  <a:gd name="T76" fmla="*/ 2147483647 w 371"/>
                  <a:gd name="T77" fmla="*/ 2147483647 h 378"/>
                  <a:gd name="T78" fmla="*/ 2147483647 w 371"/>
                  <a:gd name="T79" fmla="*/ 2147483647 h 378"/>
                  <a:gd name="T80" fmla="*/ 2147483647 w 371"/>
                  <a:gd name="T81" fmla="*/ 2147483647 h 378"/>
                  <a:gd name="T82" fmla="*/ 2147483647 w 371"/>
                  <a:gd name="T83" fmla="*/ 2147483647 h 378"/>
                  <a:gd name="T84" fmla="*/ 2147483647 w 371"/>
                  <a:gd name="T85" fmla="*/ 2147483647 h 378"/>
                  <a:gd name="T86" fmla="*/ 2147483647 w 371"/>
                  <a:gd name="T87" fmla="*/ 2147483647 h 378"/>
                  <a:gd name="T88" fmla="*/ 2147483647 w 371"/>
                  <a:gd name="T89" fmla="*/ 2147483647 h 378"/>
                  <a:gd name="T90" fmla="*/ 2147483647 w 371"/>
                  <a:gd name="T91" fmla="*/ 2147483647 h 378"/>
                  <a:gd name="T92" fmla="*/ 2147483647 w 371"/>
                  <a:gd name="T93" fmla="*/ 2147483647 h 378"/>
                  <a:gd name="T94" fmla="*/ 2147483647 w 371"/>
                  <a:gd name="T95" fmla="*/ 2147483647 h 378"/>
                  <a:gd name="T96" fmla="*/ 2147483647 w 371"/>
                  <a:gd name="T97" fmla="*/ 2147483647 h 378"/>
                  <a:gd name="T98" fmla="*/ 2147483647 w 371"/>
                  <a:gd name="T99" fmla="*/ 2147483647 h 378"/>
                  <a:gd name="T100" fmla="*/ 2147483647 w 371"/>
                  <a:gd name="T101" fmla="*/ 2147483647 h 378"/>
                  <a:gd name="T102" fmla="*/ 2147483647 w 371"/>
                  <a:gd name="T103" fmla="*/ 2147483647 h 378"/>
                  <a:gd name="T104" fmla="*/ 2147483647 w 371"/>
                  <a:gd name="T105" fmla="*/ 2147483647 h 378"/>
                  <a:gd name="T106" fmla="*/ 2147483647 w 371"/>
                  <a:gd name="T107" fmla="*/ 2147483647 h 378"/>
                  <a:gd name="T108" fmla="*/ 2147483647 w 371"/>
                  <a:gd name="T109" fmla="*/ 2147483647 h 378"/>
                  <a:gd name="T110" fmla="*/ 2147483647 w 371"/>
                  <a:gd name="T111" fmla="*/ 2147483647 h 37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71"/>
                  <a:gd name="T169" fmla="*/ 0 h 378"/>
                  <a:gd name="T170" fmla="*/ 371 w 371"/>
                  <a:gd name="T171" fmla="*/ 378 h 378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71" h="378">
                    <a:moveTo>
                      <a:pt x="218" y="29"/>
                    </a:moveTo>
                    <a:lnTo>
                      <a:pt x="215" y="26"/>
                    </a:lnTo>
                    <a:lnTo>
                      <a:pt x="211" y="22"/>
                    </a:lnTo>
                    <a:lnTo>
                      <a:pt x="207" y="18"/>
                    </a:lnTo>
                    <a:lnTo>
                      <a:pt x="206" y="15"/>
                    </a:lnTo>
                    <a:lnTo>
                      <a:pt x="205" y="10"/>
                    </a:lnTo>
                    <a:lnTo>
                      <a:pt x="201" y="6"/>
                    </a:lnTo>
                    <a:lnTo>
                      <a:pt x="195" y="5"/>
                    </a:lnTo>
                    <a:lnTo>
                      <a:pt x="191" y="5"/>
                    </a:lnTo>
                    <a:lnTo>
                      <a:pt x="189" y="0"/>
                    </a:lnTo>
                    <a:lnTo>
                      <a:pt x="184" y="1"/>
                    </a:lnTo>
                    <a:lnTo>
                      <a:pt x="179" y="3"/>
                    </a:lnTo>
                    <a:lnTo>
                      <a:pt x="175" y="4"/>
                    </a:lnTo>
                    <a:lnTo>
                      <a:pt x="170" y="5"/>
                    </a:lnTo>
                    <a:lnTo>
                      <a:pt x="167" y="9"/>
                    </a:lnTo>
                    <a:lnTo>
                      <a:pt x="162" y="12"/>
                    </a:lnTo>
                    <a:lnTo>
                      <a:pt x="158" y="14"/>
                    </a:lnTo>
                    <a:lnTo>
                      <a:pt x="154" y="17"/>
                    </a:lnTo>
                    <a:lnTo>
                      <a:pt x="150" y="20"/>
                    </a:lnTo>
                    <a:lnTo>
                      <a:pt x="145" y="21"/>
                    </a:lnTo>
                    <a:lnTo>
                      <a:pt x="141" y="24"/>
                    </a:lnTo>
                    <a:lnTo>
                      <a:pt x="134" y="24"/>
                    </a:lnTo>
                    <a:lnTo>
                      <a:pt x="130" y="25"/>
                    </a:lnTo>
                    <a:lnTo>
                      <a:pt x="126" y="26"/>
                    </a:lnTo>
                    <a:lnTo>
                      <a:pt x="124" y="29"/>
                    </a:lnTo>
                    <a:lnTo>
                      <a:pt x="127" y="34"/>
                    </a:lnTo>
                    <a:lnTo>
                      <a:pt x="132" y="35"/>
                    </a:lnTo>
                    <a:lnTo>
                      <a:pt x="134" y="38"/>
                    </a:lnTo>
                    <a:lnTo>
                      <a:pt x="139" y="44"/>
                    </a:lnTo>
                    <a:lnTo>
                      <a:pt x="138" y="49"/>
                    </a:lnTo>
                    <a:lnTo>
                      <a:pt x="136" y="52"/>
                    </a:lnTo>
                    <a:lnTo>
                      <a:pt x="132" y="55"/>
                    </a:lnTo>
                    <a:lnTo>
                      <a:pt x="128" y="59"/>
                    </a:lnTo>
                    <a:lnTo>
                      <a:pt x="123" y="62"/>
                    </a:lnTo>
                    <a:lnTo>
                      <a:pt x="120" y="68"/>
                    </a:lnTo>
                    <a:lnTo>
                      <a:pt x="117" y="74"/>
                    </a:lnTo>
                    <a:lnTo>
                      <a:pt x="117" y="78"/>
                    </a:lnTo>
                    <a:lnTo>
                      <a:pt x="118" y="82"/>
                    </a:lnTo>
                    <a:lnTo>
                      <a:pt x="117" y="87"/>
                    </a:lnTo>
                    <a:lnTo>
                      <a:pt x="115" y="91"/>
                    </a:lnTo>
                    <a:lnTo>
                      <a:pt x="110" y="93"/>
                    </a:lnTo>
                    <a:lnTo>
                      <a:pt x="109" y="99"/>
                    </a:lnTo>
                    <a:lnTo>
                      <a:pt x="105" y="101"/>
                    </a:lnTo>
                    <a:lnTo>
                      <a:pt x="106" y="105"/>
                    </a:lnTo>
                    <a:lnTo>
                      <a:pt x="108" y="109"/>
                    </a:lnTo>
                    <a:lnTo>
                      <a:pt x="111" y="111"/>
                    </a:lnTo>
                    <a:lnTo>
                      <a:pt x="112" y="116"/>
                    </a:lnTo>
                    <a:lnTo>
                      <a:pt x="110" y="121"/>
                    </a:lnTo>
                    <a:lnTo>
                      <a:pt x="106" y="125"/>
                    </a:lnTo>
                    <a:lnTo>
                      <a:pt x="102" y="128"/>
                    </a:lnTo>
                    <a:lnTo>
                      <a:pt x="97" y="128"/>
                    </a:lnTo>
                    <a:lnTo>
                      <a:pt x="91" y="129"/>
                    </a:lnTo>
                    <a:lnTo>
                      <a:pt x="86" y="130"/>
                    </a:lnTo>
                    <a:lnTo>
                      <a:pt x="82" y="130"/>
                    </a:lnTo>
                    <a:lnTo>
                      <a:pt x="77" y="131"/>
                    </a:lnTo>
                    <a:lnTo>
                      <a:pt x="73" y="132"/>
                    </a:lnTo>
                    <a:lnTo>
                      <a:pt x="66" y="133"/>
                    </a:lnTo>
                    <a:lnTo>
                      <a:pt x="61" y="133"/>
                    </a:lnTo>
                    <a:lnTo>
                      <a:pt x="57" y="134"/>
                    </a:lnTo>
                    <a:lnTo>
                      <a:pt x="53" y="136"/>
                    </a:lnTo>
                    <a:lnTo>
                      <a:pt x="49" y="137"/>
                    </a:lnTo>
                    <a:lnTo>
                      <a:pt x="44" y="138"/>
                    </a:lnTo>
                    <a:lnTo>
                      <a:pt x="40" y="141"/>
                    </a:lnTo>
                    <a:lnTo>
                      <a:pt x="35" y="144"/>
                    </a:lnTo>
                    <a:lnTo>
                      <a:pt x="36" y="147"/>
                    </a:lnTo>
                    <a:lnTo>
                      <a:pt x="39" y="151"/>
                    </a:lnTo>
                    <a:lnTo>
                      <a:pt x="42" y="155"/>
                    </a:lnTo>
                    <a:lnTo>
                      <a:pt x="45" y="159"/>
                    </a:lnTo>
                    <a:lnTo>
                      <a:pt x="50" y="160"/>
                    </a:lnTo>
                    <a:lnTo>
                      <a:pt x="52" y="164"/>
                    </a:lnTo>
                    <a:lnTo>
                      <a:pt x="57" y="166"/>
                    </a:lnTo>
                    <a:lnTo>
                      <a:pt x="62" y="166"/>
                    </a:lnTo>
                    <a:lnTo>
                      <a:pt x="64" y="170"/>
                    </a:lnTo>
                    <a:lnTo>
                      <a:pt x="67" y="175"/>
                    </a:lnTo>
                    <a:lnTo>
                      <a:pt x="65" y="178"/>
                    </a:lnTo>
                    <a:lnTo>
                      <a:pt x="62" y="186"/>
                    </a:lnTo>
                    <a:lnTo>
                      <a:pt x="58" y="188"/>
                    </a:lnTo>
                    <a:lnTo>
                      <a:pt x="56" y="192"/>
                    </a:lnTo>
                    <a:lnTo>
                      <a:pt x="51" y="195"/>
                    </a:lnTo>
                    <a:lnTo>
                      <a:pt x="48" y="198"/>
                    </a:lnTo>
                    <a:lnTo>
                      <a:pt x="43" y="200"/>
                    </a:lnTo>
                    <a:lnTo>
                      <a:pt x="40" y="201"/>
                    </a:lnTo>
                    <a:lnTo>
                      <a:pt x="35" y="199"/>
                    </a:lnTo>
                    <a:lnTo>
                      <a:pt x="32" y="196"/>
                    </a:lnTo>
                    <a:lnTo>
                      <a:pt x="28" y="192"/>
                    </a:lnTo>
                    <a:lnTo>
                      <a:pt x="23" y="191"/>
                    </a:lnTo>
                    <a:lnTo>
                      <a:pt x="19" y="193"/>
                    </a:lnTo>
                    <a:lnTo>
                      <a:pt x="14" y="194"/>
                    </a:lnTo>
                    <a:lnTo>
                      <a:pt x="10" y="198"/>
                    </a:lnTo>
                    <a:lnTo>
                      <a:pt x="8" y="201"/>
                    </a:lnTo>
                    <a:lnTo>
                      <a:pt x="6" y="205"/>
                    </a:lnTo>
                    <a:lnTo>
                      <a:pt x="5" y="210"/>
                    </a:lnTo>
                    <a:lnTo>
                      <a:pt x="6" y="216"/>
                    </a:lnTo>
                    <a:lnTo>
                      <a:pt x="6" y="220"/>
                    </a:lnTo>
                    <a:lnTo>
                      <a:pt x="2" y="223"/>
                    </a:lnTo>
                    <a:lnTo>
                      <a:pt x="0" y="227"/>
                    </a:lnTo>
                    <a:lnTo>
                      <a:pt x="1" y="231"/>
                    </a:lnTo>
                    <a:lnTo>
                      <a:pt x="1" y="235"/>
                    </a:lnTo>
                    <a:lnTo>
                      <a:pt x="2" y="239"/>
                    </a:lnTo>
                    <a:lnTo>
                      <a:pt x="5" y="244"/>
                    </a:lnTo>
                    <a:lnTo>
                      <a:pt x="10" y="243"/>
                    </a:lnTo>
                    <a:lnTo>
                      <a:pt x="13" y="243"/>
                    </a:lnTo>
                    <a:lnTo>
                      <a:pt x="18" y="242"/>
                    </a:lnTo>
                    <a:lnTo>
                      <a:pt x="22" y="241"/>
                    </a:lnTo>
                    <a:lnTo>
                      <a:pt x="28" y="243"/>
                    </a:lnTo>
                    <a:lnTo>
                      <a:pt x="32" y="242"/>
                    </a:lnTo>
                    <a:lnTo>
                      <a:pt x="35" y="245"/>
                    </a:lnTo>
                    <a:lnTo>
                      <a:pt x="39" y="247"/>
                    </a:lnTo>
                    <a:lnTo>
                      <a:pt x="44" y="246"/>
                    </a:lnTo>
                    <a:lnTo>
                      <a:pt x="48" y="246"/>
                    </a:lnTo>
                    <a:lnTo>
                      <a:pt x="51" y="246"/>
                    </a:lnTo>
                    <a:lnTo>
                      <a:pt x="56" y="245"/>
                    </a:lnTo>
                    <a:lnTo>
                      <a:pt x="62" y="248"/>
                    </a:lnTo>
                    <a:lnTo>
                      <a:pt x="66" y="248"/>
                    </a:lnTo>
                    <a:lnTo>
                      <a:pt x="71" y="247"/>
                    </a:lnTo>
                    <a:lnTo>
                      <a:pt x="74" y="244"/>
                    </a:lnTo>
                    <a:lnTo>
                      <a:pt x="75" y="248"/>
                    </a:lnTo>
                    <a:lnTo>
                      <a:pt x="75" y="252"/>
                    </a:lnTo>
                    <a:lnTo>
                      <a:pt x="76" y="256"/>
                    </a:lnTo>
                    <a:lnTo>
                      <a:pt x="83" y="255"/>
                    </a:lnTo>
                    <a:lnTo>
                      <a:pt x="89" y="253"/>
                    </a:lnTo>
                    <a:lnTo>
                      <a:pt x="93" y="250"/>
                    </a:lnTo>
                    <a:lnTo>
                      <a:pt x="94" y="257"/>
                    </a:lnTo>
                    <a:lnTo>
                      <a:pt x="93" y="260"/>
                    </a:lnTo>
                    <a:lnTo>
                      <a:pt x="91" y="267"/>
                    </a:lnTo>
                    <a:lnTo>
                      <a:pt x="92" y="270"/>
                    </a:lnTo>
                    <a:lnTo>
                      <a:pt x="96" y="272"/>
                    </a:lnTo>
                    <a:lnTo>
                      <a:pt x="101" y="271"/>
                    </a:lnTo>
                    <a:lnTo>
                      <a:pt x="102" y="276"/>
                    </a:lnTo>
                    <a:lnTo>
                      <a:pt x="103" y="282"/>
                    </a:lnTo>
                    <a:lnTo>
                      <a:pt x="103" y="286"/>
                    </a:lnTo>
                    <a:lnTo>
                      <a:pt x="104" y="291"/>
                    </a:lnTo>
                    <a:lnTo>
                      <a:pt x="101" y="294"/>
                    </a:lnTo>
                    <a:lnTo>
                      <a:pt x="102" y="298"/>
                    </a:lnTo>
                    <a:lnTo>
                      <a:pt x="102" y="303"/>
                    </a:lnTo>
                    <a:lnTo>
                      <a:pt x="103" y="306"/>
                    </a:lnTo>
                    <a:lnTo>
                      <a:pt x="101" y="311"/>
                    </a:lnTo>
                    <a:lnTo>
                      <a:pt x="102" y="315"/>
                    </a:lnTo>
                    <a:lnTo>
                      <a:pt x="101" y="320"/>
                    </a:lnTo>
                    <a:lnTo>
                      <a:pt x="101" y="324"/>
                    </a:lnTo>
                    <a:lnTo>
                      <a:pt x="102" y="329"/>
                    </a:lnTo>
                    <a:lnTo>
                      <a:pt x="106" y="331"/>
                    </a:lnTo>
                    <a:lnTo>
                      <a:pt x="110" y="336"/>
                    </a:lnTo>
                    <a:lnTo>
                      <a:pt x="112" y="339"/>
                    </a:lnTo>
                    <a:lnTo>
                      <a:pt x="115" y="343"/>
                    </a:lnTo>
                    <a:lnTo>
                      <a:pt x="113" y="347"/>
                    </a:lnTo>
                    <a:lnTo>
                      <a:pt x="114" y="352"/>
                    </a:lnTo>
                    <a:lnTo>
                      <a:pt x="114" y="355"/>
                    </a:lnTo>
                    <a:lnTo>
                      <a:pt x="117" y="360"/>
                    </a:lnTo>
                    <a:lnTo>
                      <a:pt x="122" y="361"/>
                    </a:lnTo>
                    <a:lnTo>
                      <a:pt x="123" y="364"/>
                    </a:lnTo>
                    <a:lnTo>
                      <a:pt x="124" y="371"/>
                    </a:lnTo>
                    <a:lnTo>
                      <a:pt x="124" y="374"/>
                    </a:lnTo>
                    <a:lnTo>
                      <a:pt x="128" y="376"/>
                    </a:lnTo>
                    <a:lnTo>
                      <a:pt x="134" y="378"/>
                    </a:lnTo>
                    <a:lnTo>
                      <a:pt x="135" y="373"/>
                    </a:lnTo>
                    <a:lnTo>
                      <a:pt x="134" y="370"/>
                    </a:lnTo>
                    <a:lnTo>
                      <a:pt x="132" y="365"/>
                    </a:lnTo>
                    <a:lnTo>
                      <a:pt x="133" y="361"/>
                    </a:lnTo>
                    <a:lnTo>
                      <a:pt x="133" y="358"/>
                    </a:lnTo>
                    <a:lnTo>
                      <a:pt x="136" y="352"/>
                    </a:lnTo>
                    <a:lnTo>
                      <a:pt x="136" y="349"/>
                    </a:lnTo>
                    <a:lnTo>
                      <a:pt x="135" y="344"/>
                    </a:lnTo>
                    <a:lnTo>
                      <a:pt x="135" y="340"/>
                    </a:lnTo>
                    <a:lnTo>
                      <a:pt x="134" y="336"/>
                    </a:lnTo>
                    <a:lnTo>
                      <a:pt x="134" y="332"/>
                    </a:lnTo>
                    <a:lnTo>
                      <a:pt x="138" y="332"/>
                    </a:lnTo>
                    <a:lnTo>
                      <a:pt x="142" y="328"/>
                    </a:lnTo>
                    <a:lnTo>
                      <a:pt x="147" y="327"/>
                    </a:lnTo>
                    <a:lnTo>
                      <a:pt x="151" y="327"/>
                    </a:lnTo>
                    <a:lnTo>
                      <a:pt x="155" y="324"/>
                    </a:lnTo>
                    <a:lnTo>
                      <a:pt x="158" y="322"/>
                    </a:lnTo>
                    <a:lnTo>
                      <a:pt x="163" y="320"/>
                    </a:lnTo>
                    <a:lnTo>
                      <a:pt x="167" y="318"/>
                    </a:lnTo>
                    <a:lnTo>
                      <a:pt x="166" y="313"/>
                    </a:lnTo>
                    <a:lnTo>
                      <a:pt x="166" y="309"/>
                    </a:lnTo>
                    <a:lnTo>
                      <a:pt x="165" y="303"/>
                    </a:lnTo>
                    <a:lnTo>
                      <a:pt x="164" y="298"/>
                    </a:lnTo>
                    <a:lnTo>
                      <a:pt x="164" y="295"/>
                    </a:lnTo>
                    <a:lnTo>
                      <a:pt x="163" y="290"/>
                    </a:lnTo>
                    <a:lnTo>
                      <a:pt x="168" y="287"/>
                    </a:lnTo>
                    <a:lnTo>
                      <a:pt x="169" y="284"/>
                    </a:lnTo>
                    <a:lnTo>
                      <a:pt x="174" y="283"/>
                    </a:lnTo>
                    <a:lnTo>
                      <a:pt x="178" y="284"/>
                    </a:lnTo>
                    <a:lnTo>
                      <a:pt x="183" y="283"/>
                    </a:lnTo>
                    <a:lnTo>
                      <a:pt x="187" y="283"/>
                    </a:lnTo>
                    <a:lnTo>
                      <a:pt x="192" y="281"/>
                    </a:lnTo>
                    <a:lnTo>
                      <a:pt x="196" y="281"/>
                    </a:lnTo>
                    <a:lnTo>
                      <a:pt x="201" y="280"/>
                    </a:lnTo>
                    <a:lnTo>
                      <a:pt x="205" y="277"/>
                    </a:lnTo>
                    <a:lnTo>
                      <a:pt x="210" y="277"/>
                    </a:lnTo>
                    <a:lnTo>
                      <a:pt x="213" y="273"/>
                    </a:lnTo>
                    <a:lnTo>
                      <a:pt x="218" y="271"/>
                    </a:lnTo>
                    <a:lnTo>
                      <a:pt x="219" y="266"/>
                    </a:lnTo>
                    <a:lnTo>
                      <a:pt x="221" y="262"/>
                    </a:lnTo>
                    <a:lnTo>
                      <a:pt x="223" y="258"/>
                    </a:lnTo>
                    <a:lnTo>
                      <a:pt x="223" y="252"/>
                    </a:lnTo>
                    <a:lnTo>
                      <a:pt x="224" y="247"/>
                    </a:lnTo>
                    <a:lnTo>
                      <a:pt x="223" y="243"/>
                    </a:lnTo>
                    <a:lnTo>
                      <a:pt x="227" y="236"/>
                    </a:lnTo>
                    <a:lnTo>
                      <a:pt x="231" y="231"/>
                    </a:lnTo>
                    <a:lnTo>
                      <a:pt x="235" y="231"/>
                    </a:lnTo>
                    <a:lnTo>
                      <a:pt x="239" y="230"/>
                    </a:lnTo>
                    <a:lnTo>
                      <a:pt x="243" y="232"/>
                    </a:lnTo>
                    <a:lnTo>
                      <a:pt x="244" y="237"/>
                    </a:lnTo>
                    <a:lnTo>
                      <a:pt x="249" y="238"/>
                    </a:lnTo>
                    <a:lnTo>
                      <a:pt x="251" y="241"/>
                    </a:lnTo>
                    <a:lnTo>
                      <a:pt x="254" y="245"/>
                    </a:lnTo>
                    <a:lnTo>
                      <a:pt x="259" y="245"/>
                    </a:lnTo>
                    <a:lnTo>
                      <a:pt x="263" y="246"/>
                    </a:lnTo>
                    <a:lnTo>
                      <a:pt x="268" y="244"/>
                    </a:lnTo>
                    <a:lnTo>
                      <a:pt x="272" y="245"/>
                    </a:lnTo>
                    <a:lnTo>
                      <a:pt x="279" y="245"/>
                    </a:lnTo>
                    <a:lnTo>
                      <a:pt x="284" y="246"/>
                    </a:lnTo>
                    <a:lnTo>
                      <a:pt x="285" y="251"/>
                    </a:lnTo>
                    <a:lnTo>
                      <a:pt x="286" y="255"/>
                    </a:lnTo>
                    <a:lnTo>
                      <a:pt x="288" y="259"/>
                    </a:lnTo>
                    <a:lnTo>
                      <a:pt x="292" y="261"/>
                    </a:lnTo>
                    <a:lnTo>
                      <a:pt x="296" y="265"/>
                    </a:lnTo>
                    <a:lnTo>
                      <a:pt x="298" y="268"/>
                    </a:lnTo>
                    <a:lnTo>
                      <a:pt x="302" y="267"/>
                    </a:lnTo>
                    <a:lnTo>
                      <a:pt x="317" y="266"/>
                    </a:lnTo>
                    <a:lnTo>
                      <a:pt x="308" y="260"/>
                    </a:lnTo>
                    <a:lnTo>
                      <a:pt x="320" y="264"/>
                    </a:lnTo>
                    <a:lnTo>
                      <a:pt x="325" y="260"/>
                    </a:lnTo>
                    <a:lnTo>
                      <a:pt x="318" y="247"/>
                    </a:lnTo>
                    <a:lnTo>
                      <a:pt x="322" y="244"/>
                    </a:lnTo>
                    <a:lnTo>
                      <a:pt x="324" y="239"/>
                    </a:lnTo>
                    <a:lnTo>
                      <a:pt x="325" y="236"/>
                    </a:lnTo>
                    <a:lnTo>
                      <a:pt x="325" y="231"/>
                    </a:lnTo>
                    <a:lnTo>
                      <a:pt x="327" y="228"/>
                    </a:lnTo>
                    <a:lnTo>
                      <a:pt x="330" y="222"/>
                    </a:lnTo>
                    <a:lnTo>
                      <a:pt x="335" y="222"/>
                    </a:lnTo>
                    <a:lnTo>
                      <a:pt x="331" y="218"/>
                    </a:lnTo>
                    <a:lnTo>
                      <a:pt x="327" y="215"/>
                    </a:lnTo>
                    <a:lnTo>
                      <a:pt x="322" y="211"/>
                    </a:lnTo>
                    <a:lnTo>
                      <a:pt x="318" y="210"/>
                    </a:lnTo>
                    <a:lnTo>
                      <a:pt x="317" y="205"/>
                    </a:lnTo>
                    <a:lnTo>
                      <a:pt x="317" y="202"/>
                    </a:lnTo>
                    <a:lnTo>
                      <a:pt x="318" y="197"/>
                    </a:lnTo>
                    <a:lnTo>
                      <a:pt x="323" y="194"/>
                    </a:lnTo>
                    <a:lnTo>
                      <a:pt x="325" y="191"/>
                    </a:lnTo>
                    <a:lnTo>
                      <a:pt x="330" y="190"/>
                    </a:lnTo>
                    <a:lnTo>
                      <a:pt x="332" y="185"/>
                    </a:lnTo>
                    <a:lnTo>
                      <a:pt x="336" y="184"/>
                    </a:lnTo>
                    <a:lnTo>
                      <a:pt x="340" y="183"/>
                    </a:lnTo>
                    <a:lnTo>
                      <a:pt x="344" y="183"/>
                    </a:lnTo>
                    <a:lnTo>
                      <a:pt x="351" y="180"/>
                    </a:lnTo>
                    <a:lnTo>
                      <a:pt x="356" y="179"/>
                    </a:lnTo>
                    <a:lnTo>
                      <a:pt x="358" y="175"/>
                    </a:lnTo>
                    <a:lnTo>
                      <a:pt x="359" y="171"/>
                    </a:lnTo>
                    <a:lnTo>
                      <a:pt x="358" y="166"/>
                    </a:lnTo>
                    <a:lnTo>
                      <a:pt x="360" y="163"/>
                    </a:lnTo>
                    <a:lnTo>
                      <a:pt x="359" y="158"/>
                    </a:lnTo>
                    <a:lnTo>
                      <a:pt x="362" y="153"/>
                    </a:lnTo>
                    <a:lnTo>
                      <a:pt x="363" y="150"/>
                    </a:lnTo>
                    <a:lnTo>
                      <a:pt x="361" y="145"/>
                    </a:lnTo>
                    <a:lnTo>
                      <a:pt x="371" y="143"/>
                    </a:lnTo>
                    <a:lnTo>
                      <a:pt x="352" y="147"/>
                    </a:lnTo>
                    <a:lnTo>
                      <a:pt x="353" y="135"/>
                    </a:lnTo>
                    <a:lnTo>
                      <a:pt x="346" y="129"/>
                    </a:lnTo>
                    <a:lnTo>
                      <a:pt x="343" y="129"/>
                    </a:lnTo>
                    <a:lnTo>
                      <a:pt x="338" y="133"/>
                    </a:lnTo>
                    <a:lnTo>
                      <a:pt x="334" y="134"/>
                    </a:lnTo>
                    <a:lnTo>
                      <a:pt x="329" y="135"/>
                    </a:lnTo>
                    <a:lnTo>
                      <a:pt x="326" y="131"/>
                    </a:lnTo>
                    <a:lnTo>
                      <a:pt x="326" y="127"/>
                    </a:lnTo>
                    <a:lnTo>
                      <a:pt x="325" y="123"/>
                    </a:lnTo>
                    <a:lnTo>
                      <a:pt x="321" y="123"/>
                    </a:lnTo>
                    <a:lnTo>
                      <a:pt x="316" y="124"/>
                    </a:lnTo>
                    <a:lnTo>
                      <a:pt x="313" y="124"/>
                    </a:lnTo>
                    <a:lnTo>
                      <a:pt x="309" y="127"/>
                    </a:lnTo>
                    <a:lnTo>
                      <a:pt x="302" y="128"/>
                    </a:lnTo>
                    <a:lnTo>
                      <a:pt x="298" y="129"/>
                    </a:lnTo>
                    <a:lnTo>
                      <a:pt x="293" y="129"/>
                    </a:lnTo>
                    <a:lnTo>
                      <a:pt x="289" y="130"/>
                    </a:lnTo>
                    <a:lnTo>
                      <a:pt x="284" y="130"/>
                    </a:lnTo>
                    <a:lnTo>
                      <a:pt x="280" y="131"/>
                    </a:lnTo>
                    <a:lnTo>
                      <a:pt x="274" y="128"/>
                    </a:lnTo>
                    <a:lnTo>
                      <a:pt x="277" y="123"/>
                    </a:lnTo>
                    <a:lnTo>
                      <a:pt x="272" y="124"/>
                    </a:lnTo>
                    <a:lnTo>
                      <a:pt x="268" y="125"/>
                    </a:lnTo>
                    <a:lnTo>
                      <a:pt x="263" y="125"/>
                    </a:lnTo>
                    <a:lnTo>
                      <a:pt x="259" y="126"/>
                    </a:lnTo>
                    <a:lnTo>
                      <a:pt x="254" y="126"/>
                    </a:lnTo>
                    <a:lnTo>
                      <a:pt x="249" y="127"/>
                    </a:lnTo>
                    <a:lnTo>
                      <a:pt x="245" y="128"/>
                    </a:lnTo>
                    <a:lnTo>
                      <a:pt x="240" y="128"/>
                    </a:lnTo>
                    <a:lnTo>
                      <a:pt x="236" y="127"/>
                    </a:lnTo>
                    <a:lnTo>
                      <a:pt x="237" y="123"/>
                    </a:lnTo>
                    <a:lnTo>
                      <a:pt x="234" y="123"/>
                    </a:lnTo>
                    <a:lnTo>
                      <a:pt x="229" y="124"/>
                    </a:lnTo>
                    <a:lnTo>
                      <a:pt x="222" y="125"/>
                    </a:lnTo>
                    <a:lnTo>
                      <a:pt x="219" y="125"/>
                    </a:lnTo>
                    <a:lnTo>
                      <a:pt x="215" y="126"/>
                    </a:lnTo>
                    <a:lnTo>
                      <a:pt x="210" y="128"/>
                    </a:lnTo>
                    <a:lnTo>
                      <a:pt x="209" y="133"/>
                    </a:lnTo>
                    <a:lnTo>
                      <a:pt x="200" y="129"/>
                    </a:lnTo>
                    <a:lnTo>
                      <a:pt x="196" y="125"/>
                    </a:lnTo>
                    <a:lnTo>
                      <a:pt x="205" y="131"/>
                    </a:lnTo>
                    <a:lnTo>
                      <a:pt x="200" y="129"/>
                    </a:lnTo>
                    <a:lnTo>
                      <a:pt x="196" y="119"/>
                    </a:lnTo>
                    <a:lnTo>
                      <a:pt x="194" y="128"/>
                    </a:lnTo>
                    <a:lnTo>
                      <a:pt x="193" y="128"/>
                    </a:lnTo>
                    <a:lnTo>
                      <a:pt x="197" y="125"/>
                    </a:lnTo>
                    <a:lnTo>
                      <a:pt x="196" y="126"/>
                    </a:lnTo>
                    <a:lnTo>
                      <a:pt x="192" y="129"/>
                    </a:lnTo>
                    <a:lnTo>
                      <a:pt x="193" y="125"/>
                    </a:lnTo>
                    <a:lnTo>
                      <a:pt x="191" y="121"/>
                    </a:lnTo>
                    <a:lnTo>
                      <a:pt x="190" y="116"/>
                    </a:lnTo>
                    <a:lnTo>
                      <a:pt x="189" y="110"/>
                    </a:lnTo>
                    <a:lnTo>
                      <a:pt x="189" y="106"/>
                    </a:lnTo>
                    <a:lnTo>
                      <a:pt x="188" y="101"/>
                    </a:lnTo>
                    <a:lnTo>
                      <a:pt x="183" y="101"/>
                    </a:lnTo>
                    <a:lnTo>
                      <a:pt x="181" y="97"/>
                    </a:lnTo>
                    <a:lnTo>
                      <a:pt x="177" y="97"/>
                    </a:lnTo>
                    <a:lnTo>
                      <a:pt x="176" y="93"/>
                    </a:lnTo>
                    <a:lnTo>
                      <a:pt x="173" y="90"/>
                    </a:lnTo>
                    <a:lnTo>
                      <a:pt x="177" y="87"/>
                    </a:lnTo>
                    <a:lnTo>
                      <a:pt x="181" y="87"/>
                    </a:lnTo>
                    <a:lnTo>
                      <a:pt x="183" y="81"/>
                    </a:lnTo>
                    <a:lnTo>
                      <a:pt x="187" y="79"/>
                    </a:lnTo>
                    <a:lnTo>
                      <a:pt x="187" y="76"/>
                    </a:lnTo>
                    <a:lnTo>
                      <a:pt x="186" y="71"/>
                    </a:lnTo>
                    <a:lnTo>
                      <a:pt x="187" y="66"/>
                    </a:lnTo>
                    <a:lnTo>
                      <a:pt x="192" y="65"/>
                    </a:lnTo>
                    <a:lnTo>
                      <a:pt x="198" y="67"/>
                    </a:lnTo>
                    <a:lnTo>
                      <a:pt x="202" y="67"/>
                    </a:lnTo>
                    <a:lnTo>
                      <a:pt x="207" y="66"/>
                    </a:lnTo>
                    <a:lnTo>
                      <a:pt x="211" y="66"/>
                    </a:lnTo>
                    <a:lnTo>
                      <a:pt x="210" y="62"/>
                    </a:lnTo>
                    <a:lnTo>
                      <a:pt x="208" y="58"/>
                    </a:lnTo>
                    <a:lnTo>
                      <a:pt x="209" y="53"/>
                    </a:lnTo>
                    <a:lnTo>
                      <a:pt x="208" y="50"/>
                    </a:lnTo>
                    <a:lnTo>
                      <a:pt x="211" y="44"/>
                    </a:lnTo>
                    <a:lnTo>
                      <a:pt x="213" y="40"/>
                    </a:lnTo>
                    <a:lnTo>
                      <a:pt x="215" y="37"/>
                    </a:lnTo>
                    <a:lnTo>
                      <a:pt x="214" y="32"/>
                    </a:lnTo>
                    <a:lnTo>
                      <a:pt x="213" y="27"/>
                    </a:lnTo>
                    <a:lnTo>
                      <a:pt x="218" y="29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1" name="Freeform 66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2215626" y="3612826"/>
                <a:ext cx="347949" cy="260767"/>
              </a:xfrm>
              <a:custGeom>
                <a:avLst/>
                <a:gdLst>
                  <a:gd name="T0" fmla="*/ 2147483647 w 281"/>
                  <a:gd name="T1" fmla="*/ 2147483647 h 219"/>
                  <a:gd name="T2" fmla="*/ 2147483647 w 281"/>
                  <a:gd name="T3" fmla="*/ 2147483647 h 219"/>
                  <a:gd name="T4" fmla="*/ 2147483647 w 281"/>
                  <a:gd name="T5" fmla="*/ 2147483647 h 219"/>
                  <a:gd name="T6" fmla="*/ 2147483647 w 281"/>
                  <a:gd name="T7" fmla="*/ 2147483647 h 219"/>
                  <a:gd name="T8" fmla="*/ 2147483647 w 281"/>
                  <a:gd name="T9" fmla="*/ 2147483647 h 219"/>
                  <a:gd name="T10" fmla="*/ 2147483647 w 281"/>
                  <a:gd name="T11" fmla="*/ 2147483647 h 219"/>
                  <a:gd name="T12" fmla="*/ 2147483647 w 281"/>
                  <a:gd name="T13" fmla="*/ 2147483647 h 219"/>
                  <a:gd name="T14" fmla="*/ 2147483647 w 281"/>
                  <a:gd name="T15" fmla="*/ 2147483647 h 219"/>
                  <a:gd name="T16" fmla="*/ 2147483647 w 281"/>
                  <a:gd name="T17" fmla="*/ 2147483647 h 219"/>
                  <a:gd name="T18" fmla="*/ 2147483647 w 281"/>
                  <a:gd name="T19" fmla="*/ 2147483647 h 219"/>
                  <a:gd name="T20" fmla="*/ 0 w 281"/>
                  <a:gd name="T21" fmla="*/ 2147483647 h 219"/>
                  <a:gd name="T22" fmla="*/ 2147483647 w 281"/>
                  <a:gd name="T23" fmla="*/ 2147483647 h 219"/>
                  <a:gd name="T24" fmla="*/ 2147483647 w 281"/>
                  <a:gd name="T25" fmla="*/ 2147483647 h 219"/>
                  <a:gd name="T26" fmla="*/ 2147483647 w 281"/>
                  <a:gd name="T27" fmla="*/ 2147483647 h 219"/>
                  <a:gd name="T28" fmla="*/ 2147483647 w 281"/>
                  <a:gd name="T29" fmla="*/ 2147483647 h 219"/>
                  <a:gd name="T30" fmla="*/ 2147483647 w 281"/>
                  <a:gd name="T31" fmla="*/ 2147483647 h 219"/>
                  <a:gd name="T32" fmla="*/ 2147483647 w 281"/>
                  <a:gd name="T33" fmla="*/ 2147483647 h 219"/>
                  <a:gd name="T34" fmla="*/ 2147483647 w 281"/>
                  <a:gd name="T35" fmla="*/ 2147483647 h 219"/>
                  <a:gd name="T36" fmla="*/ 2147483647 w 281"/>
                  <a:gd name="T37" fmla="*/ 2147483647 h 219"/>
                  <a:gd name="T38" fmla="*/ 2147483647 w 281"/>
                  <a:gd name="T39" fmla="*/ 2147483647 h 219"/>
                  <a:gd name="T40" fmla="*/ 2147483647 w 281"/>
                  <a:gd name="T41" fmla="*/ 2147483647 h 219"/>
                  <a:gd name="T42" fmla="*/ 2147483647 w 281"/>
                  <a:gd name="T43" fmla="*/ 2147483647 h 219"/>
                  <a:gd name="T44" fmla="*/ 2147483647 w 281"/>
                  <a:gd name="T45" fmla="*/ 2147483647 h 219"/>
                  <a:gd name="T46" fmla="*/ 2147483647 w 281"/>
                  <a:gd name="T47" fmla="*/ 2147483647 h 219"/>
                  <a:gd name="T48" fmla="*/ 2147483647 w 281"/>
                  <a:gd name="T49" fmla="*/ 2147483647 h 219"/>
                  <a:gd name="T50" fmla="*/ 2147483647 w 281"/>
                  <a:gd name="T51" fmla="*/ 2147483647 h 219"/>
                  <a:gd name="T52" fmla="*/ 2147483647 w 281"/>
                  <a:gd name="T53" fmla="*/ 2147483647 h 219"/>
                  <a:gd name="T54" fmla="*/ 2147483647 w 281"/>
                  <a:gd name="T55" fmla="*/ 2147483647 h 219"/>
                  <a:gd name="T56" fmla="*/ 2147483647 w 281"/>
                  <a:gd name="T57" fmla="*/ 2147483647 h 219"/>
                  <a:gd name="T58" fmla="*/ 2147483647 w 281"/>
                  <a:gd name="T59" fmla="*/ 2147483647 h 219"/>
                  <a:gd name="T60" fmla="*/ 2147483647 w 281"/>
                  <a:gd name="T61" fmla="*/ 2147483647 h 219"/>
                  <a:gd name="T62" fmla="*/ 2147483647 w 281"/>
                  <a:gd name="T63" fmla="*/ 2147483647 h 219"/>
                  <a:gd name="T64" fmla="*/ 2147483647 w 281"/>
                  <a:gd name="T65" fmla="*/ 2147483647 h 219"/>
                  <a:gd name="T66" fmla="*/ 2147483647 w 281"/>
                  <a:gd name="T67" fmla="*/ 2147483647 h 219"/>
                  <a:gd name="T68" fmla="*/ 2147483647 w 281"/>
                  <a:gd name="T69" fmla="*/ 2147483647 h 219"/>
                  <a:gd name="T70" fmla="*/ 2147483647 w 281"/>
                  <a:gd name="T71" fmla="*/ 2147483647 h 219"/>
                  <a:gd name="T72" fmla="*/ 2147483647 w 281"/>
                  <a:gd name="T73" fmla="*/ 2147483647 h 219"/>
                  <a:gd name="T74" fmla="*/ 2147483647 w 281"/>
                  <a:gd name="T75" fmla="*/ 2147483647 h 219"/>
                  <a:gd name="T76" fmla="*/ 2147483647 w 281"/>
                  <a:gd name="T77" fmla="*/ 2147483647 h 219"/>
                  <a:gd name="T78" fmla="*/ 2147483647 w 281"/>
                  <a:gd name="T79" fmla="*/ 2147483647 h 219"/>
                  <a:gd name="T80" fmla="*/ 2147483647 w 281"/>
                  <a:gd name="T81" fmla="*/ 2147483647 h 219"/>
                  <a:gd name="T82" fmla="*/ 2147483647 w 281"/>
                  <a:gd name="T83" fmla="*/ 2147483647 h 219"/>
                  <a:gd name="T84" fmla="*/ 2147483647 w 281"/>
                  <a:gd name="T85" fmla="*/ 2147483647 h 219"/>
                  <a:gd name="T86" fmla="*/ 2147483647 w 281"/>
                  <a:gd name="T87" fmla="*/ 2147483647 h 219"/>
                  <a:gd name="T88" fmla="*/ 2147483647 w 281"/>
                  <a:gd name="T89" fmla="*/ 2147483647 h 219"/>
                  <a:gd name="T90" fmla="*/ 2147483647 w 281"/>
                  <a:gd name="T91" fmla="*/ 2147483647 h 219"/>
                  <a:gd name="T92" fmla="*/ 2147483647 w 281"/>
                  <a:gd name="T93" fmla="*/ 2147483647 h 219"/>
                  <a:gd name="T94" fmla="*/ 2147483647 w 281"/>
                  <a:gd name="T95" fmla="*/ 2147483647 h 219"/>
                  <a:gd name="T96" fmla="*/ 2147483647 w 281"/>
                  <a:gd name="T97" fmla="*/ 2147483647 h 219"/>
                  <a:gd name="T98" fmla="*/ 2147483647 w 281"/>
                  <a:gd name="T99" fmla="*/ 2147483647 h 21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81"/>
                  <a:gd name="T151" fmla="*/ 0 h 219"/>
                  <a:gd name="T152" fmla="*/ 281 w 281"/>
                  <a:gd name="T153" fmla="*/ 219 h 21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81" h="219">
                    <a:moveTo>
                      <a:pt x="170" y="20"/>
                    </a:moveTo>
                    <a:lnTo>
                      <a:pt x="168" y="15"/>
                    </a:lnTo>
                    <a:lnTo>
                      <a:pt x="164" y="13"/>
                    </a:lnTo>
                    <a:lnTo>
                      <a:pt x="160" y="8"/>
                    </a:lnTo>
                    <a:lnTo>
                      <a:pt x="154" y="5"/>
                    </a:lnTo>
                    <a:lnTo>
                      <a:pt x="152" y="2"/>
                    </a:lnTo>
                    <a:lnTo>
                      <a:pt x="148" y="3"/>
                    </a:lnTo>
                    <a:lnTo>
                      <a:pt x="143" y="1"/>
                    </a:lnTo>
                    <a:lnTo>
                      <a:pt x="139" y="1"/>
                    </a:lnTo>
                    <a:lnTo>
                      <a:pt x="133" y="0"/>
                    </a:lnTo>
                    <a:lnTo>
                      <a:pt x="126" y="1"/>
                    </a:lnTo>
                    <a:lnTo>
                      <a:pt x="122" y="1"/>
                    </a:lnTo>
                    <a:lnTo>
                      <a:pt x="118" y="2"/>
                    </a:lnTo>
                    <a:lnTo>
                      <a:pt x="114" y="3"/>
                    </a:lnTo>
                    <a:lnTo>
                      <a:pt x="107" y="3"/>
                    </a:lnTo>
                    <a:lnTo>
                      <a:pt x="102" y="4"/>
                    </a:lnTo>
                    <a:lnTo>
                      <a:pt x="98" y="5"/>
                    </a:lnTo>
                    <a:lnTo>
                      <a:pt x="93" y="5"/>
                    </a:lnTo>
                    <a:lnTo>
                      <a:pt x="89" y="6"/>
                    </a:lnTo>
                    <a:lnTo>
                      <a:pt x="82" y="7"/>
                    </a:lnTo>
                    <a:lnTo>
                      <a:pt x="75" y="8"/>
                    </a:lnTo>
                    <a:lnTo>
                      <a:pt x="71" y="8"/>
                    </a:lnTo>
                    <a:lnTo>
                      <a:pt x="66" y="9"/>
                    </a:lnTo>
                    <a:lnTo>
                      <a:pt x="61" y="10"/>
                    </a:lnTo>
                    <a:lnTo>
                      <a:pt x="54" y="11"/>
                    </a:lnTo>
                    <a:lnTo>
                      <a:pt x="47" y="11"/>
                    </a:lnTo>
                    <a:lnTo>
                      <a:pt x="43" y="12"/>
                    </a:lnTo>
                    <a:lnTo>
                      <a:pt x="44" y="17"/>
                    </a:lnTo>
                    <a:lnTo>
                      <a:pt x="39" y="19"/>
                    </a:lnTo>
                    <a:lnTo>
                      <a:pt x="38" y="23"/>
                    </a:lnTo>
                    <a:lnTo>
                      <a:pt x="40" y="28"/>
                    </a:lnTo>
                    <a:lnTo>
                      <a:pt x="37" y="30"/>
                    </a:lnTo>
                    <a:lnTo>
                      <a:pt x="32" y="31"/>
                    </a:lnTo>
                    <a:lnTo>
                      <a:pt x="25" y="32"/>
                    </a:lnTo>
                    <a:lnTo>
                      <a:pt x="21" y="33"/>
                    </a:lnTo>
                    <a:lnTo>
                      <a:pt x="20" y="38"/>
                    </a:lnTo>
                    <a:lnTo>
                      <a:pt x="22" y="42"/>
                    </a:lnTo>
                    <a:lnTo>
                      <a:pt x="25" y="46"/>
                    </a:lnTo>
                    <a:lnTo>
                      <a:pt x="21" y="50"/>
                    </a:lnTo>
                    <a:lnTo>
                      <a:pt x="16" y="53"/>
                    </a:lnTo>
                    <a:lnTo>
                      <a:pt x="13" y="58"/>
                    </a:lnTo>
                    <a:lnTo>
                      <a:pt x="8" y="60"/>
                    </a:lnTo>
                    <a:lnTo>
                      <a:pt x="4" y="61"/>
                    </a:lnTo>
                    <a:lnTo>
                      <a:pt x="0" y="63"/>
                    </a:lnTo>
                    <a:lnTo>
                      <a:pt x="0" y="68"/>
                    </a:lnTo>
                    <a:lnTo>
                      <a:pt x="6" y="71"/>
                    </a:lnTo>
                    <a:lnTo>
                      <a:pt x="10" y="75"/>
                    </a:lnTo>
                    <a:lnTo>
                      <a:pt x="15" y="74"/>
                    </a:lnTo>
                    <a:lnTo>
                      <a:pt x="18" y="78"/>
                    </a:lnTo>
                    <a:lnTo>
                      <a:pt x="22" y="79"/>
                    </a:lnTo>
                    <a:lnTo>
                      <a:pt x="26" y="83"/>
                    </a:lnTo>
                    <a:lnTo>
                      <a:pt x="28" y="87"/>
                    </a:lnTo>
                    <a:lnTo>
                      <a:pt x="32" y="89"/>
                    </a:lnTo>
                    <a:lnTo>
                      <a:pt x="37" y="88"/>
                    </a:lnTo>
                    <a:lnTo>
                      <a:pt x="41" y="85"/>
                    </a:lnTo>
                    <a:lnTo>
                      <a:pt x="46" y="84"/>
                    </a:lnTo>
                    <a:lnTo>
                      <a:pt x="50" y="87"/>
                    </a:lnTo>
                    <a:lnTo>
                      <a:pt x="54" y="89"/>
                    </a:lnTo>
                    <a:lnTo>
                      <a:pt x="56" y="93"/>
                    </a:lnTo>
                    <a:lnTo>
                      <a:pt x="57" y="98"/>
                    </a:lnTo>
                    <a:lnTo>
                      <a:pt x="57" y="101"/>
                    </a:lnTo>
                    <a:lnTo>
                      <a:pt x="60" y="108"/>
                    </a:lnTo>
                    <a:lnTo>
                      <a:pt x="63" y="113"/>
                    </a:lnTo>
                    <a:lnTo>
                      <a:pt x="66" y="117"/>
                    </a:lnTo>
                    <a:lnTo>
                      <a:pt x="67" y="123"/>
                    </a:lnTo>
                    <a:lnTo>
                      <a:pt x="68" y="128"/>
                    </a:lnTo>
                    <a:lnTo>
                      <a:pt x="70" y="131"/>
                    </a:lnTo>
                    <a:lnTo>
                      <a:pt x="71" y="134"/>
                    </a:lnTo>
                    <a:lnTo>
                      <a:pt x="73" y="139"/>
                    </a:lnTo>
                    <a:lnTo>
                      <a:pt x="78" y="138"/>
                    </a:lnTo>
                    <a:lnTo>
                      <a:pt x="82" y="140"/>
                    </a:lnTo>
                    <a:lnTo>
                      <a:pt x="87" y="141"/>
                    </a:lnTo>
                    <a:lnTo>
                      <a:pt x="91" y="144"/>
                    </a:lnTo>
                    <a:lnTo>
                      <a:pt x="96" y="144"/>
                    </a:lnTo>
                    <a:lnTo>
                      <a:pt x="103" y="147"/>
                    </a:lnTo>
                    <a:lnTo>
                      <a:pt x="108" y="150"/>
                    </a:lnTo>
                    <a:lnTo>
                      <a:pt x="112" y="149"/>
                    </a:lnTo>
                    <a:lnTo>
                      <a:pt x="111" y="144"/>
                    </a:lnTo>
                    <a:lnTo>
                      <a:pt x="116" y="141"/>
                    </a:lnTo>
                    <a:lnTo>
                      <a:pt x="120" y="143"/>
                    </a:lnTo>
                    <a:lnTo>
                      <a:pt x="125" y="142"/>
                    </a:lnTo>
                    <a:lnTo>
                      <a:pt x="130" y="142"/>
                    </a:lnTo>
                    <a:lnTo>
                      <a:pt x="134" y="143"/>
                    </a:lnTo>
                    <a:lnTo>
                      <a:pt x="137" y="148"/>
                    </a:lnTo>
                    <a:lnTo>
                      <a:pt x="141" y="150"/>
                    </a:lnTo>
                    <a:lnTo>
                      <a:pt x="145" y="153"/>
                    </a:lnTo>
                    <a:lnTo>
                      <a:pt x="147" y="156"/>
                    </a:lnTo>
                    <a:lnTo>
                      <a:pt x="148" y="159"/>
                    </a:lnTo>
                    <a:lnTo>
                      <a:pt x="148" y="164"/>
                    </a:lnTo>
                    <a:lnTo>
                      <a:pt x="149" y="169"/>
                    </a:lnTo>
                    <a:lnTo>
                      <a:pt x="150" y="172"/>
                    </a:lnTo>
                    <a:lnTo>
                      <a:pt x="155" y="176"/>
                    </a:lnTo>
                    <a:lnTo>
                      <a:pt x="159" y="175"/>
                    </a:lnTo>
                    <a:lnTo>
                      <a:pt x="164" y="174"/>
                    </a:lnTo>
                    <a:lnTo>
                      <a:pt x="168" y="177"/>
                    </a:lnTo>
                    <a:lnTo>
                      <a:pt x="169" y="181"/>
                    </a:lnTo>
                    <a:lnTo>
                      <a:pt x="169" y="185"/>
                    </a:lnTo>
                    <a:lnTo>
                      <a:pt x="173" y="188"/>
                    </a:lnTo>
                    <a:lnTo>
                      <a:pt x="174" y="193"/>
                    </a:lnTo>
                    <a:lnTo>
                      <a:pt x="176" y="198"/>
                    </a:lnTo>
                    <a:lnTo>
                      <a:pt x="177" y="203"/>
                    </a:lnTo>
                    <a:lnTo>
                      <a:pt x="179" y="206"/>
                    </a:lnTo>
                    <a:lnTo>
                      <a:pt x="180" y="211"/>
                    </a:lnTo>
                    <a:lnTo>
                      <a:pt x="180" y="214"/>
                    </a:lnTo>
                    <a:lnTo>
                      <a:pt x="183" y="218"/>
                    </a:lnTo>
                    <a:lnTo>
                      <a:pt x="188" y="219"/>
                    </a:lnTo>
                    <a:lnTo>
                      <a:pt x="192" y="217"/>
                    </a:lnTo>
                    <a:lnTo>
                      <a:pt x="196" y="213"/>
                    </a:lnTo>
                    <a:lnTo>
                      <a:pt x="196" y="210"/>
                    </a:lnTo>
                    <a:lnTo>
                      <a:pt x="193" y="206"/>
                    </a:lnTo>
                    <a:lnTo>
                      <a:pt x="197" y="201"/>
                    </a:lnTo>
                    <a:lnTo>
                      <a:pt x="201" y="198"/>
                    </a:lnTo>
                    <a:lnTo>
                      <a:pt x="205" y="194"/>
                    </a:lnTo>
                    <a:lnTo>
                      <a:pt x="210" y="191"/>
                    </a:lnTo>
                    <a:lnTo>
                      <a:pt x="209" y="188"/>
                    </a:lnTo>
                    <a:lnTo>
                      <a:pt x="211" y="183"/>
                    </a:lnTo>
                    <a:lnTo>
                      <a:pt x="215" y="181"/>
                    </a:lnTo>
                    <a:lnTo>
                      <a:pt x="219" y="178"/>
                    </a:lnTo>
                    <a:lnTo>
                      <a:pt x="221" y="175"/>
                    </a:lnTo>
                    <a:lnTo>
                      <a:pt x="226" y="173"/>
                    </a:lnTo>
                    <a:lnTo>
                      <a:pt x="226" y="169"/>
                    </a:lnTo>
                    <a:lnTo>
                      <a:pt x="223" y="164"/>
                    </a:lnTo>
                    <a:lnTo>
                      <a:pt x="219" y="162"/>
                    </a:lnTo>
                    <a:lnTo>
                      <a:pt x="216" y="157"/>
                    </a:lnTo>
                    <a:lnTo>
                      <a:pt x="216" y="153"/>
                    </a:lnTo>
                    <a:lnTo>
                      <a:pt x="218" y="149"/>
                    </a:lnTo>
                    <a:lnTo>
                      <a:pt x="223" y="148"/>
                    </a:lnTo>
                    <a:lnTo>
                      <a:pt x="227" y="146"/>
                    </a:lnTo>
                    <a:lnTo>
                      <a:pt x="232" y="145"/>
                    </a:lnTo>
                    <a:lnTo>
                      <a:pt x="239" y="144"/>
                    </a:lnTo>
                    <a:lnTo>
                      <a:pt x="243" y="144"/>
                    </a:lnTo>
                    <a:lnTo>
                      <a:pt x="247" y="143"/>
                    </a:lnTo>
                    <a:lnTo>
                      <a:pt x="251" y="140"/>
                    </a:lnTo>
                    <a:lnTo>
                      <a:pt x="256" y="140"/>
                    </a:lnTo>
                    <a:lnTo>
                      <a:pt x="260" y="137"/>
                    </a:lnTo>
                    <a:lnTo>
                      <a:pt x="265" y="137"/>
                    </a:lnTo>
                    <a:lnTo>
                      <a:pt x="268" y="133"/>
                    </a:lnTo>
                    <a:lnTo>
                      <a:pt x="273" y="132"/>
                    </a:lnTo>
                    <a:lnTo>
                      <a:pt x="277" y="132"/>
                    </a:lnTo>
                    <a:lnTo>
                      <a:pt x="280" y="128"/>
                    </a:lnTo>
                    <a:lnTo>
                      <a:pt x="281" y="123"/>
                    </a:lnTo>
                    <a:lnTo>
                      <a:pt x="276" y="122"/>
                    </a:lnTo>
                    <a:lnTo>
                      <a:pt x="274" y="119"/>
                    </a:lnTo>
                    <a:lnTo>
                      <a:pt x="271" y="115"/>
                    </a:lnTo>
                    <a:lnTo>
                      <a:pt x="270" y="111"/>
                    </a:lnTo>
                    <a:lnTo>
                      <a:pt x="270" y="107"/>
                    </a:lnTo>
                    <a:lnTo>
                      <a:pt x="269" y="103"/>
                    </a:lnTo>
                    <a:lnTo>
                      <a:pt x="264" y="103"/>
                    </a:lnTo>
                    <a:lnTo>
                      <a:pt x="262" y="99"/>
                    </a:lnTo>
                    <a:lnTo>
                      <a:pt x="257" y="97"/>
                    </a:lnTo>
                    <a:lnTo>
                      <a:pt x="253" y="98"/>
                    </a:lnTo>
                    <a:lnTo>
                      <a:pt x="252" y="95"/>
                    </a:lnTo>
                    <a:lnTo>
                      <a:pt x="257" y="91"/>
                    </a:lnTo>
                    <a:lnTo>
                      <a:pt x="263" y="90"/>
                    </a:lnTo>
                    <a:lnTo>
                      <a:pt x="267" y="88"/>
                    </a:lnTo>
                    <a:lnTo>
                      <a:pt x="271" y="87"/>
                    </a:lnTo>
                    <a:lnTo>
                      <a:pt x="276" y="87"/>
                    </a:lnTo>
                    <a:lnTo>
                      <a:pt x="274" y="83"/>
                    </a:lnTo>
                    <a:lnTo>
                      <a:pt x="269" y="84"/>
                    </a:lnTo>
                    <a:lnTo>
                      <a:pt x="265" y="84"/>
                    </a:lnTo>
                    <a:lnTo>
                      <a:pt x="261" y="81"/>
                    </a:lnTo>
                    <a:lnTo>
                      <a:pt x="259" y="77"/>
                    </a:lnTo>
                    <a:lnTo>
                      <a:pt x="254" y="74"/>
                    </a:lnTo>
                    <a:lnTo>
                      <a:pt x="249" y="75"/>
                    </a:lnTo>
                    <a:lnTo>
                      <a:pt x="254" y="73"/>
                    </a:lnTo>
                    <a:lnTo>
                      <a:pt x="258" y="73"/>
                    </a:lnTo>
                    <a:lnTo>
                      <a:pt x="263" y="70"/>
                    </a:lnTo>
                    <a:lnTo>
                      <a:pt x="264" y="65"/>
                    </a:lnTo>
                    <a:lnTo>
                      <a:pt x="264" y="61"/>
                    </a:lnTo>
                    <a:lnTo>
                      <a:pt x="259" y="61"/>
                    </a:lnTo>
                    <a:lnTo>
                      <a:pt x="255" y="61"/>
                    </a:lnTo>
                    <a:lnTo>
                      <a:pt x="250" y="62"/>
                    </a:lnTo>
                    <a:lnTo>
                      <a:pt x="248" y="65"/>
                    </a:lnTo>
                    <a:lnTo>
                      <a:pt x="244" y="68"/>
                    </a:lnTo>
                    <a:lnTo>
                      <a:pt x="242" y="73"/>
                    </a:lnTo>
                    <a:lnTo>
                      <a:pt x="241" y="76"/>
                    </a:lnTo>
                    <a:lnTo>
                      <a:pt x="236" y="80"/>
                    </a:lnTo>
                    <a:lnTo>
                      <a:pt x="232" y="80"/>
                    </a:lnTo>
                    <a:lnTo>
                      <a:pt x="227" y="78"/>
                    </a:lnTo>
                    <a:lnTo>
                      <a:pt x="222" y="76"/>
                    </a:lnTo>
                    <a:lnTo>
                      <a:pt x="217" y="74"/>
                    </a:lnTo>
                    <a:lnTo>
                      <a:pt x="213" y="72"/>
                    </a:lnTo>
                    <a:lnTo>
                      <a:pt x="208" y="73"/>
                    </a:lnTo>
                    <a:lnTo>
                      <a:pt x="195" y="68"/>
                    </a:lnTo>
                    <a:lnTo>
                      <a:pt x="201" y="78"/>
                    </a:lnTo>
                    <a:lnTo>
                      <a:pt x="194" y="70"/>
                    </a:lnTo>
                    <a:lnTo>
                      <a:pt x="191" y="65"/>
                    </a:lnTo>
                    <a:lnTo>
                      <a:pt x="188" y="71"/>
                    </a:lnTo>
                    <a:lnTo>
                      <a:pt x="186" y="59"/>
                    </a:lnTo>
                    <a:lnTo>
                      <a:pt x="188" y="49"/>
                    </a:lnTo>
                    <a:lnTo>
                      <a:pt x="180" y="60"/>
                    </a:lnTo>
                    <a:lnTo>
                      <a:pt x="183" y="53"/>
                    </a:lnTo>
                    <a:lnTo>
                      <a:pt x="179" y="52"/>
                    </a:lnTo>
                    <a:lnTo>
                      <a:pt x="176" y="48"/>
                    </a:lnTo>
                    <a:lnTo>
                      <a:pt x="176" y="45"/>
                    </a:lnTo>
                    <a:lnTo>
                      <a:pt x="171" y="42"/>
                    </a:lnTo>
                    <a:lnTo>
                      <a:pt x="168" y="39"/>
                    </a:lnTo>
                    <a:lnTo>
                      <a:pt x="173" y="37"/>
                    </a:lnTo>
                    <a:lnTo>
                      <a:pt x="174" y="32"/>
                    </a:lnTo>
                    <a:lnTo>
                      <a:pt x="171" y="28"/>
                    </a:lnTo>
                    <a:lnTo>
                      <a:pt x="170" y="20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2" name="Freeform 67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 rot="-459984">
                <a:off x="2128077" y="3761836"/>
                <a:ext cx="287339" cy="202559"/>
              </a:xfrm>
              <a:custGeom>
                <a:avLst/>
                <a:gdLst>
                  <a:gd name="T0" fmla="*/ 2147483647 w 206"/>
                  <a:gd name="T1" fmla="*/ 2147483647 h 149"/>
                  <a:gd name="T2" fmla="*/ 2147483647 w 206"/>
                  <a:gd name="T3" fmla="*/ 2147483647 h 149"/>
                  <a:gd name="T4" fmla="*/ 2147483647 w 206"/>
                  <a:gd name="T5" fmla="*/ 2147483647 h 149"/>
                  <a:gd name="T6" fmla="*/ 2147483647 w 206"/>
                  <a:gd name="T7" fmla="*/ 2147483647 h 149"/>
                  <a:gd name="T8" fmla="*/ 2147483647 w 206"/>
                  <a:gd name="T9" fmla="*/ 2147483647 h 149"/>
                  <a:gd name="T10" fmla="*/ 2147483647 w 206"/>
                  <a:gd name="T11" fmla="*/ 2147483647 h 149"/>
                  <a:gd name="T12" fmla="*/ 2147483647 w 206"/>
                  <a:gd name="T13" fmla="*/ 2147483647 h 149"/>
                  <a:gd name="T14" fmla="*/ 2147483647 w 206"/>
                  <a:gd name="T15" fmla="*/ 2147483647 h 149"/>
                  <a:gd name="T16" fmla="*/ 2147483647 w 206"/>
                  <a:gd name="T17" fmla="*/ 2147483647 h 149"/>
                  <a:gd name="T18" fmla="*/ 2147483647 w 206"/>
                  <a:gd name="T19" fmla="*/ 2147483647 h 149"/>
                  <a:gd name="T20" fmla="*/ 2147483647 w 206"/>
                  <a:gd name="T21" fmla="*/ 2147483647 h 149"/>
                  <a:gd name="T22" fmla="*/ 2147483647 w 206"/>
                  <a:gd name="T23" fmla="*/ 2147483647 h 149"/>
                  <a:gd name="T24" fmla="*/ 2147483647 w 206"/>
                  <a:gd name="T25" fmla="*/ 2147483647 h 149"/>
                  <a:gd name="T26" fmla="*/ 2147483647 w 206"/>
                  <a:gd name="T27" fmla="*/ 2147483647 h 149"/>
                  <a:gd name="T28" fmla="*/ 2147483647 w 206"/>
                  <a:gd name="T29" fmla="*/ 0 h 149"/>
                  <a:gd name="T30" fmla="*/ 2147483647 w 206"/>
                  <a:gd name="T31" fmla="*/ 0 h 149"/>
                  <a:gd name="T32" fmla="*/ 2147483647 w 206"/>
                  <a:gd name="T33" fmla="*/ 2147483647 h 149"/>
                  <a:gd name="T34" fmla="*/ 2147483647 w 206"/>
                  <a:gd name="T35" fmla="*/ 2147483647 h 149"/>
                  <a:gd name="T36" fmla="*/ 2147483647 w 206"/>
                  <a:gd name="T37" fmla="*/ 2147483647 h 149"/>
                  <a:gd name="T38" fmla="*/ 2147483647 w 206"/>
                  <a:gd name="T39" fmla="*/ 2147483647 h 149"/>
                  <a:gd name="T40" fmla="*/ 2147483647 w 206"/>
                  <a:gd name="T41" fmla="*/ 2147483647 h 149"/>
                  <a:gd name="T42" fmla="*/ 2147483647 w 206"/>
                  <a:gd name="T43" fmla="*/ 2147483647 h 149"/>
                  <a:gd name="T44" fmla="*/ 2147483647 w 206"/>
                  <a:gd name="T45" fmla="*/ 2147483647 h 149"/>
                  <a:gd name="T46" fmla="*/ 2147483647 w 206"/>
                  <a:gd name="T47" fmla="*/ 2147483647 h 149"/>
                  <a:gd name="T48" fmla="*/ 2147483647 w 206"/>
                  <a:gd name="T49" fmla="*/ 2147483647 h 149"/>
                  <a:gd name="T50" fmla="*/ 2147483647 w 206"/>
                  <a:gd name="T51" fmla="*/ 2147483647 h 149"/>
                  <a:gd name="T52" fmla="*/ 2147483647 w 206"/>
                  <a:gd name="T53" fmla="*/ 2147483647 h 149"/>
                  <a:gd name="T54" fmla="*/ 2147483647 w 206"/>
                  <a:gd name="T55" fmla="*/ 2147483647 h 149"/>
                  <a:gd name="T56" fmla="*/ 2147483647 w 206"/>
                  <a:gd name="T57" fmla="*/ 2147483647 h 149"/>
                  <a:gd name="T58" fmla="*/ 2147483647 w 206"/>
                  <a:gd name="T59" fmla="*/ 2147483647 h 149"/>
                  <a:gd name="T60" fmla="*/ 2147483647 w 206"/>
                  <a:gd name="T61" fmla="*/ 2147483647 h 149"/>
                  <a:gd name="T62" fmla="*/ 2147483647 w 206"/>
                  <a:gd name="T63" fmla="*/ 2147483647 h 149"/>
                  <a:gd name="T64" fmla="*/ 2147483647 w 206"/>
                  <a:gd name="T65" fmla="*/ 2147483647 h 149"/>
                  <a:gd name="T66" fmla="*/ 2147483647 w 206"/>
                  <a:gd name="T67" fmla="*/ 2147483647 h 149"/>
                  <a:gd name="T68" fmla="*/ 2147483647 w 206"/>
                  <a:gd name="T69" fmla="*/ 2147483647 h 149"/>
                  <a:gd name="T70" fmla="*/ 2147483647 w 206"/>
                  <a:gd name="T71" fmla="*/ 2147483647 h 149"/>
                  <a:gd name="T72" fmla="*/ 2147483647 w 206"/>
                  <a:gd name="T73" fmla="*/ 2147483647 h 149"/>
                  <a:gd name="T74" fmla="*/ 2147483647 w 206"/>
                  <a:gd name="T75" fmla="*/ 2147483647 h 149"/>
                  <a:gd name="T76" fmla="*/ 2147483647 w 206"/>
                  <a:gd name="T77" fmla="*/ 2147483647 h 149"/>
                  <a:gd name="T78" fmla="*/ 2147483647 w 206"/>
                  <a:gd name="T79" fmla="*/ 2147483647 h 149"/>
                  <a:gd name="T80" fmla="*/ 2147483647 w 206"/>
                  <a:gd name="T81" fmla="*/ 2147483647 h 149"/>
                  <a:gd name="T82" fmla="*/ 2147483647 w 206"/>
                  <a:gd name="T83" fmla="*/ 2147483647 h 149"/>
                  <a:gd name="T84" fmla="*/ 2147483647 w 206"/>
                  <a:gd name="T85" fmla="*/ 2147483647 h 149"/>
                  <a:gd name="T86" fmla="*/ 2147483647 w 206"/>
                  <a:gd name="T87" fmla="*/ 2147483647 h 149"/>
                  <a:gd name="T88" fmla="*/ 2147483647 w 206"/>
                  <a:gd name="T89" fmla="*/ 2147483647 h 149"/>
                  <a:gd name="T90" fmla="*/ 2147483647 w 206"/>
                  <a:gd name="T91" fmla="*/ 2147483647 h 149"/>
                  <a:gd name="T92" fmla="*/ 2147483647 w 206"/>
                  <a:gd name="T93" fmla="*/ 2147483647 h 149"/>
                  <a:gd name="T94" fmla="*/ 2147483647 w 206"/>
                  <a:gd name="T95" fmla="*/ 2147483647 h 149"/>
                  <a:gd name="T96" fmla="*/ 2147483647 w 206"/>
                  <a:gd name="T97" fmla="*/ 2147483647 h 149"/>
                  <a:gd name="T98" fmla="*/ 2147483647 w 206"/>
                  <a:gd name="T99" fmla="*/ 2147483647 h 14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06"/>
                  <a:gd name="T151" fmla="*/ 0 h 149"/>
                  <a:gd name="T152" fmla="*/ 206 w 206"/>
                  <a:gd name="T153" fmla="*/ 149 h 149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06" h="149">
                    <a:moveTo>
                      <a:pt x="205" y="59"/>
                    </a:moveTo>
                    <a:lnTo>
                      <a:pt x="203" y="55"/>
                    </a:lnTo>
                    <a:lnTo>
                      <a:pt x="203" y="51"/>
                    </a:lnTo>
                    <a:lnTo>
                      <a:pt x="201" y="44"/>
                    </a:lnTo>
                    <a:lnTo>
                      <a:pt x="199" y="40"/>
                    </a:lnTo>
                    <a:lnTo>
                      <a:pt x="197" y="37"/>
                    </a:lnTo>
                    <a:lnTo>
                      <a:pt x="195" y="33"/>
                    </a:lnTo>
                    <a:lnTo>
                      <a:pt x="191" y="31"/>
                    </a:lnTo>
                    <a:lnTo>
                      <a:pt x="189" y="27"/>
                    </a:lnTo>
                    <a:lnTo>
                      <a:pt x="185" y="26"/>
                    </a:lnTo>
                    <a:lnTo>
                      <a:pt x="181" y="24"/>
                    </a:lnTo>
                    <a:lnTo>
                      <a:pt x="177" y="22"/>
                    </a:lnTo>
                    <a:lnTo>
                      <a:pt x="173" y="24"/>
                    </a:lnTo>
                    <a:lnTo>
                      <a:pt x="167" y="22"/>
                    </a:lnTo>
                    <a:lnTo>
                      <a:pt x="163" y="20"/>
                    </a:lnTo>
                    <a:lnTo>
                      <a:pt x="159" y="20"/>
                    </a:lnTo>
                    <a:lnTo>
                      <a:pt x="153" y="18"/>
                    </a:lnTo>
                    <a:lnTo>
                      <a:pt x="149" y="15"/>
                    </a:lnTo>
                    <a:lnTo>
                      <a:pt x="145" y="13"/>
                    </a:lnTo>
                    <a:lnTo>
                      <a:pt x="141" y="11"/>
                    </a:lnTo>
                    <a:lnTo>
                      <a:pt x="137" y="13"/>
                    </a:lnTo>
                    <a:lnTo>
                      <a:pt x="133" y="13"/>
                    </a:lnTo>
                    <a:lnTo>
                      <a:pt x="129" y="16"/>
                    </a:lnTo>
                    <a:lnTo>
                      <a:pt x="125" y="18"/>
                    </a:lnTo>
                    <a:lnTo>
                      <a:pt x="121" y="18"/>
                    </a:lnTo>
                    <a:lnTo>
                      <a:pt x="117" y="22"/>
                    </a:lnTo>
                    <a:lnTo>
                      <a:pt x="113" y="24"/>
                    </a:lnTo>
                    <a:lnTo>
                      <a:pt x="109" y="26"/>
                    </a:lnTo>
                    <a:lnTo>
                      <a:pt x="105" y="26"/>
                    </a:lnTo>
                    <a:lnTo>
                      <a:pt x="100" y="24"/>
                    </a:lnTo>
                    <a:lnTo>
                      <a:pt x="96" y="22"/>
                    </a:lnTo>
                    <a:lnTo>
                      <a:pt x="94" y="18"/>
                    </a:lnTo>
                    <a:lnTo>
                      <a:pt x="90" y="16"/>
                    </a:lnTo>
                    <a:lnTo>
                      <a:pt x="88" y="13"/>
                    </a:lnTo>
                    <a:lnTo>
                      <a:pt x="84" y="13"/>
                    </a:lnTo>
                    <a:lnTo>
                      <a:pt x="80" y="11"/>
                    </a:lnTo>
                    <a:lnTo>
                      <a:pt x="78" y="7"/>
                    </a:lnTo>
                    <a:lnTo>
                      <a:pt x="74" y="5"/>
                    </a:lnTo>
                    <a:lnTo>
                      <a:pt x="70" y="4"/>
                    </a:lnTo>
                    <a:lnTo>
                      <a:pt x="66" y="4"/>
                    </a:lnTo>
                    <a:lnTo>
                      <a:pt x="62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48" y="0"/>
                    </a:lnTo>
                    <a:lnTo>
                      <a:pt x="44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4" y="2"/>
                    </a:lnTo>
                    <a:lnTo>
                      <a:pt x="22" y="5"/>
                    </a:lnTo>
                    <a:lnTo>
                      <a:pt x="18" y="7"/>
                    </a:lnTo>
                    <a:lnTo>
                      <a:pt x="14" y="9"/>
                    </a:lnTo>
                    <a:lnTo>
                      <a:pt x="14" y="13"/>
                    </a:lnTo>
                    <a:lnTo>
                      <a:pt x="12" y="16"/>
                    </a:lnTo>
                    <a:lnTo>
                      <a:pt x="14" y="20"/>
                    </a:lnTo>
                    <a:lnTo>
                      <a:pt x="16" y="26"/>
                    </a:lnTo>
                    <a:lnTo>
                      <a:pt x="16" y="29"/>
                    </a:lnTo>
                    <a:lnTo>
                      <a:pt x="16" y="33"/>
                    </a:lnTo>
                    <a:lnTo>
                      <a:pt x="16" y="37"/>
                    </a:lnTo>
                    <a:lnTo>
                      <a:pt x="14" y="42"/>
                    </a:lnTo>
                    <a:lnTo>
                      <a:pt x="10" y="46"/>
                    </a:lnTo>
                    <a:lnTo>
                      <a:pt x="6" y="48"/>
                    </a:lnTo>
                    <a:lnTo>
                      <a:pt x="2" y="49"/>
                    </a:lnTo>
                    <a:lnTo>
                      <a:pt x="2" y="53"/>
                    </a:lnTo>
                    <a:lnTo>
                      <a:pt x="0" y="57"/>
                    </a:lnTo>
                    <a:lnTo>
                      <a:pt x="2" y="60"/>
                    </a:lnTo>
                    <a:lnTo>
                      <a:pt x="6" y="64"/>
                    </a:lnTo>
                    <a:lnTo>
                      <a:pt x="8" y="68"/>
                    </a:lnTo>
                    <a:lnTo>
                      <a:pt x="10" y="71"/>
                    </a:lnTo>
                    <a:lnTo>
                      <a:pt x="10" y="75"/>
                    </a:lnTo>
                    <a:lnTo>
                      <a:pt x="12" y="80"/>
                    </a:lnTo>
                    <a:lnTo>
                      <a:pt x="12" y="84"/>
                    </a:lnTo>
                    <a:lnTo>
                      <a:pt x="16" y="88"/>
                    </a:lnTo>
                    <a:lnTo>
                      <a:pt x="20" y="88"/>
                    </a:lnTo>
                    <a:lnTo>
                      <a:pt x="24" y="88"/>
                    </a:lnTo>
                    <a:lnTo>
                      <a:pt x="28" y="90"/>
                    </a:lnTo>
                    <a:lnTo>
                      <a:pt x="32" y="93"/>
                    </a:lnTo>
                    <a:lnTo>
                      <a:pt x="34" y="99"/>
                    </a:lnTo>
                    <a:lnTo>
                      <a:pt x="36" y="102"/>
                    </a:lnTo>
                    <a:lnTo>
                      <a:pt x="36" y="106"/>
                    </a:lnTo>
                    <a:lnTo>
                      <a:pt x="36" y="110"/>
                    </a:lnTo>
                    <a:lnTo>
                      <a:pt x="36" y="113"/>
                    </a:lnTo>
                    <a:lnTo>
                      <a:pt x="36" y="117"/>
                    </a:lnTo>
                    <a:lnTo>
                      <a:pt x="36" y="121"/>
                    </a:lnTo>
                    <a:lnTo>
                      <a:pt x="36" y="124"/>
                    </a:lnTo>
                    <a:lnTo>
                      <a:pt x="36" y="128"/>
                    </a:lnTo>
                    <a:lnTo>
                      <a:pt x="38" y="132"/>
                    </a:lnTo>
                    <a:lnTo>
                      <a:pt x="42" y="133"/>
                    </a:lnTo>
                    <a:lnTo>
                      <a:pt x="44" y="137"/>
                    </a:lnTo>
                    <a:lnTo>
                      <a:pt x="44" y="141"/>
                    </a:lnTo>
                    <a:lnTo>
                      <a:pt x="46" y="144"/>
                    </a:lnTo>
                    <a:lnTo>
                      <a:pt x="50" y="146"/>
                    </a:lnTo>
                    <a:lnTo>
                      <a:pt x="54" y="148"/>
                    </a:lnTo>
                    <a:lnTo>
                      <a:pt x="58" y="146"/>
                    </a:lnTo>
                    <a:lnTo>
                      <a:pt x="62" y="144"/>
                    </a:lnTo>
                    <a:lnTo>
                      <a:pt x="66" y="146"/>
                    </a:lnTo>
                    <a:lnTo>
                      <a:pt x="70" y="146"/>
                    </a:lnTo>
                    <a:lnTo>
                      <a:pt x="74" y="146"/>
                    </a:lnTo>
                    <a:lnTo>
                      <a:pt x="78" y="144"/>
                    </a:lnTo>
                    <a:lnTo>
                      <a:pt x="82" y="143"/>
                    </a:lnTo>
                    <a:lnTo>
                      <a:pt x="86" y="141"/>
                    </a:lnTo>
                    <a:lnTo>
                      <a:pt x="86" y="137"/>
                    </a:lnTo>
                    <a:lnTo>
                      <a:pt x="88" y="133"/>
                    </a:lnTo>
                    <a:lnTo>
                      <a:pt x="92" y="133"/>
                    </a:lnTo>
                    <a:lnTo>
                      <a:pt x="96" y="132"/>
                    </a:lnTo>
                    <a:lnTo>
                      <a:pt x="100" y="132"/>
                    </a:lnTo>
                    <a:lnTo>
                      <a:pt x="102" y="128"/>
                    </a:lnTo>
                    <a:lnTo>
                      <a:pt x="102" y="124"/>
                    </a:lnTo>
                    <a:lnTo>
                      <a:pt x="105" y="122"/>
                    </a:lnTo>
                    <a:lnTo>
                      <a:pt x="109" y="122"/>
                    </a:lnTo>
                    <a:lnTo>
                      <a:pt x="113" y="124"/>
                    </a:lnTo>
                    <a:lnTo>
                      <a:pt x="117" y="126"/>
                    </a:lnTo>
                    <a:lnTo>
                      <a:pt x="121" y="126"/>
                    </a:lnTo>
                    <a:lnTo>
                      <a:pt x="125" y="124"/>
                    </a:lnTo>
                    <a:lnTo>
                      <a:pt x="125" y="121"/>
                    </a:lnTo>
                    <a:lnTo>
                      <a:pt x="121" y="119"/>
                    </a:lnTo>
                    <a:lnTo>
                      <a:pt x="125" y="117"/>
                    </a:lnTo>
                    <a:lnTo>
                      <a:pt x="129" y="117"/>
                    </a:lnTo>
                    <a:lnTo>
                      <a:pt x="133" y="117"/>
                    </a:lnTo>
                    <a:lnTo>
                      <a:pt x="137" y="117"/>
                    </a:lnTo>
                    <a:lnTo>
                      <a:pt x="141" y="115"/>
                    </a:lnTo>
                    <a:lnTo>
                      <a:pt x="141" y="112"/>
                    </a:lnTo>
                    <a:lnTo>
                      <a:pt x="145" y="110"/>
                    </a:lnTo>
                    <a:lnTo>
                      <a:pt x="147" y="106"/>
                    </a:lnTo>
                    <a:lnTo>
                      <a:pt x="151" y="106"/>
                    </a:lnTo>
                    <a:lnTo>
                      <a:pt x="155" y="106"/>
                    </a:lnTo>
                    <a:lnTo>
                      <a:pt x="159" y="104"/>
                    </a:lnTo>
                    <a:lnTo>
                      <a:pt x="159" y="101"/>
                    </a:lnTo>
                    <a:lnTo>
                      <a:pt x="159" y="97"/>
                    </a:lnTo>
                    <a:lnTo>
                      <a:pt x="163" y="95"/>
                    </a:lnTo>
                    <a:lnTo>
                      <a:pt x="167" y="93"/>
                    </a:lnTo>
                    <a:lnTo>
                      <a:pt x="171" y="91"/>
                    </a:lnTo>
                    <a:lnTo>
                      <a:pt x="171" y="88"/>
                    </a:lnTo>
                    <a:lnTo>
                      <a:pt x="171" y="84"/>
                    </a:lnTo>
                    <a:lnTo>
                      <a:pt x="175" y="84"/>
                    </a:lnTo>
                    <a:lnTo>
                      <a:pt x="179" y="84"/>
                    </a:lnTo>
                    <a:lnTo>
                      <a:pt x="183" y="82"/>
                    </a:lnTo>
                    <a:lnTo>
                      <a:pt x="187" y="80"/>
                    </a:lnTo>
                    <a:lnTo>
                      <a:pt x="191" y="79"/>
                    </a:lnTo>
                    <a:lnTo>
                      <a:pt x="195" y="75"/>
                    </a:lnTo>
                    <a:lnTo>
                      <a:pt x="199" y="75"/>
                    </a:lnTo>
                    <a:lnTo>
                      <a:pt x="203" y="73"/>
                    </a:lnTo>
                    <a:lnTo>
                      <a:pt x="203" y="69"/>
                    </a:lnTo>
                    <a:lnTo>
                      <a:pt x="199" y="66"/>
                    </a:lnTo>
                    <a:lnTo>
                      <a:pt x="199" y="62"/>
                    </a:lnTo>
                    <a:lnTo>
                      <a:pt x="201" y="59"/>
                    </a:lnTo>
                    <a:lnTo>
                      <a:pt x="205" y="57"/>
                    </a:lnTo>
                    <a:lnTo>
                      <a:pt x="205" y="53"/>
                    </a:lnTo>
                    <a:lnTo>
                      <a:pt x="205" y="59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3" name="Freeform 68"/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 rot="21140016">
                <a:off x="2442354" y="3522023"/>
                <a:ext cx="237953" cy="211874"/>
              </a:xfrm>
              <a:custGeom>
                <a:avLst/>
                <a:gdLst>
                  <a:gd name="T0" fmla="*/ 2147483647 w 171"/>
                  <a:gd name="T1" fmla="*/ 2147483647 h 158"/>
                  <a:gd name="T2" fmla="*/ 2147483647 w 171"/>
                  <a:gd name="T3" fmla="*/ 2147483647 h 158"/>
                  <a:gd name="T4" fmla="*/ 2147483647 w 171"/>
                  <a:gd name="T5" fmla="*/ 2147483647 h 158"/>
                  <a:gd name="T6" fmla="*/ 2147483647 w 171"/>
                  <a:gd name="T7" fmla="*/ 2147483647 h 158"/>
                  <a:gd name="T8" fmla="*/ 2147483647 w 171"/>
                  <a:gd name="T9" fmla="*/ 2147483647 h 158"/>
                  <a:gd name="T10" fmla="*/ 2147483647 w 171"/>
                  <a:gd name="T11" fmla="*/ 0 h 158"/>
                  <a:gd name="T12" fmla="*/ 2147483647 w 171"/>
                  <a:gd name="T13" fmla="*/ 2147483647 h 158"/>
                  <a:gd name="T14" fmla="*/ 2147483647 w 171"/>
                  <a:gd name="T15" fmla="*/ 2147483647 h 158"/>
                  <a:gd name="T16" fmla="*/ 2147483647 w 171"/>
                  <a:gd name="T17" fmla="*/ 2147483647 h 158"/>
                  <a:gd name="T18" fmla="*/ 2147483647 w 171"/>
                  <a:gd name="T19" fmla="*/ 2147483647 h 158"/>
                  <a:gd name="T20" fmla="*/ 2147483647 w 171"/>
                  <a:gd name="T21" fmla="*/ 2147483647 h 158"/>
                  <a:gd name="T22" fmla="*/ 2147483647 w 171"/>
                  <a:gd name="T23" fmla="*/ 2147483647 h 158"/>
                  <a:gd name="T24" fmla="*/ 2147483647 w 171"/>
                  <a:gd name="T25" fmla="*/ 2147483647 h 158"/>
                  <a:gd name="T26" fmla="*/ 2147483647 w 171"/>
                  <a:gd name="T27" fmla="*/ 2147483647 h 158"/>
                  <a:gd name="T28" fmla="*/ 2147483647 w 171"/>
                  <a:gd name="T29" fmla="*/ 2147483647 h 158"/>
                  <a:gd name="T30" fmla="*/ 2147483647 w 171"/>
                  <a:gd name="T31" fmla="*/ 2147483647 h 158"/>
                  <a:gd name="T32" fmla="*/ 2147483647 w 171"/>
                  <a:gd name="T33" fmla="*/ 2147483647 h 158"/>
                  <a:gd name="T34" fmla="*/ 2147483647 w 171"/>
                  <a:gd name="T35" fmla="*/ 2147483647 h 158"/>
                  <a:gd name="T36" fmla="*/ 2147483647 w 171"/>
                  <a:gd name="T37" fmla="*/ 2147483647 h 158"/>
                  <a:gd name="T38" fmla="*/ 2147483647 w 171"/>
                  <a:gd name="T39" fmla="*/ 2147483647 h 158"/>
                  <a:gd name="T40" fmla="*/ 0 w 171"/>
                  <a:gd name="T41" fmla="*/ 2147483647 h 158"/>
                  <a:gd name="T42" fmla="*/ 2147483647 w 171"/>
                  <a:gd name="T43" fmla="*/ 2147483647 h 158"/>
                  <a:gd name="T44" fmla="*/ 2147483647 w 171"/>
                  <a:gd name="T45" fmla="*/ 2147483647 h 158"/>
                  <a:gd name="T46" fmla="*/ 2147483647 w 171"/>
                  <a:gd name="T47" fmla="*/ 2147483647 h 158"/>
                  <a:gd name="T48" fmla="*/ 2147483647 w 171"/>
                  <a:gd name="T49" fmla="*/ 2147483647 h 158"/>
                  <a:gd name="T50" fmla="*/ 2147483647 w 171"/>
                  <a:gd name="T51" fmla="*/ 2147483647 h 158"/>
                  <a:gd name="T52" fmla="*/ 2147483647 w 171"/>
                  <a:gd name="T53" fmla="*/ 2147483647 h 158"/>
                  <a:gd name="T54" fmla="*/ 2147483647 w 171"/>
                  <a:gd name="T55" fmla="*/ 2147483647 h 158"/>
                  <a:gd name="T56" fmla="*/ 2147483647 w 171"/>
                  <a:gd name="T57" fmla="*/ 2147483647 h 158"/>
                  <a:gd name="T58" fmla="*/ 2147483647 w 171"/>
                  <a:gd name="T59" fmla="*/ 2147483647 h 158"/>
                  <a:gd name="T60" fmla="*/ 2147483647 w 171"/>
                  <a:gd name="T61" fmla="*/ 2147483647 h 158"/>
                  <a:gd name="T62" fmla="*/ 2147483647 w 171"/>
                  <a:gd name="T63" fmla="*/ 2147483647 h 158"/>
                  <a:gd name="T64" fmla="*/ 2147483647 w 171"/>
                  <a:gd name="T65" fmla="*/ 2147483647 h 158"/>
                  <a:gd name="T66" fmla="*/ 2147483647 w 171"/>
                  <a:gd name="T67" fmla="*/ 2147483647 h 158"/>
                  <a:gd name="T68" fmla="*/ 2147483647 w 171"/>
                  <a:gd name="T69" fmla="*/ 2147483647 h 158"/>
                  <a:gd name="T70" fmla="*/ 2147483647 w 171"/>
                  <a:gd name="T71" fmla="*/ 2147483647 h 158"/>
                  <a:gd name="T72" fmla="*/ 2147483647 w 171"/>
                  <a:gd name="T73" fmla="*/ 2147483647 h 158"/>
                  <a:gd name="T74" fmla="*/ 2147483647 w 171"/>
                  <a:gd name="T75" fmla="*/ 2147483647 h 158"/>
                  <a:gd name="T76" fmla="*/ 2147483647 w 171"/>
                  <a:gd name="T77" fmla="*/ 2147483647 h 158"/>
                  <a:gd name="T78" fmla="*/ 2147483647 w 171"/>
                  <a:gd name="T79" fmla="*/ 2147483647 h 158"/>
                  <a:gd name="T80" fmla="*/ 2147483647 w 171"/>
                  <a:gd name="T81" fmla="*/ 2147483647 h 158"/>
                  <a:gd name="T82" fmla="*/ 2147483647 w 171"/>
                  <a:gd name="T83" fmla="*/ 2147483647 h 158"/>
                  <a:gd name="T84" fmla="*/ 2147483647 w 171"/>
                  <a:gd name="T85" fmla="*/ 2147483647 h 158"/>
                  <a:gd name="T86" fmla="*/ 2147483647 w 171"/>
                  <a:gd name="T87" fmla="*/ 2147483647 h 158"/>
                  <a:gd name="T88" fmla="*/ 2147483647 w 171"/>
                  <a:gd name="T89" fmla="*/ 2147483647 h 158"/>
                  <a:gd name="T90" fmla="*/ 2147483647 w 171"/>
                  <a:gd name="T91" fmla="*/ 2147483647 h 158"/>
                  <a:gd name="T92" fmla="*/ 2147483647 w 171"/>
                  <a:gd name="T93" fmla="*/ 2147483647 h 15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71"/>
                  <a:gd name="T142" fmla="*/ 0 h 158"/>
                  <a:gd name="T143" fmla="*/ 171 w 171"/>
                  <a:gd name="T144" fmla="*/ 158 h 15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71" h="158">
                    <a:moveTo>
                      <a:pt x="168" y="40"/>
                    </a:moveTo>
                    <a:lnTo>
                      <a:pt x="168" y="37"/>
                    </a:lnTo>
                    <a:lnTo>
                      <a:pt x="166" y="33"/>
                    </a:lnTo>
                    <a:lnTo>
                      <a:pt x="164" y="29"/>
                    </a:lnTo>
                    <a:lnTo>
                      <a:pt x="162" y="26"/>
                    </a:lnTo>
                    <a:lnTo>
                      <a:pt x="158" y="24"/>
                    </a:lnTo>
                    <a:lnTo>
                      <a:pt x="154" y="22"/>
                    </a:lnTo>
                    <a:lnTo>
                      <a:pt x="150" y="20"/>
                    </a:lnTo>
                    <a:lnTo>
                      <a:pt x="146" y="18"/>
                    </a:lnTo>
                    <a:lnTo>
                      <a:pt x="146" y="15"/>
                    </a:lnTo>
                    <a:lnTo>
                      <a:pt x="142" y="13"/>
                    </a:lnTo>
                    <a:lnTo>
                      <a:pt x="136" y="13"/>
                    </a:lnTo>
                    <a:lnTo>
                      <a:pt x="132" y="15"/>
                    </a:lnTo>
                    <a:lnTo>
                      <a:pt x="128" y="13"/>
                    </a:lnTo>
                    <a:lnTo>
                      <a:pt x="127" y="9"/>
                    </a:lnTo>
                    <a:lnTo>
                      <a:pt x="125" y="5"/>
                    </a:lnTo>
                    <a:lnTo>
                      <a:pt x="123" y="2"/>
                    </a:lnTo>
                    <a:lnTo>
                      <a:pt x="119" y="0"/>
                    </a:lnTo>
                    <a:lnTo>
                      <a:pt x="115" y="0"/>
                    </a:lnTo>
                    <a:lnTo>
                      <a:pt x="111" y="0"/>
                    </a:lnTo>
                    <a:lnTo>
                      <a:pt x="107" y="2"/>
                    </a:lnTo>
                    <a:lnTo>
                      <a:pt x="103" y="5"/>
                    </a:lnTo>
                    <a:lnTo>
                      <a:pt x="101" y="9"/>
                    </a:lnTo>
                    <a:lnTo>
                      <a:pt x="99" y="13"/>
                    </a:lnTo>
                    <a:lnTo>
                      <a:pt x="99" y="16"/>
                    </a:lnTo>
                    <a:lnTo>
                      <a:pt x="97" y="20"/>
                    </a:lnTo>
                    <a:lnTo>
                      <a:pt x="95" y="24"/>
                    </a:lnTo>
                    <a:lnTo>
                      <a:pt x="93" y="27"/>
                    </a:lnTo>
                    <a:lnTo>
                      <a:pt x="91" y="31"/>
                    </a:lnTo>
                    <a:lnTo>
                      <a:pt x="87" y="33"/>
                    </a:lnTo>
                    <a:lnTo>
                      <a:pt x="85" y="37"/>
                    </a:lnTo>
                    <a:lnTo>
                      <a:pt x="81" y="38"/>
                    </a:lnTo>
                    <a:lnTo>
                      <a:pt x="77" y="40"/>
                    </a:lnTo>
                    <a:lnTo>
                      <a:pt x="73" y="40"/>
                    </a:lnTo>
                    <a:lnTo>
                      <a:pt x="69" y="40"/>
                    </a:lnTo>
                    <a:lnTo>
                      <a:pt x="65" y="40"/>
                    </a:lnTo>
                    <a:lnTo>
                      <a:pt x="61" y="38"/>
                    </a:lnTo>
                    <a:lnTo>
                      <a:pt x="57" y="38"/>
                    </a:lnTo>
                    <a:lnTo>
                      <a:pt x="53" y="38"/>
                    </a:lnTo>
                    <a:lnTo>
                      <a:pt x="49" y="40"/>
                    </a:lnTo>
                    <a:lnTo>
                      <a:pt x="47" y="44"/>
                    </a:lnTo>
                    <a:lnTo>
                      <a:pt x="45" y="47"/>
                    </a:lnTo>
                    <a:lnTo>
                      <a:pt x="43" y="51"/>
                    </a:lnTo>
                    <a:lnTo>
                      <a:pt x="42" y="55"/>
                    </a:lnTo>
                    <a:lnTo>
                      <a:pt x="42" y="58"/>
                    </a:lnTo>
                    <a:lnTo>
                      <a:pt x="40" y="62"/>
                    </a:lnTo>
                    <a:lnTo>
                      <a:pt x="40" y="66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0" y="71"/>
                    </a:lnTo>
                    <a:lnTo>
                      <a:pt x="26" y="71"/>
                    </a:lnTo>
                    <a:lnTo>
                      <a:pt x="22" y="75"/>
                    </a:lnTo>
                    <a:lnTo>
                      <a:pt x="18" y="77"/>
                    </a:lnTo>
                    <a:lnTo>
                      <a:pt x="14" y="77"/>
                    </a:lnTo>
                    <a:lnTo>
                      <a:pt x="14" y="80"/>
                    </a:lnTo>
                    <a:lnTo>
                      <a:pt x="12" y="84"/>
                    </a:lnTo>
                    <a:lnTo>
                      <a:pt x="12" y="88"/>
                    </a:lnTo>
                    <a:lnTo>
                      <a:pt x="12" y="91"/>
                    </a:lnTo>
                    <a:lnTo>
                      <a:pt x="10" y="95"/>
                    </a:lnTo>
                    <a:lnTo>
                      <a:pt x="6" y="99"/>
                    </a:lnTo>
                    <a:lnTo>
                      <a:pt x="4" y="102"/>
                    </a:lnTo>
                    <a:lnTo>
                      <a:pt x="2" y="106"/>
                    </a:lnTo>
                    <a:lnTo>
                      <a:pt x="0" y="110"/>
                    </a:lnTo>
                    <a:lnTo>
                      <a:pt x="2" y="113"/>
                    </a:lnTo>
                    <a:lnTo>
                      <a:pt x="6" y="117"/>
                    </a:lnTo>
                    <a:lnTo>
                      <a:pt x="10" y="121"/>
                    </a:lnTo>
                    <a:lnTo>
                      <a:pt x="14" y="122"/>
                    </a:lnTo>
                    <a:lnTo>
                      <a:pt x="18" y="124"/>
                    </a:lnTo>
                    <a:lnTo>
                      <a:pt x="22" y="124"/>
                    </a:lnTo>
                    <a:lnTo>
                      <a:pt x="26" y="126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8" y="130"/>
                    </a:lnTo>
                    <a:lnTo>
                      <a:pt x="42" y="132"/>
                    </a:lnTo>
                    <a:lnTo>
                      <a:pt x="43" y="128"/>
                    </a:lnTo>
                    <a:lnTo>
                      <a:pt x="45" y="124"/>
                    </a:lnTo>
                    <a:lnTo>
                      <a:pt x="49" y="124"/>
                    </a:lnTo>
                    <a:lnTo>
                      <a:pt x="53" y="122"/>
                    </a:lnTo>
                    <a:lnTo>
                      <a:pt x="57" y="122"/>
                    </a:lnTo>
                    <a:lnTo>
                      <a:pt x="61" y="122"/>
                    </a:lnTo>
                    <a:lnTo>
                      <a:pt x="63" y="126"/>
                    </a:lnTo>
                    <a:lnTo>
                      <a:pt x="63" y="130"/>
                    </a:lnTo>
                    <a:lnTo>
                      <a:pt x="61" y="133"/>
                    </a:lnTo>
                    <a:lnTo>
                      <a:pt x="61" y="137"/>
                    </a:lnTo>
                    <a:lnTo>
                      <a:pt x="59" y="141"/>
                    </a:lnTo>
                    <a:lnTo>
                      <a:pt x="59" y="144"/>
                    </a:lnTo>
                    <a:lnTo>
                      <a:pt x="61" y="148"/>
                    </a:lnTo>
                    <a:lnTo>
                      <a:pt x="65" y="150"/>
                    </a:lnTo>
                    <a:lnTo>
                      <a:pt x="69" y="152"/>
                    </a:lnTo>
                    <a:lnTo>
                      <a:pt x="73" y="153"/>
                    </a:lnTo>
                    <a:lnTo>
                      <a:pt x="77" y="155"/>
                    </a:lnTo>
                    <a:lnTo>
                      <a:pt x="81" y="157"/>
                    </a:lnTo>
                    <a:lnTo>
                      <a:pt x="85" y="157"/>
                    </a:lnTo>
                    <a:lnTo>
                      <a:pt x="89" y="157"/>
                    </a:lnTo>
                    <a:lnTo>
                      <a:pt x="93" y="157"/>
                    </a:lnTo>
                    <a:lnTo>
                      <a:pt x="97" y="157"/>
                    </a:lnTo>
                    <a:lnTo>
                      <a:pt x="101" y="157"/>
                    </a:lnTo>
                    <a:lnTo>
                      <a:pt x="105" y="155"/>
                    </a:lnTo>
                    <a:lnTo>
                      <a:pt x="109" y="153"/>
                    </a:lnTo>
                    <a:lnTo>
                      <a:pt x="111" y="150"/>
                    </a:lnTo>
                    <a:lnTo>
                      <a:pt x="111" y="146"/>
                    </a:lnTo>
                    <a:lnTo>
                      <a:pt x="107" y="142"/>
                    </a:lnTo>
                    <a:lnTo>
                      <a:pt x="105" y="139"/>
                    </a:lnTo>
                    <a:lnTo>
                      <a:pt x="103" y="135"/>
                    </a:lnTo>
                    <a:lnTo>
                      <a:pt x="103" y="132"/>
                    </a:lnTo>
                    <a:lnTo>
                      <a:pt x="107" y="130"/>
                    </a:lnTo>
                    <a:lnTo>
                      <a:pt x="109" y="126"/>
                    </a:lnTo>
                    <a:lnTo>
                      <a:pt x="113" y="124"/>
                    </a:lnTo>
                    <a:lnTo>
                      <a:pt x="115" y="121"/>
                    </a:lnTo>
                    <a:lnTo>
                      <a:pt x="119" y="119"/>
                    </a:lnTo>
                    <a:lnTo>
                      <a:pt x="123" y="119"/>
                    </a:lnTo>
                    <a:lnTo>
                      <a:pt x="127" y="121"/>
                    </a:lnTo>
                    <a:lnTo>
                      <a:pt x="130" y="119"/>
                    </a:lnTo>
                    <a:lnTo>
                      <a:pt x="134" y="115"/>
                    </a:lnTo>
                    <a:lnTo>
                      <a:pt x="138" y="113"/>
                    </a:lnTo>
                    <a:lnTo>
                      <a:pt x="140" y="110"/>
                    </a:lnTo>
                    <a:lnTo>
                      <a:pt x="144" y="110"/>
                    </a:lnTo>
                    <a:lnTo>
                      <a:pt x="144" y="106"/>
                    </a:lnTo>
                    <a:lnTo>
                      <a:pt x="146" y="102"/>
                    </a:lnTo>
                    <a:lnTo>
                      <a:pt x="146" y="99"/>
                    </a:lnTo>
                    <a:lnTo>
                      <a:pt x="144" y="95"/>
                    </a:lnTo>
                    <a:lnTo>
                      <a:pt x="144" y="91"/>
                    </a:lnTo>
                    <a:lnTo>
                      <a:pt x="144" y="88"/>
                    </a:lnTo>
                    <a:lnTo>
                      <a:pt x="148" y="84"/>
                    </a:lnTo>
                    <a:lnTo>
                      <a:pt x="152" y="82"/>
                    </a:lnTo>
                    <a:lnTo>
                      <a:pt x="156" y="80"/>
                    </a:lnTo>
                    <a:lnTo>
                      <a:pt x="158" y="77"/>
                    </a:lnTo>
                    <a:lnTo>
                      <a:pt x="162" y="75"/>
                    </a:lnTo>
                    <a:lnTo>
                      <a:pt x="166" y="73"/>
                    </a:lnTo>
                    <a:lnTo>
                      <a:pt x="166" y="69"/>
                    </a:lnTo>
                    <a:lnTo>
                      <a:pt x="164" y="66"/>
                    </a:lnTo>
                    <a:lnTo>
                      <a:pt x="164" y="62"/>
                    </a:lnTo>
                    <a:lnTo>
                      <a:pt x="162" y="58"/>
                    </a:lnTo>
                    <a:lnTo>
                      <a:pt x="162" y="55"/>
                    </a:lnTo>
                    <a:lnTo>
                      <a:pt x="164" y="51"/>
                    </a:lnTo>
                    <a:lnTo>
                      <a:pt x="168" y="49"/>
                    </a:lnTo>
                    <a:lnTo>
                      <a:pt x="170" y="46"/>
                    </a:lnTo>
                    <a:lnTo>
                      <a:pt x="168" y="42"/>
                    </a:lnTo>
                    <a:lnTo>
                      <a:pt x="164" y="40"/>
                    </a:lnTo>
                    <a:lnTo>
                      <a:pt x="164" y="37"/>
                    </a:lnTo>
                    <a:lnTo>
                      <a:pt x="168" y="40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4" name="Freeform 71"/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1957469" y="3384655"/>
                <a:ext cx="422029" cy="258438"/>
              </a:xfrm>
              <a:custGeom>
                <a:avLst/>
                <a:gdLst>
                  <a:gd name="T0" fmla="*/ 2147483647 w 340"/>
                  <a:gd name="T1" fmla="*/ 2147483647 h 219"/>
                  <a:gd name="T2" fmla="*/ 2147483647 w 340"/>
                  <a:gd name="T3" fmla="*/ 2147483647 h 219"/>
                  <a:gd name="T4" fmla="*/ 2147483647 w 340"/>
                  <a:gd name="T5" fmla="*/ 2147483647 h 219"/>
                  <a:gd name="T6" fmla="*/ 2147483647 w 340"/>
                  <a:gd name="T7" fmla="*/ 2147483647 h 219"/>
                  <a:gd name="T8" fmla="*/ 2147483647 w 340"/>
                  <a:gd name="T9" fmla="*/ 2147483647 h 219"/>
                  <a:gd name="T10" fmla="*/ 2147483647 w 340"/>
                  <a:gd name="T11" fmla="*/ 2147483647 h 219"/>
                  <a:gd name="T12" fmla="*/ 2147483647 w 340"/>
                  <a:gd name="T13" fmla="*/ 2147483647 h 219"/>
                  <a:gd name="T14" fmla="*/ 2147483647 w 340"/>
                  <a:gd name="T15" fmla="*/ 2147483647 h 219"/>
                  <a:gd name="T16" fmla="*/ 2147483647 w 340"/>
                  <a:gd name="T17" fmla="*/ 2147483647 h 219"/>
                  <a:gd name="T18" fmla="*/ 2147483647 w 340"/>
                  <a:gd name="T19" fmla="*/ 2147483647 h 219"/>
                  <a:gd name="T20" fmla="*/ 2147483647 w 340"/>
                  <a:gd name="T21" fmla="*/ 2147483647 h 219"/>
                  <a:gd name="T22" fmla="*/ 2147483647 w 340"/>
                  <a:gd name="T23" fmla="*/ 2147483647 h 219"/>
                  <a:gd name="T24" fmla="*/ 2147483647 w 340"/>
                  <a:gd name="T25" fmla="*/ 2147483647 h 219"/>
                  <a:gd name="T26" fmla="*/ 2147483647 w 340"/>
                  <a:gd name="T27" fmla="*/ 2147483647 h 219"/>
                  <a:gd name="T28" fmla="*/ 2147483647 w 340"/>
                  <a:gd name="T29" fmla="*/ 2147483647 h 219"/>
                  <a:gd name="T30" fmla="*/ 2147483647 w 340"/>
                  <a:gd name="T31" fmla="*/ 2147483647 h 219"/>
                  <a:gd name="T32" fmla="*/ 2147483647 w 340"/>
                  <a:gd name="T33" fmla="*/ 2147483647 h 219"/>
                  <a:gd name="T34" fmla="*/ 2147483647 w 340"/>
                  <a:gd name="T35" fmla="*/ 2147483647 h 219"/>
                  <a:gd name="T36" fmla="*/ 2147483647 w 340"/>
                  <a:gd name="T37" fmla="*/ 2147483647 h 219"/>
                  <a:gd name="T38" fmla="*/ 2147483647 w 340"/>
                  <a:gd name="T39" fmla="*/ 2147483647 h 219"/>
                  <a:gd name="T40" fmla="*/ 2147483647 w 340"/>
                  <a:gd name="T41" fmla="*/ 2147483647 h 219"/>
                  <a:gd name="T42" fmla="*/ 2147483647 w 340"/>
                  <a:gd name="T43" fmla="*/ 2147483647 h 219"/>
                  <a:gd name="T44" fmla="*/ 2147483647 w 340"/>
                  <a:gd name="T45" fmla="*/ 2147483647 h 219"/>
                  <a:gd name="T46" fmla="*/ 2147483647 w 340"/>
                  <a:gd name="T47" fmla="*/ 2147483647 h 219"/>
                  <a:gd name="T48" fmla="*/ 2147483647 w 340"/>
                  <a:gd name="T49" fmla="*/ 2147483647 h 219"/>
                  <a:gd name="T50" fmla="*/ 2147483647 w 340"/>
                  <a:gd name="T51" fmla="*/ 2147483647 h 219"/>
                  <a:gd name="T52" fmla="*/ 2147483647 w 340"/>
                  <a:gd name="T53" fmla="*/ 2147483647 h 219"/>
                  <a:gd name="T54" fmla="*/ 2147483647 w 340"/>
                  <a:gd name="T55" fmla="*/ 2147483647 h 219"/>
                  <a:gd name="T56" fmla="*/ 2147483647 w 340"/>
                  <a:gd name="T57" fmla="*/ 2147483647 h 219"/>
                  <a:gd name="T58" fmla="*/ 2147483647 w 340"/>
                  <a:gd name="T59" fmla="*/ 2147483647 h 219"/>
                  <a:gd name="T60" fmla="*/ 2147483647 w 340"/>
                  <a:gd name="T61" fmla="*/ 2147483647 h 219"/>
                  <a:gd name="T62" fmla="*/ 2147483647 w 340"/>
                  <a:gd name="T63" fmla="*/ 2147483647 h 219"/>
                  <a:gd name="T64" fmla="*/ 2147483647 w 340"/>
                  <a:gd name="T65" fmla="*/ 2147483647 h 219"/>
                  <a:gd name="T66" fmla="*/ 2147483647 w 340"/>
                  <a:gd name="T67" fmla="*/ 2147483647 h 219"/>
                  <a:gd name="T68" fmla="*/ 2147483647 w 340"/>
                  <a:gd name="T69" fmla="*/ 2147483647 h 219"/>
                  <a:gd name="T70" fmla="*/ 2147483647 w 340"/>
                  <a:gd name="T71" fmla="*/ 2147483647 h 219"/>
                  <a:gd name="T72" fmla="*/ 2147483647 w 340"/>
                  <a:gd name="T73" fmla="*/ 2147483647 h 219"/>
                  <a:gd name="T74" fmla="*/ 2147483647 w 340"/>
                  <a:gd name="T75" fmla="*/ 2147483647 h 219"/>
                  <a:gd name="T76" fmla="*/ 2147483647 w 340"/>
                  <a:gd name="T77" fmla="*/ 2147483647 h 219"/>
                  <a:gd name="T78" fmla="*/ 2147483647 w 340"/>
                  <a:gd name="T79" fmla="*/ 2147483647 h 219"/>
                  <a:gd name="T80" fmla="*/ 2147483647 w 340"/>
                  <a:gd name="T81" fmla="*/ 2147483647 h 219"/>
                  <a:gd name="T82" fmla="*/ 2147483647 w 340"/>
                  <a:gd name="T83" fmla="*/ 2147483647 h 219"/>
                  <a:gd name="T84" fmla="*/ 2147483647 w 340"/>
                  <a:gd name="T85" fmla="*/ 2147483647 h 219"/>
                  <a:gd name="T86" fmla="*/ 2147483647 w 340"/>
                  <a:gd name="T87" fmla="*/ 2147483647 h 219"/>
                  <a:gd name="T88" fmla="*/ 2147483647 w 340"/>
                  <a:gd name="T89" fmla="*/ 2147483647 h 219"/>
                  <a:gd name="T90" fmla="*/ 2147483647 w 340"/>
                  <a:gd name="T91" fmla="*/ 2147483647 h 219"/>
                  <a:gd name="T92" fmla="*/ 2147483647 w 340"/>
                  <a:gd name="T93" fmla="*/ 2147483647 h 219"/>
                  <a:gd name="T94" fmla="*/ 2147483647 w 340"/>
                  <a:gd name="T95" fmla="*/ 2147483647 h 219"/>
                  <a:gd name="T96" fmla="*/ 2147483647 w 340"/>
                  <a:gd name="T97" fmla="*/ 2147483647 h 219"/>
                  <a:gd name="T98" fmla="*/ 2147483647 w 340"/>
                  <a:gd name="T99" fmla="*/ 2147483647 h 219"/>
                  <a:gd name="T100" fmla="*/ 2147483647 w 340"/>
                  <a:gd name="T101" fmla="*/ 2147483647 h 219"/>
                  <a:gd name="T102" fmla="*/ 2147483647 w 340"/>
                  <a:gd name="T103" fmla="*/ 2147483647 h 219"/>
                  <a:gd name="T104" fmla="*/ 2147483647 w 340"/>
                  <a:gd name="T105" fmla="*/ 2147483647 h 219"/>
                  <a:gd name="T106" fmla="*/ 2147483647 w 340"/>
                  <a:gd name="T107" fmla="*/ 2147483647 h 219"/>
                  <a:gd name="T108" fmla="*/ 2147483647 w 340"/>
                  <a:gd name="T109" fmla="*/ 2147483647 h 219"/>
                  <a:gd name="T110" fmla="*/ 2147483647 w 340"/>
                  <a:gd name="T111" fmla="*/ 2147483647 h 219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340"/>
                  <a:gd name="T169" fmla="*/ 0 h 219"/>
                  <a:gd name="T170" fmla="*/ 340 w 340"/>
                  <a:gd name="T171" fmla="*/ 219 h 219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340" h="219">
                    <a:moveTo>
                      <a:pt x="302" y="26"/>
                    </a:moveTo>
                    <a:lnTo>
                      <a:pt x="298" y="27"/>
                    </a:lnTo>
                    <a:lnTo>
                      <a:pt x="293" y="27"/>
                    </a:lnTo>
                    <a:lnTo>
                      <a:pt x="289" y="28"/>
                    </a:lnTo>
                    <a:lnTo>
                      <a:pt x="284" y="29"/>
                    </a:lnTo>
                    <a:lnTo>
                      <a:pt x="280" y="29"/>
                    </a:lnTo>
                    <a:lnTo>
                      <a:pt x="276" y="27"/>
                    </a:lnTo>
                    <a:lnTo>
                      <a:pt x="272" y="26"/>
                    </a:lnTo>
                    <a:lnTo>
                      <a:pt x="271" y="22"/>
                    </a:lnTo>
                    <a:lnTo>
                      <a:pt x="269" y="18"/>
                    </a:lnTo>
                    <a:lnTo>
                      <a:pt x="265" y="12"/>
                    </a:lnTo>
                    <a:lnTo>
                      <a:pt x="265" y="8"/>
                    </a:lnTo>
                    <a:lnTo>
                      <a:pt x="264" y="5"/>
                    </a:lnTo>
                    <a:lnTo>
                      <a:pt x="261" y="0"/>
                    </a:lnTo>
                    <a:lnTo>
                      <a:pt x="257" y="1"/>
                    </a:lnTo>
                    <a:lnTo>
                      <a:pt x="253" y="2"/>
                    </a:lnTo>
                    <a:lnTo>
                      <a:pt x="251" y="7"/>
                    </a:lnTo>
                    <a:lnTo>
                      <a:pt x="246" y="8"/>
                    </a:lnTo>
                    <a:lnTo>
                      <a:pt x="245" y="13"/>
                    </a:lnTo>
                    <a:lnTo>
                      <a:pt x="240" y="15"/>
                    </a:lnTo>
                    <a:lnTo>
                      <a:pt x="237" y="21"/>
                    </a:lnTo>
                    <a:lnTo>
                      <a:pt x="232" y="22"/>
                    </a:lnTo>
                    <a:lnTo>
                      <a:pt x="228" y="25"/>
                    </a:lnTo>
                    <a:lnTo>
                      <a:pt x="213" y="22"/>
                    </a:lnTo>
                    <a:lnTo>
                      <a:pt x="220" y="21"/>
                    </a:lnTo>
                    <a:lnTo>
                      <a:pt x="202" y="24"/>
                    </a:lnTo>
                    <a:lnTo>
                      <a:pt x="209" y="31"/>
                    </a:lnTo>
                    <a:lnTo>
                      <a:pt x="204" y="28"/>
                    </a:lnTo>
                    <a:lnTo>
                      <a:pt x="196" y="26"/>
                    </a:lnTo>
                    <a:lnTo>
                      <a:pt x="192" y="27"/>
                    </a:lnTo>
                    <a:lnTo>
                      <a:pt x="187" y="27"/>
                    </a:lnTo>
                    <a:lnTo>
                      <a:pt x="183" y="28"/>
                    </a:lnTo>
                    <a:lnTo>
                      <a:pt x="179" y="29"/>
                    </a:lnTo>
                    <a:lnTo>
                      <a:pt x="175" y="29"/>
                    </a:lnTo>
                    <a:lnTo>
                      <a:pt x="170" y="31"/>
                    </a:lnTo>
                    <a:lnTo>
                      <a:pt x="166" y="33"/>
                    </a:lnTo>
                    <a:lnTo>
                      <a:pt x="161" y="34"/>
                    </a:lnTo>
                    <a:lnTo>
                      <a:pt x="158" y="34"/>
                    </a:lnTo>
                    <a:lnTo>
                      <a:pt x="154" y="38"/>
                    </a:lnTo>
                    <a:lnTo>
                      <a:pt x="150" y="39"/>
                    </a:lnTo>
                    <a:lnTo>
                      <a:pt x="145" y="41"/>
                    </a:lnTo>
                    <a:lnTo>
                      <a:pt x="141" y="42"/>
                    </a:lnTo>
                    <a:lnTo>
                      <a:pt x="136" y="41"/>
                    </a:lnTo>
                    <a:lnTo>
                      <a:pt x="131" y="38"/>
                    </a:lnTo>
                    <a:lnTo>
                      <a:pt x="126" y="37"/>
                    </a:lnTo>
                    <a:lnTo>
                      <a:pt x="122" y="36"/>
                    </a:lnTo>
                    <a:lnTo>
                      <a:pt x="117" y="37"/>
                    </a:lnTo>
                    <a:lnTo>
                      <a:pt x="113" y="38"/>
                    </a:lnTo>
                    <a:lnTo>
                      <a:pt x="109" y="41"/>
                    </a:lnTo>
                    <a:lnTo>
                      <a:pt x="105" y="45"/>
                    </a:lnTo>
                    <a:lnTo>
                      <a:pt x="100" y="47"/>
                    </a:lnTo>
                    <a:lnTo>
                      <a:pt x="97" y="50"/>
                    </a:lnTo>
                    <a:lnTo>
                      <a:pt x="92" y="51"/>
                    </a:lnTo>
                    <a:lnTo>
                      <a:pt x="90" y="57"/>
                    </a:lnTo>
                    <a:lnTo>
                      <a:pt x="88" y="61"/>
                    </a:lnTo>
                    <a:lnTo>
                      <a:pt x="85" y="66"/>
                    </a:lnTo>
                    <a:lnTo>
                      <a:pt x="80" y="66"/>
                    </a:lnTo>
                    <a:lnTo>
                      <a:pt x="76" y="69"/>
                    </a:lnTo>
                    <a:lnTo>
                      <a:pt x="71" y="69"/>
                    </a:lnTo>
                    <a:lnTo>
                      <a:pt x="67" y="70"/>
                    </a:lnTo>
                    <a:lnTo>
                      <a:pt x="62" y="71"/>
                    </a:lnTo>
                    <a:lnTo>
                      <a:pt x="58" y="71"/>
                    </a:lnTo>
                    <a:lnTo>
                      <a:pt x="53" y="74"/>
                    </a:lnTo>
                    <a:lnTo>
                      <a:pt x="50" y="77"/>
                    </a:lnTo>
                    <a:lnTo>
                      <a:pt x="46" y="80"/>
                    </a:lnTo>
                    <a:lnTo>
                      <a:pt x="43" y="83"/>
                    </a:lnTo>
                    <a:lnTo>
                      <a:pt x="38" y="89"/>
                    </a:lnTo>
                    <a:lnTo>
                      <a:pt x="35" y="93"/>
                    </a:lnTo>
                    <a:lnTo>
                      <a:pt x="30" y="95"/>
                    </a:lnTo>
                    <a:lnTo>
                      <a:pt x="26" y="96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1" y="101"/>
                    </a:lnTo>
                    <a:lnTo>
                      <a:pt x="7" y="105"/>
                    </a:lnTo>
                    <a:lnTo>
                      <a:pt x="3" y="109"/>
                    </a:lnTo>
                    <a:lnTo>
                      <a:pt x="1" y="112"/>
                    </a:lnTo>
                    <a:lnTo>
                      <a:pt x="6" y="116"/>
                    </a:lnTo>
                    <a:lnTo>
                      <a:pt x="9" y="120"/>
                    </a:lnTo>
                    <a:lnTo>
                      <a:pt x="12" y="123"/>
                    </a:lnTo>
                    <a:lnTo>
                      <a:pt x="12" y="128"/>
                    </a:lnTo>
                    <a:lnTo>
                      <a:pt x="11" y="133"/>
                    </a:lnTo>
                    <a:lnTo>
                      <a:pt x="8" y="136"/>
                    </a:lnTo>
                    <a:lnTo>
                      <a:pt x="7" y="141"/>
                    </a:lnTo>
                    <a:lnTo>
                      <a:pt x="3" y="145"/>
                    </a:lnTo>
                    <a:lnTo>
                      <a:pt x="1" y="149"/>
                    </a:lnTo>
                    <a:lnTo>
                      <a:pt x="0" y="155"/>
                    </a:lnTo>
                    <a:lnTo>
                      <a:pt x="5" y="154"/>
                    </a:lnTo>
                    <a:lnTo>
                      <a:pt x="9" y="153"/>
                    </a:lnTo>
                    <a:lnTo>
                      <a:pt x="14" y="153"/>
                    </a:lnTo>
                    <a:lnTo>
                      <a:pt x="18" y="152"/>
                    </a:lnTo>
                    <a:lnTo>
                      <a:pt x="23" y="152"/>
                    </a:lnTo>
                    <a:lnTo>
                      <a:pt x="29" y="153"/>
                    </a:lnTo>
                    <a:lnTo>
                      <a:pt x="34" y="153"/>
                    </a:lnTo>
                    <a:lnTo>
                      <a:pt x="38" y="152"/>
                    </a:lnTo>
                    <a:lnTo>
                      <a:pt x="43" y="151"/>
                    </a:lnTo>
                    <a:lnTo>
                      <a:pt x="47" y="154"/>
                    </a:lnTo>
                    <a:lnTo>
                      <a:pt x="51" y="158"/>
                    </a:lnTo>
                    <a:lnTo>
                      <a:pt x="53" y="162"/>
                    </a:lnTo>
                    <a:lnTo>
                      <a:pt x="56" y="165"/>
                    </a:lnTo>
                    <a:lnTo>
                      <a:pt x="58" y="170"/>
                    </a:lnTo>
                    <a:lnTo>
                      <a:pt x="59" y="173"/>
                    </a:lnTo>
                    <a:lnTo>
                      <a:pt x="57" y="178"/>
                    </a:lnTo>
                    <a:lnTo>
                      <a:pt x="58" y="182"/>
                    </a:lnTo>
                    <a:lnTo>
                      <a:pt x="56" y="185"/>
                    </a:lnTo>
                    <a:lnTo>
                      <a:pt x="57" y="190"/>
                    </a:lnTo>
                    <a:lnTo>
                      <a:pt x="60" y="195"/>
                    </a:lnTo>
                    <a:lnTo>
                      <a:pt x="65" y="195"/>
                    </a:lnTo>
                    <a:lnTo>
                      <a:pt x="66" y="199"/>
                    </a:lnTo>
                    <a:lnTo>
                      <a:pt x="70" y="201"/>
                    </a:lnTo>
                    <a:lnTo>
                      <a:pt x="74" y="205"/>
                    </a:lnTo>
                    <a:lnTo>
                      <a:pt x="75" y="208"/>
                    </a:lnTo>
                    <a:lnTo>
                      <a:pt x="77" y="213"/>
                    </a:lnTo>
                    <a:lnTo>
                      <a:pt x="81" y="214"/>
                    </a:lnTo>
                    <a:lnTo>
                      <a:pt x="85" y="218"/>
                    </a:lnTo>
                    <a:lnTo>
                      <a:pt x="89" y="219"/>
                    </a:lnTo>
                    <a:lnTo>
                      <a:pt x="94" y="219"/>
                    </a:lnTo>
                    <a:lnTo>
                      <a:pt x="97" y="213"/>
                    </a:lnTo>
                    <a:lnTo>
                      <a:pt x="99" y="210"/>
                    </a:lnTo>
                    <a:lnTo>
                      <a:pt x="98" y="205"/>
                    </a:lnTo>
                    <a:lnTo>
                      <a:pt x="101" y="202"/>
                    </a:lnTo>
                    <a:lnTo>
                      <a:pt x="105" y="201"/>
                    </a:lnTo>
                    <a:lnTo>
                      <a:pt x="110" y="198"/>
                    </a:lnTo>
                    <a:lnTo>
                      <a:pt x="114" y="198"/>
                    </a:lnTo>
                    <a:lnTo>
                      <a:pt x="119" y="199"/>
                    </a:lnTo>
                    <a:lnTo>
                      <a:pt x="123" y="199"/>
                    </a:lnTo>
                    <a:lnTo>
                      <a:pt x="128" y="198"/>
                    </a:lnTo>
                    <a:lnTo>
                      <a:pt x="131" y="195"/>
                    </a:lnTo>
                    <a:lnTo>
                      <a:pt x="136" y="195"/>
                    </a:lnTo>
                    <a:lnTo>
                      <a:pt x="140" y="194"/>
                    </a:lnTo>
                    <a:lnTo>
                      <a:pt x="145" y="194"/>
                    </a:lnTo>
                    <a:lnTo>
                      <a:pt x="149" y="195"/>
                    </a:lnTo>
                    <a:lnTo>
                      <a:pt x="150" y="198"/>
                    </a:lnTo>
                    <a:lnTo>
                      <a:pt x="149" y="203"/>
                    </a:lnTo>
                    <a:lnTo>
                      <a:pt x="149" y="206"/>
                    </a:lnTo>
                    <a:lnTo>
                      <a:pt x="154" y="206"/>
                    </a:lnTo>
                    <a:lnTo>
                      <a:pt x="160" y="204"/>
                    </a:lnTo>
                    <a:lnTo>
                      <a:pt x="162" y="199"/>
                    </a:lnTo>
                    <a:lnTo>
                      <a:pt x="161" y="194"/>
                    </a:lnTo>
                    <a:lnTo>
                      <a:pt x="165" y="193"/>
                    </a:lnTo>
                    <a:lnTo>
                      <a:pt x="170" y="192"/>
                    </a:lnTo>
                    <a:lnTo>
                      <a:pt x="174" y="192"/>
                    </a:lnTo>
                    <a:lnTo>
                      <a:pt x="179" y="191"/>
                    </a:lnTo>
                    <a:lnTo>
                      <a:pt x="181" y="186"/>
                    </a:lnTo>
                    <a:lnTo>
                      <a:pt x="181" y="182"/>
                    </a:lnTo>
                    <a:lnTo>
                      <a:pt x="181" y="179"/>
                    </a:lnTo>
                    <a:lnTo>
                      <a:pt x="179" y="174"/>
                    </a:lnTo>
                    <a:lnTo>
                      <a:pt x="176" y="169"/>
                    </a:lnTo>
                    <a:lnTo>
                      <a:pt x="178" y="166"/>
                    </a:lnTo>
                    <a:lnTo>
                      <a:pt x="181" y="164"/>
                    </a:lnTo>
                    <a:lnTo>
                      <a:pt x="185" y="161"/>
                    </a:lnTo>
                    <a:lnTo>
                      <a:pt x="189" y="160"/>
                    </a:lnTo>
                    <a:lnTo>
                      <a:pt x="194" y="160"/>
                    </a:lnTo>
                    <a:lnTo>
                      <a:pt x="198" y="159"/>
                    </a:lnTo>
                    <a:lnTo>
                      <a:pt x="203" y="156"/>
                    </a:lnTo>
                    <a:lnTo>
                      <a:pt x="206" y="152"/>
                    </a:lnTo>
                    <a:lnTo>
                      <a:pt x="209" y="147"/>
                    </a:lnTo>
                    <a:lnTo>
                      <a:pt x="210" y="143"/>
                    </a:lnTo>
                    <a:lnTo>
                      <a:pt x="205" y="141"/>
                    </a:lnTo>
                    <a:lnTo>
                      <a:pt x="202" y="137"/>
                    </a:lnTo>
                    <a:lnTo>
                      <a:pt x="200" y="134"/>
                    </a:lnTo>
                    <a:lnTo>
                      <a:pt x="201" y="130"/>
                    </a:lnTo>
                    <a:lnTo>
                      <a:pt x="206" y="129"/>
                    </a:lnTo>
                    <a:lnTo>
                      <a:pt x="210" y="126"/>
                    </a:lnTo>
                    <a:lnTo>
                      <a:pt x="215" y="124"/>
                    </a:lnTo>
                    <a:lnTo>
                      <a:pt x="218" y="120"/>
                    </a:lnTo>
                    <a:lnTo>
                      <a:pt x="221" y="116"/>
                    </a:lnTo>
                    <a:lnTo>
                      <a:pt x="215" y="116"/>
                    </a:lnTo>
                    <a:lnTo>
                      <a:pt x="211" y="113"/>
                    </a:lnTo>
                    <a:lnTo>
                      <a:pt x="208" y="110"/>
                    </a:lnTo>
                    <a:lnTo>
                      <a:pt x="212" y="106"/>
                    </a:lnTo>
                    <a:lnTo>
                      <a:pt x="216" y="105"/>
                    </a:lnTo>
                    <a:lnTo>
                      <a:pt x="221" y="106"/>
                    </a:lnTo>
                    <a:lnTo>
                      <a:pt x="225" y="105"/>
                    </a:lnTo>
                    <a:lnTo>
                      <a:pt x="230" y="103"/>
                    </a:lnTo>
                    <a:lnTo>
                      <a:pt x="234" y="100"/>
                    </a:lnTo>
                    <a:lnTo>
                      <a:pt x="238" y="99"/>
                    </a:lnTo>
                    <a:lnTo>
                      <a:pt x="243" y="103"/>
                    </a:lnTo>
                    <a:lnTo>
                      <a:pt x="248" y="104"/>
                    </a:lnTo>
                    <a:lnTo>
                      <a:pt x="252" y="106"/>
                    </a:lnTo>
                    <a:lnTo>
                      <a:pt x="258" y="107"/>
                    </a:lnTo>
                    <a:lnTo>
                      <a:pt x="262" y="109"/>
                    </a:lnTo>
                    <a:lnTo>
                      <a:pt x="267" y="109"/>
                    </a:lnTo>
                    <a:lnTo>
                      <a:pt x="271" y="105"/>
                    </a:lnTo>
                    <a:lnTo>
                      <a:pt x="275" y="104"/>
                    </a:lnTo>
                    <a:lnTo>
                      <a:pt x="280" y="100"/>
                    </a:lnTo>
                    <a:lnTo>
                      <a:pt x="281" y="97"/>
                    </a:lnTo>
                    <a:lnTo>
                      <a:pt x="276" y="94"/>
                    </a:lnTo>
                    <a:lnTo>
                      <a:pt x="276" y="90"/>
                    </a:lnTo>
                    <a:lnTo>
                      <a:pt x="280" y="87"/>
                    </a:lnTo>
                    <a:lnTo>
                      <a:pt x="282" y="83"/>
                    </a:lnTo>
                    <a:lnTo>
                      <a:pt x="285" y="83"/>
                    </a:lnTo>
                    <a:lnTo>
                      <a:pt x="287" y="78"/>
                    </a:lnTo>
                    <a:lnTo>
                      <a:pt x="291" y="75"/>
                    </a:lnTo>
                    <a:lnTo>
                      <a:pt x="296" y="76"/>
                    </a:lnTo>
                    <a:lnTo>
                      <a:pt x="299" y="81"/>
                    </a:lnTo>
                    <a:lnTo>
                      <a:pt x="301" y="84"/>
                    </a:lnTo>
                    <a:lnTo>
                      <a:pt x="306" y="86"/>
                    </a:lnTo>
                    <a:lnTo>
                      <a:pt x="310" y="86"/>
                    </a:lnTo>
                    <a:lnTo>
                      <a:pt x="315" y="85"/>
                    </a:lnTo>
                    <a:lnTo>
                      <a:pt x="319" y="84"/>
                    </a:lnTo>
                    <a:lnTo>
                      <a:pt x="320" y="88"/>
                    </a:lnTo>
                    <a:lnTo>
                      <a:pt x="324" y="86"/>
                    </a:lnTo>
                    <a:lnTo>
                      <a:pt x="328" y="83"/>
                    </a:lnTo>
                    <a:lnTo>
                      <a:pt x="330" y="78"/>
                    </a:lnTo>
                    <a:lnTo>
                      <a:pt x="330" y="75"/>
                    </a:lnTo>
                    <a:lnTo>
                      <a:pt x="334" y="71"/>
                    </a:lnTo>
                    <a:lnTo>
                      <a:pt x="339" y="74"/>
                    </a:lnTo>
                    <a:lnTo>
                      <a:pt x="340" y="68"/>
                    </a:lnTo>
                    <a:lnTo>
                      <a:pt x="338" y="66"/>
                    </a:lnTo>
                    <a:lnTo>
                      <a:pt x="334" y="61"/>
                    </a:lnTo>
                    <a:lnTo>
                      <a:pt x="332" y="58"/>
                    </a:lnTo>
                    <a:lnTo>
                      <a:pt x="329" y="54"/>
                    </a:lnTo>
                    <a:lnTo>
                      <a:pt x="329" y="50"/>
                    </a:lnTo>
                    <a:lnTo>
                      <a:pt x="323" y="49"/>
                    </a:lnTo>
                    <a:lnTo>
                      <a:pt x="319" y="46"/>
                    </a:lnTo>
                    <a:lnTo>
                      <a:pt x="317" y="43"/>
                    </a:lnTo>
                    <a:lnTo>
                      <a:pt x="313" y="39"/>
                    </a:lnTo>
                    <a:lnTo>
                      <a:pt x="316" y="34"/>
                    </a:lnTo>
                    <a:lnTo>
                      <a:pt x="317" y="30"/>
                    </a:lnTo>
                    <a:lnTo>
                      <a:pt x="318" y="26"/>
                    </a:lnTo>
                    <a:lnTo>
                      <a:pt x="314" y="27"/>
                    </a:lnTo>
                    <a:lnTo>
                      <a:pt x="309" y="25"/>
                    </a:lnTo>
                    <a:lnTo>
                      <a:pt x="305" y="26"/>
                    </a:lnTo>
                    <a:lnTo>
                      <a:pt x="300" y="26"/>
                    </a:lnTo>
                    <a:lnTo>
                      <a:pt x="302" y="26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5" name="Freeform 72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1901349" y="3559275"/>
                <a:ext cx="262645" cy="146682"/>
              </a:xfrm>
              <a:custGeom>
                <a:avLst/>
                <a:gdLst>
                  <a:gd name="T0" fmla="*/ 2147483647 w 212"/>
                  <a:gd name="T1" fmla="*/ 2147483647 h 121"/>
                  <a:gd name="T2" fmla="*/ 2147483647 w 212"/>
                  <a:gd name="T3" fmla="*/ 2147483647 h 121"/>
                  <a:gd name="T4" fmla="*/ 2147483647 w 212"/>
                  <a:gd name="T5" fmla="*/ 2147483647 h 121"/>
                  <a:gd name="T6" fmla="*/ 2147483647 w 212"/>
                  <a:gd name="T7" fmla="*/ 2147483647 h 121"/>
                  <a:gd name="T8" fmla="*/ 2147483647 w 212"/>
                  <a:gd name="T9" fmla="*/ 2147483647 h 121"/>
                  <a:gd name="T10" fmla="*/ 2147483647 w 212"/>
                  <a:gd name="T11" fmla="*/ 2147483647 h 121"/>
                  <a:gd name="T12" fmla="*/ 2147483647 w 212"/>
                  <a:gd name="T13" fmla="*/ 2147483647 h 121"/>
                  <a:gd name="T14" fmla="*/ 2147483647 w 212"/>
                  <a:gd name="T15" fmla="*/ 2147483647 h 121"/>
                  <a:gd name="T16" fmla="*/ 0 w 212"/>
                  <a:gd name="T17" fmla="*/ 2147483647 h 121"/>
                  <a:gd name="T18" fmla="*/ 2147483647 w 212"/>
                  <a:gd name="T19" fmla="*/ 2147483647 h 121"/>
                  <a:gd name="T20" fmla="*/ 2147483647 w 212"/>
                  <a:gd name="T21" fmla="*/ 2147483647 h 121"/>
                  <a:gd name="T22" fmla="*/ 2147483647 w 212"/>
                  <a:gd name="T23" fmla="*/ 2147483647 h 121"/>
                  <a:gd name="T24" fmla="*/ 2147483647 w 212"/>
                  <a:gd name="T25" fmla="*/ 2147483647 h 121"/>
                  <a:gd name="T26" fmla="*/ 2147483647 w 212"/>
                  <a:gd name="T27" fmla="*/ 2147483647 h 121"/>
                  <a:gd name="T28" fmla="*/ 2147483647 w 212"/>
                  <a:gd name="T29" fmla="*/ 2147483647 h 121"/>
                  <a:gd name="T30" fmla="*/ 2147483647 w 212"/>
                  <a:gd name="T31" fmla="*/ 2147483647 h 121"/>
                  <a:gd name="T32" fmla="*/ 2147483647 w 212"/>
                  <a:gd name="T33" fmla="*/ 2147483647 h 121"/>
                  <a:gd name="T34" fmla="*/ 2147483647 w 212"/>
                  <a:gd name="T35" fmla="*/ 2147483647 h 121"/>
                  <a:gd name="T36" fmla="*/ 2147483647 w 212"/>
                  <a:gd name="T37" fmla="*/ 2147483647 h 121"/>
                  <a:gd name="T38" fmla="*/ 2147483647 w 212"/>
                  <a:gd name="T39" fmla="*/ 2147483647 h 121"/>
                  <a:gd name="T40" fmla="*/ 2147483647 w 212"/>
                  <a:gd name="T41" fmla="*/ 2147483647 h 121"/>
                  <a:gd name="T42" fmla="*/ 2147483647 w 212"/>
                  <a:gd name="T43" fmla="*/ 2147483647 h 121"/>
                  <a:gd name="T44" fmla="*/ 2147483647 w 212"/>
                  <a:gd name="T45" fmla="*/ 2147483647 h 121"/>
                  <a:gd name="T46" fmla="*/ 2147483647 w 212"/>
                  <a:gd name="T47" fmla="*/ 2147483647 h 121"/>
                  <a:gd name="T48" fmla="*/ 2147483647 w 212"/>
                  <a:gd name="T49" fmla="*/ 2147483647 h 121"/>
                  <a:gd name="T50" fmla="*/ 2147483647 w 212"/>
                  <a:gd name="T51" fmla="*/ 2147483647 h 121"/>
                  <a:gd name="T52" fmla="*/ 2147483647 w 212"/>
                  <a:gd name="T53" fmla="*/ 2147483647 h 121"/>
                  <a:gd name="T54" fmla="*/ 2147483647 w 212"/>
                  <a:gd name="T55" fmla="*/ 2147483647 h 121"/>
                  <a:gd name="T56" fmla="*/ 2147483647 w 212"/>
                  <a:gd name="T57" fmla="*/ 2147483647 h 121"/>
                  <a:gd name="T58" fmla="*/ 2147483647 w 212"/>
                  <a:gd name="T59" fmla="*/ 2147483647 h 121"/>
                  <a:gd name="T60" fmla="*/ 2147483647 w 212"/>
                  <a:gd name="T61" fmla="*/ 2147483647 h 121"/>
                  <a:gd name="T62" fmla="*/ 2147483647 w 212"/>
                  <a:gd name="T63" fmla="*/ 2147483647 h 121"/>
                  <a:gd name="T64" fmla="*/ 2147483647 w 212"/>
                  <a:gd name="T65" fmla="*/ 2147483647 h 121"/>
                  <a:gd name="T66" fmla="*/ 2147483647 w 212"/>
                  <a:gd name="T67" fmla="*/ 2147483647 h 121"/>
                  <a:gd name="T68" fmla="*/ 2147483647 w 212"/>
                  <a:gd name="T69" fmla="*/ 2147483647 h 121"/>
                  <a:gd name="T70" fmla="*/ 2147483647 w 212"/>
                  <a:gd name="T71" fmla="*/ 2147483647 h 121"/>
                  <a:gd name="T72" fmla="*/ 2147483647 w 212"/>
                  <a:gd name="T73" fmla="*/ 2147483647 h 121"/>
                  <a:gd name="T74" fmla="*/ 2147483647 w 212"/>
                  <a:gd name="T75" fmla="*/ 2147483647 h 121"/>
                  <a:gd name="T76" fmla="*/ 2147483647 w 212"/>
                  <a:gd name="T77" fmla="*/ 2147483647 h 121"/>
                  <a:gd name="T78" fmla="*/ 2147483647 w 212"/>
                  <a:gd name="T79" fmla="*/ 2147483647 h 121"/>
                  <a:gd name="T80" fmla="*/ 2147483647 w 212"/>
                  <a:gd name="T81" fmla="*/ 2147483647 h 121"/>
                  <a:gd name="T82" fmla="*/ 2147483647 w 212"/>
                  <a:gd name="T83" fmla="*/ 2147483647 h 121"/>
                  <a:gd name="T84" fmla="*/ 2147483647 w 212"/>
                  <a:gd name="T85" fmla="*/ 2147483647 h 12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12"/>
                  <a:gd name="T130" fmla="*/ 0 h 121"/>
                  <a:gd name="T131" fmla="*/ 212 w 212"/>
                  <a:gd name="T132" fmla="*/ 121 h 121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12" h="121">
                    <a:moveTo>
                      <a:pt x="104" y="17"/>
                    </a:moveTo>
                    <a:lnTo>
                      <a:pt x="101" y="12"/>
                    </a:lnTo>
                    <a:lnTo>
                      <a:pt x="101" y="9"/>
                    </a:lnTo>
                    <a:lnTo>
                      <a:pt x="98" y="4"/>
                    </a:lnTo>
                    <a:lnTo>
                      <a:pt x="95" y="1"/>
                    </a:lnTo>
                    <a:lnTo>
                      <a:pt x="90" y="1"/>
                    </a:lnTo>
                    <a:lnTo>
                      <a:pt x="85" y="1"/>
                    </a:lnTo>
                    <a:lnTo>
                      <a:pt x="81" y="1"/>
                    </a:lnTo>
                    <a:lnTo>
                      <a:pt x="76" y="2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3" y="1"/>
                    </a:lnTo>
                    <a:lnTo>
                      <a:pt x="58" y="0"/>
                    </a:lnTo>
                    <a:lnTo>
                      <a:pt x="54" y="0"/>
                    </a:lnTo>
                    <a:lnTo>
                      <a:pt x="49" y="3"/>
                    </a:lnTo>
                    <a:lnTo>
                      <a:pt x="47" y="7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2" y="15"/>
                    </a:lnTo>
                    <a:lnTo>
                      <a:pt x="27" y="21"/>
                    </a:lnTo>
                    <a:lnTo>
                      <a:pt x="24" y="21"/>
                    </a:lnTo>
                    <a:lnTo>
                      <a:pt x="19" y="23"/>
                    </a:lnTo>
                    <a:lnTo>
                      <a:pt x="15" y="24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2" y="32"/>
                    </a:lnTo>
                    <a:lnTo>
                      <a:pt x="0" y="37"/>
                    </a:lnTo>
                    <a:lnTo>
                      <a:pt x="1" y="41"/>
                    </a:lnTo>
                    <a:lnTo>
                      <a:pt x="1" y="45"/>
                    </a:lnTo>
                    <a:lnTo>
                      <a:pt x="4" y="49"/>
                    </a:lnTo>
                    <a:lnTo>
                      <a:pt x="9" y="52"/>
                    </a:lnTo>
                    <a:lnTo>
                      <a:pt x="14" y="53"/>
                    </a:lnTo>
                    <a:lnTo>
                      <a:pt x="19" y="55"/>
                    </a:lnTo>
                    <a:lnTo>
                      <a:pt x="23" y="55"/>
                    </a:lnTo>
                    <a:lnTo>
                      <a:pt x="28" y="54"/>
                    </a:lnTo>
                    <a:lnTo>
                      <a:pt x="32" y="54"/>
                    </a:lnTo>
                    <a:lnTo>
                      <a:pt x="37" y="53"/>
                    </a:lnTo>
                    <a:lnTo>
                      <a:pt x="42" y="54"/>
                    </a:lnTo>
                    <a:lnTo>
                      <a:pt x="46" y="56"/>
                    </a:lnTo>
                    <a:lnTo>
                      <a:pt x="49" y="58"/>
                    </a:lnTo>
                    <a:lnTo>
                      <a:pt x="55" y="65"/>
                    </a:lnTo>
                    <a:lnTo>
                      <a:pt x="56" y="68"/>
                    </a:lnTo>
                    <a:lnTo>
                      <a:pt x="57" y="72"/>
                    </a:lnTo>
                    <a:lnTo>
                      <a:pt x="59" y="77"/>
                    </a:lnTo>
                    <a:lnTo>
                      <a:pt x="62" y="80"/>
                    </a:lnTo>
                    <a:lnTo>
                      <a:pt x="62" y="85"/>
                    </a:lnTo>
                    <a:lnTo>
                      <a:pt x="63" y="89"/>
                    </a:lnTo>
                    <a:lnTo>
                      <a:pt x="63" y="92"/>
                    </a:lnTo>
                    <a:lnTo>
                      <a:pt x="67" y="96"/>
                    </a:lnTo>
                    <a:lnTo>
                      <a:pt x="69" y="100"/>
                    </a:lnTo>
                    <a:lnTo>
                      <a:pt x="75" y="101"/>
                    </a:lnTo>
                    <a:lnTo>
                      <a:pt x="79" y="103"/>
                    </a:lnTo>
                    <a:lnTo>
                      <a:pt x="84" y="106"/>
                    </a:lnTo>
                    <a:lnTo>
                      <a:pt x="88" y="103"/>
                    </a:lnTo>
                    <a:lnTo>
                      <a:pt x="88" y="100"/>
                    </a:lnTo>
                    <a:lnTo>
                      <a:pt x="89" y="95"/>
                    </a:lnTo>
                    <a:lnTo>
                      <a:pt x="91" y="91"/>
                    </a:lnTo>
                    <a:lnTo>
                      <a:pt x="95" y="90"/>
                    </a:lnTo>
                    <a:lnTo>
                      <a:pt x="98" y="94"/>
                    </a:lnTo>
                    <a:lnTo>
                      <a:pt x="101" y="98"/>
                    </a:lnTo>
                    <a:lnTo>
                      <a:pt x="105" y="97"/>
                    </a:lnTo>
                    <a:lnTo>
                      <a:pt x="108" y="101"/>
                    </a:lnTo>
                    <a:lnTo>
                      <a:pt x="112" y="109"/>
                    </a:lnTo>
                    <a:lnTo>
                      <a:pt x="115" y="109"/>
                    </a:lnTo>
                    <a:lnTo>
                      <a:pt x="121" y="107"/>
                    </a:lnTo>
                    <a:lnTo>
                      <a:pt x="125" y="111"/>
                    </a:lnTo>
                    <a:lnTo>
                      <a:pt x="131" y="113"/>
                    </a:lnTo>
                    <a:lnTo>
                      <a:pt x="135" y="114"/>
                    </a:lnTo>
                    <a:lnTo>
                      <a:pt x="140" y="116"/>
                    </a:lnTo>
                    <a:lnTo>
                      <a:pt x="143" y="119"/>
                    </a:lnTo>
                    <a:lnTo>
                      <a:pt x="148" y="121"/>
                    </a:lnTo>
                    <a:lnTo>
                      <a:pt x="147" y="116"/>
                    </a:lnTo>
                    <a:lnTo>
                      <a:pt x="151" y="114"/>
                    </a:lnTo>
                    <a:lnTo>
                      <a:pt x="156" y="114"/>
                    </a:lnTo>
                    <a:lnTo>
                      <a:pt x="160" y="111"/>
                    </a:lnTo>
                    <a:lnTo>
                      <a:pt x="165" y="110"/>
                    </a:lnTo>
                    <a:lnTo>
                      <a:pt x="168" y="110"/>
                    </a:lnTo>
                    <a:lnTo>
                      <a:pt x="173" y="109"/>
                    </a:lnTo>
                    <a:lnTo>
                      <a:pt x="177" y="109"/>
                    </a:lnTo>
                    <a:lnTo>
                      <a:pt x="182" y="108"/>
                    </a:lnTo>
                    <a:lnTo>
                      <a:pt x="185" y="108"/>
                    </a:lnTo>
                    <a:lnTo>
                      <a:pt x="191" y="109"/>
                    </a:lnTo>
                    <a:lnTo>
                      <a:pt x="195" y="109"/>
                    </a:lnTo>
                    <a:lnTo>
                      <a:pt x="197" y="106"/>
                    </a:lnTo>
                    <a:lnTo>
                      <a:pt x="194" y="101"/>
                    </a:lnTo>
                    <a:lnTo>
                      <a:pt x="193" y="97"/>
                    </a:lnTo>
                    <a:lnTo>
                      <a:pt x="198" y="96"/>
                    </a:lnTo>
                    <a:lnTo>
                      <a:pt x="199" y="91"/>
                    </a:lnTo>
                    <a:lnTo>
                      <a:pt x="204" y="88"/>
                    </a:lnTo>
                    <a:lnTo>
                      <a:pt x="205" y="84"/>
                    </a:lnTo>
                    <a:lnTo>
                      <a:pt x="207" y="79"/>
                    </a:lnTo>
                    <a:lnTo>
                      <a:pt x="212" y="77"/>
                    </a:lnTo>
                    <a:lnTo>
                      <a:pt x="211" y="72"/>
                    </a:lnTo>
                    <a:lnTo>
                      <a:pt x="211" y="69"/>
                    </a:lnTo>
                    <a:lnTo>
                      <a:pt x="205" y="66"/>
                    </a:lnTo>
                    <a:lnTo>
                      <a:pt x="202" y="61"/>
                    </a:lnTo>
                    <a:lnTo>
                      <a:pt x="202" y="58"/>
                    </a:lnTo>
                    <a:lnTo>
                      <a:pt x="199" y="53"/>
                    </a:lnTo>
                    <a:lnTo>
                      <a:pt x="197" y="49"/>
                    </a:lnTo>
                    <a:lnTo>
                      <a:pt x="192" y="50"/>
                    </a:lnTo>
                    <a:lnTo>
                      <a:pt x="187" y="50"/>
                    </a:lnTo>
                    <a:lnTo>
                      <a:pt x="183" y="50"/>
                    </a:lnTo>
                    <a:lnTo>
                      <a:pt x="178" y="51"/>
                    </a:lnTo>
                    <a:lnTo>
                      <a:pt x="174" y="52"/>
                    </a:lnTo>
                    <a:lnTo>
                      <a:pt x="168" y="47"/>
                    </a:lnTo>
                    <a:lnTo>
                      <a:pt x="164" y="46"/>
                    </a:lnTo>
                    <a:lnTo>
                      <a:pt x="159" y="44"/>
                    </a:lnTo>
                    <a:lnTo>
                      <a:pt x="155" y="42"/>
                    </a:lnTo>
                    <a:lnTo>
                      <a:pt x="150" y="43"/>
                    </a:lnTo>
                    <a:lnTo>
                      <a:pt x="147" y="43"/>
                    </a:lnTo>
                    <a:lnTo>
                      <a:pt x="142" y="46"/>
                    </a:lnTo>
                    <a:lnTo>
                      <a:pt x="138" y="49"/>
                    </a:lnTo>
                    <a:lnTo>
                      <a:pt x="134" y="52"/>
                    </a:lnTo>
                    <a:lnTo>
                      <a:pt x="132" y="57"/>
                    </a:lnTo>
                    <a:lnTo>
                      <a:pt x="131" y="62"/>
                    </a:lnTo>
                    <a:lnTo>
                      <a:pt x="127" y="68"/>
                    </a:lnTo>
                    <a:lnTo>
                      <a:pt x="127" y="71"/>
                    </a:lnTo>
                    <a:lnTo>
                      <a:pt x="128" y="76"/>
                    </a:lnTo>
                    <a:lnTo>
                      <a:pt x="125" y="71"/>
                    </a:lnTo>
                    <a:lnTo>
                      <a:pt x="119" y="66"/>
                    </a:lnTo>
                    <a:lnTo>
                      <a:pt x="114" y="60"/>
                    </a:lnTo>
                    <a:lnTo>
                      <a:pt x="112" y="55"/>
                    </a:lnTo>
                    <a:lnTo>
                      <a:pt x="108" y="48"/>
                    </a:lnTo>
                    <a:lnTo>
                      <a:pt x="107" y="45"/>
                    </a:lnTo>
                    <a:lnTo>
                      <a:pt x="105" y="41"/>
                    </a:lnTo>
                    <a:lnTo>
                      <a:pt x="104" y="37"/>
                    </a:lnTo>
                    <a:lnTo>
                      <a:pt x="102" y="33"/>
                    </a:lnTo>
                    <a:lnTo>
                      <a:pt x="101" y="24"/>
                    </a:lnTo>
                    <a:lnTo>
                      <a:pt x="104" y="17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6" name="Freeform 73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 rot="-459984">
                <a:off x="1845227" y="3605841"/>
                <a:ext cx="249178" cy="214201"/>
              </a:xfrm>
              <a:custGeom>
                <a:avLst/>
                <a:gdLst>
                  <a:gd name="T0" fmla="*/ 2147483647 w 179"/>
                  <a:gd name="T1" fmla="*/ 2147483647 h 160"/>
                  <a:gd name="T2" fmla="*/ 2147483647 w 179"/>
                  <a:gd name="T3" fmla="*/ 2147483647 h 160"/>
                  <a:gd name="T4" fmla="*/ 2147483647 w 179"/>
                  <a:gd name="T5" fmla="*/ 2147483647 h 160"/>
                  <a:gd name="T6" fmla="*/ 2147483647 w 179"/>
                  <a:gd name="T7" fmla="*/ 2147483647 h 160"/>
                  <a:gd name="T8" fmla="*/ 2147483647 w 179"/>
                  <a:gd name="T9" fmla="*/ 2147483647 h 160"/>
                  <a:gd name="T10" fmla="*/ 2147483647 w 179"/>
                  <a:gd name="T11" fmla="*/ 2147483647 h 160"/>
                  <a:gd name="T12" fmla="*/ 2147483647 w 179"/>
                  <a:gd name="T13" fmla="*/ 2147483647 h 160"/>
                  <a:gd name="T14" fmla="*/ 2147483647 w 179"/>
                  <a:gd name="T15" fmla="*/ 2147483647 h 160"/>
                  <a:gd name="T16" fmla="*/ 2147483647 w 179"/>
                  <a:gd name="T17" fmla="*/ 2147483647 h 160"/>
                  <a:gd name="T18" fmla="*/ 2147483647 w 179"/>
                  <a:gd name="T19" fmla="*/ 0 h 160"/>
                  <a:gd name="T20" fmla="*/ 2147483647 w 179"/>
                  <a:gd name="T21" fmla="*/ 2147483647 h 160"/>
                  <a:gd name="T22" fmla="*/ 2147483647 w 179"/>
                  <a:gd name="T23" fmla="*/ 2147483647 h 160"/>
                  <a:gd name="T24" fmla="*/ 2147483647 w 179"/>
                  <a:gd name="T25" fmla="*/ 2147483647 h 160"/>
                  <a:gd name="T26" fmla="*/ 2147483647 w 179"/>
                  <a:gd name="T27" fmla="*/ 2147483647 h 160"/>
                  <a:gd name="T28" fmla="*/ 2147483647 w 179"/>
                  <a:gd name="T29" fmla="*/ 2147483647 h 160"/>
                  <a:gd name="T30" fmla="*/ 2147483647 w 179"/>
                  <a:gd name="T31" fmla="*/ 2147483647 h 160"/>
                  <a:gd name="T32" fmla="*/ 2147483647 w 179"/>
                  <a:gd name="T33" fmla="*/ 2147483647 h 160"/>
                  <a:gd name="T34" fmla="*/ 2147483647 w 179"/>
                  <a:gd name="T35" fmla="*/ 2147483647 h 160"/>
                  <a:gd name="T36" fmla="*/ 0 w 179"/>
                  <a:gd name="T37" fmla="*/ 2147483647 h 160"/>
                  <a:gd name="T38" fmla="*/ 2147483647 w 179"/>
                  <a:gd name="T39" fmla="*/ 2147483647 h 160"/>
                  <a:gd name="T40" fmla="*/ 2147483647 w 179"/>
                  <a:gd name="T41" fmla="*/ 2147483647 h 160"/>
                  <a:gd name="T42" fmla="*/ 2147483647 w 179"/>
                  <a:gd name="T43" fmla="*/ 2147483647 h 160"/>
                  <a:gd name="T44" fmla="*/ 2147483647 w 179"/>
                  <a:gd name="T45" fmla="*/ 2147483647 h 160"/>
                  <a:gd name="T46" fmla="*/ 2147483647 w 179"/>
                  <a:gd name="T47" fmla="*/ 2147483647 h 160"/>
                  <a:gd name="T48" fmla="*/ 2147483647 w 179"/>
                  <a:gd name="T49" fmla="*/ 2147483647 h 160"/>
                  <a:gd name="T50" fmla="*/ 2147483647 w 179"/>
                  <a:gd name="T51" fmla="*/ 2147483647 h 160"/>
                  <a:gd name="T52" fmla="*/ 2147483647 w 179"/>
                  <a:gd name="T53" fmla="*/ 2147483647 h 160"/>
                  <a:gd name="T54" fmla="*/ 2147483647 w 179"/>
                  <a:gd name="T55" fmla="*/ 2147483647 h 160"/>
                  <a:gd name="T56" fmla="*/ 2147483647 w 179"/>
                  <a:gd name="T57" fmla="*/ 2147483647 h 160"/>
                  <a:gd name="T58" fmla="*/ 2147483647 w 179"/>
                  <a:gd name="T59" fmla="*/ 2147483647 h 160"/>
                  <a:gd name="T60" fmla="*/ 2147483647 w 179"/>
                  <a:gd name="T61" fmla="*/ 2147483647 h 160"/>
                  <a:gd name="T62" fmla="*/ 2147483647 w 179"/>
                  <a:gd name="T63" fmla="*/ 2147483647 h 160"/>
                  <a:gd name="T64" fmla="*/ 2147483647 w 179"/>
                  <a:gd name="T65" fmla="*/ 2147483647 h 160"/>
                  <a:gd name="T66" fmla="*/ 2147483647 w 179"/>
                  <a:gd name="T67" fmla="*/ 2147483647 h 160"/>
                  <a:gd name="T68" fmla="*/ 2147483647 w 179"/>
                  <a:gd name="T69" fmla="*/ 2147483647 h 160"/>
                  <a:gd name="T70" fmla="*/ 2147483647 w 179"/>
                  <a:gd name="T71" fmla="*/ 2147483647 h 160"/>
                  <a:gd name="T72" fmla="*/ 2147483647 w 179"/>
                  <a:gd name="T73" fmla="*/ 2147483647 h 160"/>
                  <a:gd name="T74" fmla="*/ 2147483647 w 179"/>
                  <a:gd name="T75" fmla="*/ 2147483647 h 160"/>
                  <a:gd name="T76" fmla="*/ 2147483647 w 179"/>
                  <a:gd name="T77" fmla="*/ 2147483647 h 160"/>
                  <a:gd name="T78" fmla="*/ 2147483647 w 179"/>
                  <a:gd name="T79" fmla="*/ 2147483647 h 160"/>
                  <a:gd name="T80" fmla="*/ 2147483647 w 179"/>
                  <a:gd name="T81" fmla="*/ 2147483647 h 160"/>
                  <a:gd name="T82" fmla="*/ 2147483647 w 179"/>
                  <a:gd name="T83" fmla="*/ 2147483647 h 160"/>
                  <a:gd name="T84" fmla="*/ 2147483647 w 179"/>
                  <a:gd name="T85" fmla="*/ 2147483647 h 160"/>
                  <a:gd name="T86" fmla="*/ 2147483647 w 179"/>
                  <a:gd name="T87" fmla="*/ 2147483647 h 160"/>
                  <a:gd name="T88" fmla="*/ 2147483647 w 179"/>
                  <a:gd name="T89" fmla="*/ 2147483647 h 160"/>
                  <a:gd name="T90" fmla="*/ 2147483647 w 179"/>
                  <a:gd name="T91" fmla="*/ 2147483647 h 160"/>
                  <a:gd name="T92" fmla="*/ 2147483647 w 179"/>
                  <a:gd name="T93" fmla="*/ 2147483647 h 16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79"/>
                  <a:gd name="T142" fmla="*/ 0 h 160"/>
                  <a:gd name="T143" fmla="*/ 179 w 179"/>
                  <a:gd name="T144" fmla="*/ 160 h 16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79" h="160">
                    <a:moveTo>
                      <a:pt x="129" y="49"/>
                    </a:moveTo>
                    <a:lnTo>
                      <a:pt x="127" y="53"/>
                    </a:lnTo>
                    <a:lnTo>
                      <a:pt x="123" y="55"/>
                    </a:lnTo>
                    <a:lnTo>
                      <a:pt x="119" y="57"/>
                    </a:lnTo>
                    <a:lnTo>
                      <a:pt x="115" y="57"/>
                    </a:lnTo>
                    <a:lnTo>
                      <a:pt x="111" y="59"/>
                    </a:lnTo>
                    <a:lnTo>
                      <a:pt x="107" y="57"/>
                    </a:lnTo>
                    <a:lnTo>
                      <a:pt x="103" y="53"/>
                    </a:lnTo>
                    <a:lnTo>
                      <a:pt x="103" y="49"/>
                    </a:lnTo>
                    <a:lnTo>
                      <a:pt x="103" y="46"/>
                    </a:lnTo>
                    <a:lnTo>
                      <a:pt x="101" y="42"/>
                    </a:lnTo>
                    <a:lnTo>
                      <a:pt x="101" y="38"/>
                    </a:lnTo>
                    <a:lnTo>
                      <a:pt x="99" y="35"/>
                    </a:lnTo>
                    <a:lnTo>
                      <a:pt x="99" y="29"/>
                    </a:lnTo>
                    <a:lnTo>
                      <a:pt x="97" y="26"/>
                    </a:lnTo>
                    <a:lnTo>
                      <a:pt x="95" y="22"/>
                    </a:lnTo>
                    <a:lnTo>
                      <a:pt x="93" y="18"/>
                    </a:lnTo>
                    <a:lnTo>
                      <a:pt x="89" y="16"/>
                    </a:lnTo>
                    <a:lnTo>
                      <a:pt x="85" y="15"/>
                    </a:lnTo>
                    <a:lnTo>
                      <a:pt x="81" y="13"/>
                    </a:lnTo>
                    <a:lnTo>
                      <a:pt x="77" y="13"/>
                    </a:lnTo>
                    <a:lnTo>
                      <a:pt x="73" y="13"/>
                    </a:lnTo>
                    <a:lnTo>
                      <a:pt x="71" y="9"/>
                    </a:lnTo>
                    <a:lnTo>
                      <a:pt x="67" y="9"/>
                    </a:lnTo>
                    <a:lnTo>
                      <a:pt x="63" y="7"/>
                    </a:lnTo>
                    <a:lnTo>
                      <a:pt x="59" y="4"/>
                    </a:lnTo>
                    <a:lnTo>
                      <a:pt x="55" y="2"/>
                    </a:lnTo>
                    <a:lnTo>
                      <a:pt x="51" y="0"/>
                    </a:lnTo>
                    <a:lnTo>
                      <a:pt x="47" y="0"/>
                    </a:lnTo>
                    <a:lnTo>
                      <a:pt x="44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4" y="4"/>
                    </a:lnTo>
                    <a:lnTo>
                      <a:pt x="30" y="5"/>
                    </a:lnTo>
                    <a:lnTo>
                      <a:pt x="26" y="7"/>
                    </a:lnTo>
                    <a:lnTo>
                      <a:pt x="24" y="11"/>
                    </a:lnTo>
                    <a:lnTo>
                      <a:pt x="22" y="15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2" y="29"/>
                    </a:lnTo>
                    <a:lnTo>
                      <a:pt x="22" y="33"/>
                    </a:lnTo>
                    <a:lnTo>
                      <a:pt x="22" y="37"/>
                    </a:lnTo>
                    <a:lnTo>
                      <a:pt x="20" y="40"/>
                    </a:lnTo>
                    <a:lnTo>
                      <a:pt x="18" y="44"/>
                    </a:lnTo>
                    <a:lnTo>
                      <a:pt x="18" y="48"/>
                    </a:lnTo>
                    <a:lnTo>
                      <a:pt x="16" y="51"/>
                    </a:lnTo>
                    <a:lnTo>
                      <a:pt x="18" y="55"/>
                    </a:lnTo>
                    <a:lnTo>
                      <a:pt x="20" y="59"/>
                    </a:lnTo>
                    <a:lnTo>
                      <a:pt x="18" y="62"/>
                    </a:lnTo>
                    <a:lnTo>
                      <a:pt x="14" y="64"/>
                    </a:lnTo>
                    <a:lnTo>
                      <a:pt x="12" y="68"/>
                    </a:lnTo>
                    <a:lnTo>
                      <a:pt x="8" y="69"/>
                    </a:lnTo>
                    <a:lnTo>
                      <a:pt x="4" y="73"/>
                    </a:lnTo>
                    <a:lnTo>
                      <a:pt x="0" y="75"/>
                    </a:lnTo>
                    <a:lnTo>
                      <a:pt x="0" y="79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8" y="84"/>
                    </a:lnTo>
                    <a:lnTo>
                      <a:pt x="12" y="86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0" y="93"/>
                    </a:lnTo>
                    <a:lnTo>
                      <a:pt x="24" y="95"/>
                    </a:lnTo>
                    <a:lnTo>
                      <a:pt x="26" y="99"/>
                    </a:lnTo>
                    <a:lnTo>
                      <a:pt x="28" y="102"/>
                    </a:lnTo>
                    <a:lnTo>
                      <a:pt x="30" y="106"/>
                    </a:lnTo>
                    <a:lnTo>
                      <a:pt x="34" y="108"/>
                    </a:lnTo>
                    <a:lnTo>
                      <a:pt x="38" y="112"/>
                    </a:lnTo>
                    <a:lnTo>
                      <a:pt x="42" y="113"/>
                    </a:lnTo>
                    <a:lnTo>
                      <a:pt x="45" y="112"/>
                    </a:lnTo>
                    <a:lnTo>
                      <a:pt x="49" y="110"/>
                    </a:lnTo>
                    <a:lnTo>
                      <a:pt x="51" y="113"/>
                    </a:lnTo>
                    <a:lnTo>
                      <a:pt x="51" y="117"/>
                    </a:lnTo>
                    <a:lnTo>
                      <a:pt x="51" y="121"/>
                    </a:lnTo>
                    <a:lnTo>
                      <a:pt x="53" y="124"/>
                    </a:lnTo>
                    <a:lnTo>
                      <a:pt x="57" y="128"/>
                    </a:lnTo>
                    <a:lnTo>
                      <a:pt x="61" y="130"/>
                    </a:lnTo>
                    <a:lnTo>
                      <a:pt x="65" y="130"/>
                    </a:lnTo>
                    <a:lnTo>
                      <a:pt x="69" y="130"/>
                    </a:lnTo>
                    <a:lnTo>
                      <a:pt x="73" y="130"/>
                    </a:lnTo>
                    <a:lnTo>
                      <a:pt x="77" y="130"/>
                    </a:lnTo>
                    <a:lnTo>
                      <a:pt x="81" y="132"/>
                    </a:lnTo>
                    <a:lnTo>
                      <a:pt x="85" y="133"/>
                    </a:lnTo>
                    <a:lnTo>
                      <a:pt x="91" y="135"/>
                    </a:lnTo>
                    <a:lnTo>
                      <a:pt x="93" y="139"/>
                    </a:lnTo>
                    <a:lnTo>
                      <a:pt x="89" y="139"/>
                    </a:lnTo>
                    <a:lnTo>
                      <a:pt x="87" y="143"/>
                    </a:lnTo>
                    <a:lnTo>
                      <a:pt x="87" y="146"/>
                    </a:lnTo>
                    <a:lnTo>
                      <a:pt x="91" y="148"/>
                    </a:lnTo>
                    <a:lnTo>
                      <a:pt x="97" y="148"/>
                    </a:lnTo>
                    <a:lnTo>
                      <a:pt x="101" y="148"/>
                    </a:lnTo>
                    <a:lnTo>
                      <a:pt x="109" y="148"/>
                    </a:lnTo>
                    <a:lnTo>
                      <a:pt x="113" y="146"/>
                    </a:lnTo>
                    <a:lnTo>
                      <a:pt x="117" y="146"/>
                    </a:lnTo>
                    <a:lnTo>
                      <a:pt x="121" y="148"/>
                    </a:lnTo>
                    <a:lnTo>
                      <a:pt x="125" y="150"/>
                    </a:lnTo>
                    <a:lnTo>
                      <a:pt x="129" y="154"/>
                    </a:lnTo>
                    <a:lnTo>
                      <a:pt x="133" y="155"/>
                    </a:lnTo>
                    <a:lnTo>
                      <a:pt x="136" y="157"/>
                    </a:lnTo>
                    <a:lnTo>
                      <a:pt x="140" y="159"/>
                    </a:lnTo>
                    <a:lnTo>
                      <a:pt x="142" y="155"/>
                    </a:lnTo>
                    <a:lnTo>
                      <a:pt x="146" y="155"/>
                    </a:lnTo>
                    <a:lnTo>
                      <a:pt x="150" y="155"/>
                    </a:lnTo>
                    <a:lnTo>
                      <a:pt x="154" y="155"/>
                    </a:lnTo>
                    <a:lnTo>
                      <a:pt x="158" y="155"/>
                    </a:lnTo>
                    <a:lnTo>
                      <a:pt x="160" y="152"/>
                    </a:lnTo>
                    <a:lnTo>
                      <a:pt x="162" y="148"/>
                    </a:lnTo>
                    <a:lnTo>
                      <a:pt x="160" y="144"/>
                    </a:lnTo>
                    <a:lnTo>
                      <a:pt x="166" y="143"/>
                    </a:lnTo>
                    <a:lnTo>
                      <a:pt x="170" y="141"/>
                    </a:lnTo>
                    <a:lnTo>
                      <a:pt x="174" y="139"/>
                    </a:lnTo>
                    <a:lnTo>
                      <a:pt x="178" y="137"/>
                    </a:lnTo>
                    <a:lnTo>
                      <a:pt x="178" y="133"/>
                    </a:lnTo>
                    <a:lnTo>
                      <a:pt x="176" y="130"/>
                    </a:lnTo>
                    <a:lnTo>
                      <a:pt x="176" y="126"/>
                    </a:lnTo>
                    <a:lnTo>
                      <a:pt x="176" y="123"/>
                    </a:lnTo>
                    <a:lnTo>
                      <a:pt x="174" y="119"/>
                    </a:lnTo>
                    <a:lnTo>
                      <a:pt x="172" y="115"/>
                    </a:lnTo>
                    <a:lnTo>
                      <a:pt x="172" y="112"/>
                    </a:lnTo>
                    <a:lnTo>
                      <a:pt x="172" y="108"/>
                    </a:lnTo>
                    <a:lnTo>
                      <a:pt x="174" y="104"/>
                    </a:lnTo>
                    <a:lnTo>
                      <a:pt x="174" y="101"/>
                    </a:lnTo>
                    <a:lnTo>
                      <a:pt x="174" y="97"/>
                    </a:lnTo>
                    <a:lnTo>
                      <a:pt x="174" y="93"/>
                    </a:lnTo>
                    <a:lnTo>
                      <a:pt x="174" y="90"/>
                    </a:lnTo>
                    <a:lnTo>
                      <a:pt x="172" y="84"/>
                    </a:lnTo>
                    <a:lnTo>
                      <a:pt x="168" y="80"/>
                    </a:lnTo>
                    <a:lnTo>
                      <a:pt x="164" y="79"/>
                    </a:lnTo>
                    <a:lnTo>
                      <a:pt x="160" y="79"/>
                    </a:lnTo>
                    <a:lnTo>
                      <a:pt x="156" y="77"/>
                    </a:lnTo>
                    <a:lnTo>
                      <a:pt x="152" y="75"/>
                    </a:lnTo>
                    <a:lnTo>
                      <a:pt x="148" y="73"/>
                    </a:lnTo>
                    <a:lnTo>
                      <a:pt x="144" y="69"/>
                    </a:lnTo>
                    <a:lnTo>
                      <a:pt x="140" y="68"/>
                    </a:lnTo>
                    <a:lnTo>
                      <a:pt x="136" y="64"/>
                    </a:lnTo>
                    <a:lnTo>
                      <a:pt x="134" y="60"/>
                    </a:lnTo>
                    <a:lnTo>
                      <a:pt x="134" y="57"/>
                    </a:lnTo>
                    <a:lnTo>
                      <a:pt x="133" y="53"/>
                    </a:lnTo>
                    <a:lnTo>
                      <a:pt x="129" y="53"/>
                    </a:lnTo>
                    <a:lnTo>
                      <a:pt x="129" y="49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7" name="Freeform 74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 rot="21140016">
                <a:off x="2215626" y="3494084"/>
                <a:ext cx="204279" cy="162979"/>
              </a:xfrm>
              <a:custGeom>
                <a:avLst/>
                <a:gdLst>
                  <a:gd name="T0" fmla="*/ 2147483647 w 146"/>
                  <a:gd name="T1" fmla="*/ 2147483647 h 123"/>
                  <a:gd name="T2" fmla="*/ 2147483647 w 146"/>
                  <a:gd name="T3" fmla="*/ 2147483647 h 123"/>
                  <a:gd name="T4" fmla="*/ 2147483647 w 146"/>
                  <a:gd name="T5" fmla="*/ 2147483647 h 123"/>
                  <a:gd name="T6" fmla="*/ 2147483647 w 146"/>
                  <a:gd name="T7" fmla="*/ 2147483647 h 123"/>
                  <a:gd name="T8" fmla="*/ 2147483647 w 146"/>
                  <a:gd name="T9" fmla="*/ 2147483647 h 123"/>
                  <a:gd name="T10" fmla="*/ 2147483647 w 146"/>
                  <a:gd name="T11" fmla="*/ 2147483647 h 123"/>
                  <a:gd name="T12" fmla="*/ 2147483647 w 146"/>
                  <a:gd name="T13" fmla="*/ 0 h 123"/>
                  <a:gd name="T14" fmla="*/ 2147483647 w 146"/>
                  <a:gd name="T15" fmla="*/ 2147483647 h 123"/>
                  <a:gd name="T16" fmla="*/ 2147483647 w 146"/>
                  <a:gd name="T17" fmla="*/ 2147483647 h 123"/>
                  <a:gd name="T18" fmla="*/ 2147483647 w 146"/>
                  <a:gd name="T19" fmla="*/ 2147483647 h 123"/>
                  <a:gd name="T20" fmla="*/ 2147483647 w 146"/>
                  <a:gd name="T21" fmla="*/ 2147483647 h 123"/>
                  <a:gd name="T22" fmla="*/ 2147483647 w 146"/>
                  <a:gd name="T23" fmla="*/ 2147483647 h 123"/>
                  <a:gd name="T24" fmla="*/ 0 w 146"/>
                  <a:gd name="T25" fmla="*/ 2147483647 h 123"/>
                  <a:gd name="T26" fmla="*/ 0 w 146"/>
                  <a:gd name="T27" fmla="*/ 2147483647 h 123"/>
                  <a:gd name="T28" fmla="*/ 2147483647 w 146"/>
                  <a:gd name="T29" fmla="*/ 2147483647 h 123"/>
                  <a:gd name="T30" fmla="*/ 2147483647 w 146"/>
                  <a:gd name="T31" fmla="*/ 2147483647 h 123"/>
                  <a:gd name="T32" fmla="*/ 2147483647 w 146"/>
                  <a:gd name="T33" fmla="*/ 2147483647 h 123"/>
                  <a:gd name="T34" fmla="*/ 2147483647 w 146"/>
                  <a:gd name="T35" fmla="*/ 2147483647 h 123"/>
                  <a:gd name="T36" fmla="*/ 2147483647 w 146"/>
                  <a:gd name="T37" fmla="*/ 2147483647 h 123"/>
                  <a:gd name="T38" fmla="*/ 2147483647 w 146"/>
                  <a:gd name="T39" fmla="*/ 2147483647 h 123"/>
                  <a:gd name="T40" fmla="*/ 2147483647 w 146"/>
                  <a:gd name="T41" fmla="*/ 2147483647 h 123"/>
                  <a:gd name="T42" fmla="*/ 2147483647 w 146"/>
                  <a:gd name="T43" fmla="*/ 2147483647 h 123"/>
                  <a:gd name="T44" fmla="*/ 2147483647 w 146"/>
                  <a:gd name="T45" fmla="*/ 2147483647 h 123"/>
                  <a:gd name="T46" fmla="*/ 2147483647 w 146"/>
                  <a:gd name="T47" fmla="*/ 2147483647 h 123"/>
                  <a:gd name="T48" fmla="*/ 2147483647 w 146"/>
                  <a:gd name="T49" fmla="*/ 2147483647 h 123"/>
                  <a:gd name="T50" fmla="*/ 2147483647 w 146"/>
                  <a:gd name="T51" fmla="*/ 2147483647 h 123"/>
                  <a:gd name="T52" fmla="*/ 2147483647 w 146"/>
                  <a:gd name="T53" fmla="*/ 2147483647 h 123"/>
                  <a:gd name="T54" fmla="*/ 2147483647 w 146"/>
                  <a:gd name="T55" fmla="*/ 2147483647 h 123"/>
                  <a:gd name="T56" fmla="*/ 2147483647 w 146"/>
                  <a:gd name="T57" fmla="*/ 2147483647 h 123"/>
                  <a:gd name="T58" fmla="*/ 2147483647 w 146"/>
                  <a:gd name="T59" fmla="*/ 2147483647 h 123"/>
                  <a:gd name="T60" fmla="*/ 2147483647 w 146"/>
                  <a:gd name="T61" fmla="*/ 2147483647 h 123"/>
                  <a:gd name="T62" fmla="*/ 2147483647 w 146"/>
                  <a:gd name="T63" fmla="*/ 2147483647 h 123"/>
                  <a:gd name="T64" fmla="*/ 2147483647 w 146"/>
                  <a:gd name="T65" fmla="*/ 2147483647 h 123"/>
                  <a:gd name="T66" fmla="*/ 2147483647 w 146"/>
                  <a:gd name="T67" fmla="*/ 2147483647 h 123"/>
                  <a:gd name="T68" fmla="*/ 2147483647 w 146"/>
                  <a:gd name="T69" fmla="*/ 2147483647 h 123"/>
                  <a:gd name="T70" fmla="*/ 2147483647 w 146"/>
                  <a:gd name="T71" fmla="*/ 2147483647 h 123"/>
                  <a:gd name="T72" fmla="*/ 2147483647 w 146"/>
                  <a:gd name="T73" fmla="*/ 2147483647 h 123"/>
                  <a:gd name="T74" fmla="*/ 2147483647 w 146"/>
                  <a:gd name="T75" fmla="*/ 2147483647 h 123"/>
                  <a:gd name="T76" fmla="*/ 2147483647 w 146"/>
                  <a:gd name="T77" fmla="*/ 2147483647 h 123"/>
                  <a:gd name="T78" fmla="*/ 2147483647 w 146"/>
                  <a:gd name="T79" fmla="*/ 2147483647 h 123"/>
                  <a:gd name="T80" fmla="*/ 2147483647 w 146"/>
                  <a:gd name="T81" fmla="*/ 2147483647 h 123"/>
                  <a:gd name="T82" fmla="*/ 2147483647 w 146"/>
                  <a:gd name="T83" fmla="*/ 2147483647 h 123"/>
                  <a:gd name="T84" fmla="*/ 2147483647 w 146"/>
                  <a:gd name="T85" fmla="*/ 2147483647 h 123"/>
                  <a:gd name="T86" fmla="*/ 2147483647 w 146"/>
                  <a:gd name="T87" fmla="*/ 2147483647 h 123"/>
                  <a:gd name="T88" fmla="*/ 2147483647 w 146"/>
                  <a:gd name="T89" fmla="*/ 2147483647 h 123"/>
                  <a:gd name="T90" fmla="*/ 2147483647 w 146"/>
                  <a:gd name="T91" fmla="*/ 2147483647 h 123"/>
                  <a:gd name="T92" fmla="*/ 2147483647 w 146"/>
                  <a:gd name="T93" fmla="*/ 2147483647 h 123"/>
                  <a:gd name="T94" fmla="*/ 2147483647 w 146"/>
                  <a:gd name="T95" fmla="*/ 2147483647 h 123"/>
                  <a:gd name="T96" fmla="*/ 2147483647 w 146"/>
                  <a:gd name="T97" fmla="*/ 2147483647 h 123"/>
                  <a:gd name="T98" fmla="*/ 2147483647 w 146"/>
                  <a:gd name="T99" fmla="*/ 2147483647 h 123"/>
                  <a:gd name="T100" fmla="*/ 2147483647 w 146"/>
                  <a:gd name="T101" fmla="*/ 2147483647 h 123"/>
                  <a:gd name="T102" fmla="*/ 2147483647 w 146"/>
                  <a:gd name="T103" fmla="*/ 2147483647 h 123"/>
                  <a:gd name="T104" fmla="*/ 2147483647 w 146"/>
                  <a:gd name="T105" fmla="*/ 2147483647 h 123"/>
                  <a:gd name="T106" fmla="*/ 2147483647 w 146"/>
                  <a:gd name="T107" fmla="*/ 2147483647 h 123"/>
                  <a:gd name="T108" fmla="*/ 2147483647 w 146"/>
                  <a:gd name="T109" fmla="*/ 2147483647 h 123"/>
                  <a:gd name="T110" fmla="*/ 2147483647 w 146"/>
                  <a:gd name="T111" fmla="*/ 2147483647 h 123"/>
                  <a:gd name="T112" fmla="*/ 2147483647 w 146"/>
                  <a:gd name="T113" fmla="*/ 2147483647 h 123"/>
                  <a:gd name="T114" fmla="*/ 2147483647 w 146"/>
                  <a:gd name="T115" fmla="*/ 2147483647 h 123"/>
                  <a:gd name="T116" fmla="*/ 2147483647 w 146"/>
                  <a:gd name="T117" fmla="*/ 2147483647 h 123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46"/>
                  <a:gd name="T178" fmla="*/ 0 h 123"/>
                  <a:gd name="T179" fmla="*/ 146 w 146"/>
                  <a:gd name="T180" fmla="*/ 123 h 123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46" h="123">
                    <a:moveTo>
                      <a:pt x="60" y="33"/>
                    </a:moveTo>
                    <a:lnTo>
                      <a:pt x="62" y="29"/>
                    </a:lnTo>
                    <a:lnTo>
                      <a:pt x="62" y="26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4" y="15"/>
                    </a:lnTo>
                    <a:lnTo>
                      <a:pt x="60" y="13"/>
                    </a:lnTo>
                    <a:lnTo>
                      <a:pt x="56" y="11"/>
                    </a:lnTo>
                    <a:lnTo>
                      <a:pt x="52" y="9"/>
                    </a:lnTo>
                    <a:lnTo>
                      <a:pt x="48" y="7"/>
                    </a:lnTo>
                    <a:lnTo>
                      <a:pt x="44" y="5"/>
                    </a:lnTo>
                    <a:lnTo>
                      <a:pt x="40" y="4"/>
                    </a:lnTo>
                    <a:lnTo>
                      <a:pt x="36" y="2"/>
                    </a:lnTo>
                    <a:lnTo>
                      <a:pt x="32" y="0"/>
                    </a:lnTo>
                    <a:lnTo>
                      <a:pt x="28" y="0"/>
                    </a:lnTo>
                    <a:lnTo>
                      <a:pt x="24" y="2"/>
                    </a:lnTo>
                    <a:lnTo>
                      <a:pt x="20" y="4"/>
                    </a:lnTo>
                    <a:lnTo>
                      <a:pt x="16" y="5"/>
                    </a:lnTo>
                    <a:lnTo>
                      <a:pt x="12" y="5"/>
                    </a:lnTo>
                    <a:lnTo>
                      <a:pt x="10" y="9"/>
                    </a:lnTo>
                    <a:lnTo>
                      <a:pt x="10" y="13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8" y="22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7"/>
                    </a:lnTo>
                    <a:lnTo>
                      <a:pt x="0" y="31"/>
                    </a:lnTo>
                    <a:lnTo>
                      <a:pt x="4" y="33"/>
                    </a:lnTo>
                    <a:lnTo>
                      <a:pt x="6" y="36"/>
                    </a:lnTo>
                    <a:lnTo>
                      <a:pt x="6" y="40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8" y="44"/>
                    </a:lnTo>
                    <a:lnTo>
                      <a:pt x="22" y="46"/>
                    </a:lnTo>
                    <a:lnTo>
                      <a:pt x="26" y="47"/>
                    </a:lnTo>
                    <a:lnTo>
                      <a:pt x="30" y="49"/>
                    </a:lnTo>
                    <a:lnTo>
                      <a:pt x="34" y="51"/>
                    </a:lnTo>
                    <a:lnTo>
                      <a:pt x="38" y="51"/>
                    </a:lnTo>
                    <a:lnTo>
                      <a:pt x="42" y="51"/>
                    </a:lnTo>
                    <a:lnTo>
                      <a:pt x="46" y="55"/>
                    </a:lnTo>
                    <a:lnTo>
                      <a:pt x="48" y="58"/>
                    </a:lnTo>
                    <a:lnTo>
                      <a:pt x="44" y="60"/>
                    </a:lnTo>
                    <a:lnTo>
                      <a:pt x="42" y="64"/>
                    </a:lnTo>
                    <a:lnTo>
                      <a:pt x="44" y="67"/>
                    </a:lnTo>
                    <a:lnTo>
                      <a:pt x="44" y="71"/>
                    </a:lnTo>
                    <a:lnTo>
                      <a:pt x="42" y="77"/>
                    </a:lnTo>
                    <a:lnTo>
                      <a:pt x="42" y="80"/>
                    </a:lnTo>
                    <a:lnTo>
                      <a:pt x="44" y="84"/>
                    </a:lnTo>
                    <a:lnTo>
                      <a:pt x="46" y="89"/>
                    </a:lnTo>
                    <a:lnTo>
                      <a:pt x="48" y="93"/>
                    </a:lnTo>
                    <a:lnTo>
                      <a:pt x="48" y="97"/>
                    </a:lnTo>
                    <a:lnTo>
                      <a:pt x="52" y="98"/>
                    </a:lnTo>
                    <a:lnTo>
                      <a:pt x="56" y="100"/>
                    </a:lnTo>
                    <a:lnTo>
                      <a:pt x="60" y="100"/>
                    </a:lnTo>
                    <a:lnTo>
                      <a:pt x="64" y="100"/>
                    </a:lnTo>
                    <a:lnTo>
                      <a:pt x="68" y="100"/>
                    </a:lnTo>
                    <a:lnTo>
                      <a:pt x="72" y="98"/>
                    </a:lnTo>
                    <a:lnTo>
                      <a:pt x="75" y="97"/>
                    </a:lnTo>
                    <a:lnTo>
                      <a:pt x="79" y="97"/>
                    </a:lnTo>
                    <a:lnTo>
                      <a:pt x="83" y="97"/>
                    </a:lnTo>
                    <a:lnTo>
                      <a:pt x="87" y="97"/>
                    </a:lnTo>
                    <a:lnTo>
                      <a:pt x="91" y="95"/>
                    </a:lnTo>
                    <a:lnTo>
                      <a:pt x="95" y="95"/>
                    </a:lnTo>
                    <a:lnTo>
                      <a:pt x="99" y="93"/>
                    </a:lnTo>
                    <a:lnTo>
                      <a:pt x="103" y="93"/>
                    </a:lnTo>
                    <a:lnTo>
                      <a:pt x="107" y="93"/>
                    </a:lnTo>
                    <a:lnTo>
                      <a:pt x="111" y="93"/>
                    </a:lnTo>
                    <a:lnTo>
                      <a:pt x="115" y="93"/>
                    </a:lnTo>
                    <a:lnTo>
                      <a:pt x="119" y="95"/>
                    </a:lnTo>
                    <a:lnTo>
                      <a:pt x="123" y="97"/>
                    </a:lnTo>
                    <a:lnTo>
                      <a:pt x="125" y="100"/>
                    </a:lnTo>
                    <a:lnTo>
                      <a:pt x="129" y="102"/>
                    </a:lnTo>
                    <a:lnTo>
                      <a:pt x="131" y="106"/>
                    </a:lnTo>
                    <a:lnTo>
                      <a:pt x="133" y="109"/>
                    </a:lnTo>
                    <a:lnTo>
                      <a:pt x="135" y="113"/>
                    </a:lnTo>
                    <a:lnTo>
                      <a:pt x="139" y="115"/>
                    </a:lnTo>
                    <a:lnTo>
                      <a:pt x="141" y="118"/>
                    </a:lnTo>
                    <a:lnTo>
                      <a:pt x="143" y="122"/>
                    </a:lnTo>
                    <a:lnTo>
                      <a:pt x="143" y="118"/>
                    </a:lnTo>
                    <a:lnTo>
                      <a:pt x="145" y="113"/>
                    </a:lnTo>
                    <a:lnTo>
                      <a:pt x="143" y="109"/>
                    </a:lnTo>
                    <a:lnTo>
                      <a:pt x="143" y="106"/>
                    </a:lnTo>
                    <a:lnTo>
                      <a:pt x="143" y="102"/>
                    </a:lnTo>
                    <a:lnTo>
                      <a:pt x="141" y="98"/>
                    </a:lnTo>
                    <a:lnTo>
                      <a:pt x="141" y="95"/>
                    </a:lnTo>
                    <a:lnTo>
                      <a:pt x="141" y="91"/>
                    </a:lnTo>
                    <a:lnTo>
                      <a:pt x="141" y="87"/>
                    </a:lnTo>
                    <a:lnTo>
                      <a:pt x="143" y="84"/>
                    </a:lnTo>
                    <a:lnTo>
                      <a:pt x="143" y="80"/>
                    </a:lnTo>
                    <a:lnTo>
                      <a:pt x="145" y="77"/>
                    </a:lnTo>
                    <a:lnTo>
                      <a:pt x="145" y="73"/>
                    </a:lnTo>
                    <a:lnTo>
                      <a:pt x="145" y="69"/>
                    </a:lnTo>
                    <a:lnTo>
                      <a:pt x="143" y="66"/>
                    </a:lnTo>
                    <a:lnTo>
                      <a:pt x="143" y="62"/>
                    </a:lnTo>
                    <a:lnTo>
                      <a:pt x="141" y="56"/>
                    </a:lnTo>
                    <a:lnTo>
                      <a:pt x="139" y="53"/>
                    </a:lnTo>
                    <a:lnTo>
                      <a:pt x="139" y="49"/>
                    </a:lnTo>
                    <a:lnTo>
                      <a:pt x="135" y="47"/>
                    </a:lnTo>
                    <a:lnTo>
                      <a:pt x="131" y="47"/>
                    </a:lnTo>
                    <a:lnTo>
                      <a:pt x="129" y="44"/>
                    </a:lnTo>
                    <a:lnTo>
                      <a:pt x="125" y="40"/>
                    </a:lnTo>
                    <a:lnTo>
                      <a:pt x="121" y="40"/>
                    </a:lnTo>
                    <a:lnTo>
                      <a:pt x="117" y="40"/>
                    </a:lnTo>
                    <a:lnTo>
                      <a:pt x="111" y="38"/>
                    </a:lnTo>
                    <a:lnTo>
                      <a:pt x="105" y="36"/>
                    </a:lnTo>
                    <a:lnTo>
                      <a:pt x="101" y="35"/>
                    </a:lnTo>
                    <a:lnTo>
                      <a:pt x="97" y="35"/>
                    </a:lnTo>
                    <a:lnTo>
                      <a:pt x="93" y="33"/>
                    </a:lnTo>
                    <a:lnTo>
                      <a:pt x="89" y="31"/>
                    </a:lnTo>
                    <a:lnTo>
                      <a:pt x="85" y="29"/>
                    </a:lnTo>
                    <a:lnTo>
                      <a:pt x="81" y="29"/>
                    </a:lnTo>
                    <a:lnTo>
                      <a:pt x="77" y="29"/>
                    </a:lnTo>
                    <a:lnTo>
                      <a:pt x="73" y="29"/>
                    </a:lnTo>
                    <a:lnTo>
                      <a:pt x="70" y="31"/>
                    </a:lnTo>
                    <a:lnTo>
                      <a:pt x="66" y="33"/>
                    </a:lnTo>
                    <a:lnTo>
                      <a:pt x="62" y="33"/>
                    </a:lnTo>
                    <a:lnTo>
                      <a:pt x="60" y="36"/>
                    </a:lnTo>
                    <a:lnTo>
                      <a:pt x="60" y="33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8" name="Freeform 75"/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2141546" y="3561604"/>
                <a:ext cx="150405" cy="135040"/>
              </a:xfrm>
              <a:custGeom>
                <a:avLst/>
                <a:gdLst>
                  <a:gd name="T0" fmla="*/ 2147483647 w 121"/>
                  <a:gd name="T1" fmla="*/ 2147483647 h 113"/>
                  <a:gd name="T2" fmla="*/ 2147483647 w 121"/>
                  <a:gd name="T3" fmla="*/ 2147483647 h 113"/>
                  <a:gd name="T4" fmla="*/ 2147483647 w 121"/>
                  <a:gd name="T5" fmla="*/ 2147483647 h 113"/>
                  <a:gd name="T6" fmla="*/ 2147483647 w 121"/>
                  <a:gd name="T7" fmla="*/ 2147483647 h 113"/>
                  <a:gd name="T8" fmla="*/ 2147483647 w 121"/>
                  <a:gd name="T9" fmla="*/ 2147483647 h 113"/>
                  <a:gd name="T10" fmla="*/ 2147483647 w 121"/>
                  <a:gd name="T11" fmla="*/ 2147483647 h 113"/>
                  <a:gd name="T12" fmla="*/ 2147483647 w 121"/>
                  <a:gd name="T13" fmla="*/ 2147483647 h 113"/>
                  <a:gd name="T14" fmla="*/ 2147483647 w 121"/>
                  <a:gd name="T15" fmla="*/ 2147483647 h 113"/>
                  <a:gd name="T16" fmla="*/ 2147483647 w 121"/>
                  <a:gd name="T17" fmla="*/ 0 h 113"/>
                  <a:gd name="T18" fmla="*/ 2147483647 w 121"/>
                  <a:gd name="T19" fmla="*/ 2147483647 h 113"/>
                  <a:gd name="T20" fmla="*/ 2147483647 w 121"/>
                  <a:gd name="T21" fmla="*/ 2147483647 h 113"/>
                  <a:gd name="T22" fmla="*/ 2147483647 w 121"/>
                  <a:gd name="T23" fmla="*/ 2147483647 h 113"/>
                  <a:gd name="T24" fmla="*/ 2147483647 w 121"/>
                  <a:gd name="T25" fmla="*/ 2147483647 h 113"/>
                  <a:gd name="T26" fmla="*/ 2147483647 w 121"/>
                  <a:gd name="T27" fmla="*/ 2147483647 h 113"/>
                  <a:gd name="T28" fmla="*/ 2147483647 w 121"/>
                  <a:gd name="T29" fmla="*/ 2147483647 h 113"/>
                  <a:gd name="T30" fmla="*/ 2147483647 w 121"/>
                  <a:gd name="T31" fmla="*/ 2147483647 h 113"/>
                  <a:gd name="T32" fmla="*/ 2147483647 w 121"/>
                  <a:gd name="T33" fmla="*/ 2147483647 h 113"/>
                  <a:gd name="T34" fmla="*/ 2147483647 w 121"/>
                  <a:gd name="T35" fmla="*/ 2147483647 h 113"/>
                  <a:gd name="T36" fmla="*/ 2147483647 w 121"/>
                  <a:gd name="T37" fmla="*/ 2147483647 h 113"/>
                  <a:gd name="T38" fmla="*/ 2147483647 w 121"/>
                  <a:gd name="T39" fmla="*/ 2147483647 h 113"/>
                  <a:gd name="T40" fmla="*/ 2147483647 w 121"/>
                  <a:gd name="T41" fmla="*/ 2147483647 h 113"/>
                  <a:gd name="T42" fmla="*/ 2147483647 w 121"/>
                  <a:gd name="T43" fmla="*/ 2147483647 h 113"/>
                  <a:gd name="T44" fmla="*/ 2147483647 w 121"/>
                  <a:gd name="T45" fmla="*/ 2147483647 h 113"/>
                  <a:gd name="T46" fmla="*/ 2147483647 w 121"/>
                  <a:gd name="T47" fmla="*/ 2147483647 h 113"/>
                  <a:gd name="T48" fmla="*/ 2147483647 w 121"/>
                  <a:gd name="T49" fmla="*/ 2147483647 h 113"/>
                  <a:gd name="T50" fmla="*/ 2147483647 w 121"/>
                  <a:gd name="T51" fmla="*/ 2147483647 h 113"/>
                  <a:gd name="T52" fmla="*/ 2147483647 w 121"/>
                  <a:gd name="T53" fmla="*/ 2147483647 h 113"/>
                  <a:gd name="T54" fmla="*/ 2147483647 w 121"/>
                  <a:gd name="T55" fmla="*/ 2147483647 h 113"/>
                  <a:gd name="T56" fmla="*/ 2147483647 w 121"/>
                  <a:gd name="T57" fmla="*/ 2147483647 h 113"/>
                  <a:gd name="T58" fmla="*/ 2147483647 w 121"/>
                  <a:gd name="T59" fmla="*/ 2147483647 h 113"/>
                  <a:gd name="T60" fmla="*/ 2147483647 w 121"/>
                  <a:gd name="T61" fmla="*/ 2147483647 h 113"/>
                  <a:gd name="T62" fmla="*/ 2147483647 w 121"/>
                  <a:gd name="T63" fmla="*/ 2147483647 h 113"/>
                  <a:gd name="T64" fmla="*/ 2147483647 w 121"/>
                  <a:gd name="T65" fmla="*/ 2147483647 h 113"/>
                  <a:gd name="T66" fmla="*/ 2147483647 w 121"/>
                  <a:gd name="T67" fmla="*/ 2147483647 h 113"/>
                  <a:gd name="T68" fmla="*/ 2147483647 w 121"/>
                  <a:gd name="T69" fmla="*/ 2147483647 h 113"/>
                  <a:gd name="T70" fmla="*/ 2147483647 w 121"/>
                  <a:gd name="T71" fmla="*/ 2147483647 h 113"/>
                  <a:gd name="T72" fmla="*/ 2147483647 w 121"/>
                  <a:gd name="T73" fmla="*/ 2147483647 h 113"/>
                  <a:gd name="T74" fmla="*/ 2147483647 w 121"/>
                  <a:gd name="T75" fmla="*/ 2147483647 h 113"/>
                  <a:gd name="T76" fmla="*/ 2147483647 w 121"/>
                  <a:gd name="T77" fmla="*/ 2147483647 h 113"/>
                  <a:gd name="T78" fmla="*/ 2147483647 w 121"/>
                  <a:gd name="T79" fmla="*/ 2147483647 h 113"/>
                  <a:gd name="T80" fmla="*/ 2147483647 w 121"/>
                  <a:gd name="T81" fmla="*/ 2147483647 h 113"/>
                  <a:gd name="T82" fmla="*/ 2147483647 w 121"/>
                  <a:gd name="T83" fmla="*/ 2147483647 h 113"/>
                  <a:gd name="T84" fmla="*/ 2147483647 w 121"/>
                  <a:gd name="T85" fmla="*/ 2147483647 h 11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21"/>
                  <a:gd name="T130" fmla="*/ 0 h 113"/>
                  <a:gd name="T131" fmla="*/ 121 w 121"/>
                  <a:gd name="T132" fmla="*/ 113 h 11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21" h="113">
                    <a:moveTo>
                      <a:pt x="115" y="44"/>
                    </a:moveTo>
                    <a:lnTo>
                      <a:pt x="115" y="40"/>
                    </a:lnTo>
                    <a:lnTo>
                      <a:pt x="112" y="36"/>
                    </a:lnTo>
                    <a:lnTo>
                      <a:pt x="111" y="31"/>
                    </a:lnTo>
                    <a:lnTo>
                      <a:pt x="111" y="28"/>
                    </a:lnTo>
                    <a:lnTo>
                      <a:pt x="108" y="24"/>
                    </a:lnTo>
                    <a:lnTo>
                      <a:pt x="108" y="21"/>
                    </a:lnTo>
                    <a:lnTo>
                      <a:pt x="105" y="17"/>
                    </a:lnTo>
                    <a:lnTo>
                      <a:pt x="102" y="12"/>
                    </a:lnTo>
                    <a:lnTo>
                      <a:pt x="99" y="10"/>
                    </a:lnTo>
                    <a:lnTo>
                      <a:pt x="94" y="7"/>
                    </a:lnTo>
                    <a:lnTo>
                      <a:pt x="90" y="4"/>
                    </a:lnTo>
                    <a:lnTo>
                      <a:pt x="84" y="3"/>
                    </a:lnTo>
                    <a:lnTo>
                      <a:pt x="80" y="3"/>
                    </a:lnTo>
                    <a:lnTo>
                      <a:pt x="75" y="3"/>
                    </a:lnTo>
                    <a:lnTo>
                      <a:pt x="71" y="3"/>
                    </a:lnTo>
                    <a:lnTo>
                      <a:pt x="66" y="1"/>
                    </a:lnTo>
                    <a:lnTo>
                      <a:pt x="62" y="0"/>
                    </a:lnTo>
                    <a:lnTo>
                      <a:pt x="57" y="0"/>
                    </a:lnTo>
                    <a:lnTo>
                      <a:pt x="53" y="1"/>
                    </a:lnTo>
                    <a:lnTo>
                      <a:pt x="48" y="1"/>
                    </a:lnTo>
                    <a:lnTo>
                      <a:pt x="43" y="2"/>
                    </a:lnTo>
                    <a:lnTo>
                      <a:pt x="39" y="5"/>
                    </a:lnTo>
                    <a:lnTo>
                      <a:pt x="34" y="5"/>
                    </a:lnTo>
                    <a:lnTo>
                      <a:pt x="31" y="9"/>
                    </a:lnTo>
                    <a:lnTo>
                      <a:pt x="26" y="12"/>
                    </a:lnTo>
                    <a:lnTo>
                      <a:pt x="25" y="17"/>
                    </a:lnTo>
                    <a:lnTo>
                      <a:pt x="30" y="21"/>
                    </a:lnTo>
                    <a:lnTo>
                      <a:pt x="33" y="24"/>
                    </a:lnTo>
                    <a:lnTo>
                      <a:pt x="33" y="29"/>
                    </a:lnTo>
                    <a:lnTo>
                      <a:pt x="29" y="32"/>
                    </a:lnTo>
                    <a:lnTo>
                      <a:pt x="27" y="38"/>
                    </a:lnTo>
                    <a:lnTo>
                      <a:pt x="24" y="38"/>
                    </a:lnTo>
                    <a:lnTo>
                      <a:pt x="19" y="41"/>
                    </a:lnTo>
                    <a:lnTo>
                      <a:pt x="14" y="43"/>
                    </a:lnTo>
                    <a:lnTo>
                      <a:pt x="10" y="45"/>
                    </a:lnTo>
                    <a:lnTo>
                      <a:pt x="5" y="46"/>
                    </a:lnTo>
                    <a:lnTo>
                      <a:pt x="4" y="51"/>
                    </a:lnTo>
                    <a:lnTo>
                      <a:pt x="5" y="55"/>
                    </a:lnTo>
                    <a:lnTo>
                      <a:pt x="7" y="58"/>
                    </a:lnTo>
                    <a:lnTo>
                      <a:pt x="11" y="62"/>
                    </a:lnTo>
                    <a:lnTo>
                      <a:pt x="11" y="67"/>
                    </a:lnTo>
                    <a:lnTo>
                      <a:pt x="9" y="70"/>
                    </a:lnTo>
                    <a:lnTo>
                      <a:pt x="6" y="78"/>
                    </a:lnTo>
                    <a:lnTo>
                      <a:pt x="4" y="81"/>
                    </a:lnTo>
                    <a:lnTo>
                      <a:pt x="2" y="86"/>
                    </a:lnTo>
                    <a:lnTo>
                      <a:pt x="0" y="91"/>
                    </a:lnTo>
                    <a:lnTo>
                      <a:pt x="5" y="91"/>
                    </a:lnTo>
                    <a:lnTo>
                      <a:pt x="9" y="90"/>
                    </a:lnTo>
                    <a:lnTo>
                      <a:pt x="14" y="90"/>
                    </a:lnTo>
                    <a:lnTo>
                      <a:pt x="18" y="89"/>
                    </a:lnTo>
                    <a:lnTo>
                      <a:pt x="21" y="94"/>
                    </a:lnTo>
                    <a:lnTo>
                      <a:pt x="26" y="95"/>
                    </a:lnTo>
                    <a:lnTo>
                      <a:pt x="31" y="97"/>
                    </a:lnTo>
                    <a:lnTo>
                      <a:pt x="33" y="108"/>
                    </a:lnTo>
                    <a:lnTo>
                      <a:pt x="42" y="108"/>
                    </a:lnTo>
                    <a:lnTo>
                      <a:pt x="48" y="113"/>
                    </a:lnTo>
                    <a:lnTo>
                      <a:pt x="52" y="110"/>
                    </a:lnTo>
                    <a:lnTo>
                      <a:pt x="57" y="105"/>
                    </a:lnTo>
                    <a:lnTo>
                      <a:pt x="69" y="102"/>
                    </a:lnTo>
                    <a:lnTo>
                      <a:pt x="64" y="107"/>
                    </a:lnTo>
                    <a:lnTo>
                      <a:pt x="75" y="102"/>
                    </a:lnTo>
                    <a:lnTo>
                      <a:pt x="78" y="99"/>
                    </a:lnTo>
                    <a:lnTo>
                      <a:pt x="81" y="101"/>
                    </a:lnTo>
                    <a:lnTo>
                      <a:pt x="79" y="96"/>
                    </a:lnTo>
                    <a:lnTo>
                      <a:pt x="83" y="94"/>
                    </a:lnTo>
                    <a:lnTo>
                      <a:pt x="87" y="90"/>
                    </a:lnTo>
                    <a:lnTo>
                      <a:pt x="90" y="87"/>
                    </a:lnTo>
                    <a:lnTo>
                      <a:pt x="91" y="82"/>
                    </a:lnTo>
                    <a:lnTo>
                      <a:pt x="86" y="80"/>
                    </a:lnTo>
                    <a:lnTo>
                      <a:pt x="83" y="77"/>
                    </a:lnTo>
                    <a:lnTo>
                      <a:pt x="85" y="72"/>
                    </a:lnTo>
                    <a:lnTo>
                      <a:pt x="90" y="72"/>
                    </a:lnTo>
                    <a:lnTo>
                      <a:pt x="94" y="71"/>
                    </a:lnTo>
                    <a:lnTo>
                      <a:pt x="98" y="68"/>
                    </a:lnTo>
                    <a:lnTo>
                      <a:pt x="102" y="68"/>
                    </a:lnTo>
                    <a:lnTo>
                      <a:pt x="107" y="66"/>
                    </a:lnTo>
                    <a:lnTo>
                      <a:pt x="106" y="62"/>
                    </a:lnTo>
                    <a:lnTo>
                      <a:pt x="106" y="57"/>
                    </a:lnTo>
                    <a:lnTo>
                      <a:pt x="111" y="55"/>
                    </a:lnTo>
                    <a:lnTo>
                      <a:pt x="114" y="54"/>
                    </a:lnTo>
                    <a:lnTo>
                      <a:pt x="119" y="53"/>
                    </a:lnTo>
                    <a:lnTo>
                      <a:pt x="121" y="49"/>
                    </a:lnTo>
                    <a:lnTo>
                      <a:pt x="120" y="45"/>
                    </a:lnTo>
                    <a:lnTo>
                      <a:pt x="115" y="44"/>
                    </a:lnTo>
                    <a:lnTo>
                      <a:pt x="113" y="40"/>
                    </a:lnTo>
                    <a:lnTo>
                      <a:pt x="115" y="44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9" name="Freeform 76"/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 rot="-459984">
                <a:off x="2047263" y="3666376"/>
                <a:ext cx="262647" cy="172292"/>
              </a:xfrm>
              <a:custGeom>
                <a:avLst/>
                <a:gdLst>
                  <a:gd name="T0" fmla="*/ 2147483647 w 188"/>
                  <a:gd name="T1" fmla="*/ 2147483647 h 127"/>
                  <a:gd name="T2" fmla="*/ 2147483647 w 188"/>
                  <a:gd name="T3" fmla="*/ 0 h 127"/>
                  <a:gd name="T4" fmla="*/ 2147483647 w 188"/>
                  <a:gd name="T5" fmla="*/ 0 h 127"/>
                  <a:gd name="T6" fmla="*/ 2147483647 w 188"/>
                  <a:gd name="T7" fmla="*/ 2147483647 h 127"/>
                  <a:gd name="T8" fmla="*/ 2147483647 w 188"/>
                  <a:gd name="T9" fmla="*/ 2147483647 h 127"/>
                  <a:gd name="T10" fmla="*/ 2147483647 w 188"/>
                  <a:gd name="T11" fmla="*/ 2147483647 h 127"/>
                  <a:gd name="T12" fmla="*/ 2147483647 w 188"/>
                  <a:gd name="T13" fmla="*/ 2147483647 h 127"/>
                  <a:gd name="T14" fmla="*/ 2147483647 w 188"/>
                  <a:gd name="T15" fmla="*/ 2147483647 h 127"/>
                  <a:gd name="T16" fmla="*/ 2147483647 w 188"/>
                  <a:gd name="T17" fmla="*/ 2147483647 h 127"/>
                  <a:gd name="T18" fmla="*/ 2147483647 w 188"/>
                  <a:gd name="T19" fmla="*/ 2147483647 h 127"/>
                  <a:gd name="T20" fmla="*/ 2147483647 w 188"/>
                  <a:gd name="T21" fmla="*/ 2147483647 h 127"/>
                  <a:gd name="T22" fmla="*/ 2147483647 w 188"/>
                  <a:gd name="T23" fmla="*/ 2147483647 h 127"/>
                  <a:gd name="T24" fmla="*/ 2147483647 w 188"/>
                  <a:gd name="T25" fmla="*/ 2147483647 h 127"/>
                  <a:gd name="T26" fmla="*/ 2147483647 w 188"/>
                  <a:gd name="T27" fmla="*/ 2147483647 h 127"/>
                  <a:gd name="T28" fmla="*/ 0 w 188"/>
                  <a:gd name="T29" fmla="*/ 2147483647 h 127"/>
                  <a:gd name="T30" fmla="*/ 2147483647 w 188"/>
                  <a:gd name="T31" fmla="*/ 2147483647 h 127"/>
                  <a:gd name="T32" fmla="*/ 2147483647 w 188"/>
                  <a:gd name="T33" fmla="*/ 2147483647 h 127"/>
                  <a:gd name="T34" fmla="*/ 2147483647 w 188"/>
                  <a:gd name="T35" fmla="*/ 2147483647 h 127"/>
                  <a:gd name="T36" fmla="*/ 2147483647 w 188"/>
                  <a:gd name="T37" fmla="*/ 2147483647 h 127"/>
                  <a:gd name="T38" fmla="*/ 2147483647 w 188"/>
                  <a:gd name="T39" fmla="*/ 2147483647 h 127"/>
                  <a:gd name="T40" fmla="*/ 2147483647 w 188"/>
                  <a:gd name="T41" fmla="*/ 2147483647 h 127"/>
                  <a:gd name="T42" fmla="*/ 2147483647 w 188"/>
                  <a:gd name="T43" fmla="*/ 2147483647 h 127"/>
                  <a:gd name="T44" fmla="*/ 2147483647 w 188"/>
                  <a:gd name="T45" fmla="*/ 2147483647 h 127"/>
                  <a:gd name="T46" fmla="*/ 2147483647 w 188"/>
                  <a:gd name="T47" fmla="*/ 2147483647 h 127"/>
                  <a:gd name="T48" fmla="*/ 2147483647 w 188"/>
                  <a:gd name="T49" fmla="*/ 2147483647 h 127"/>
                  <a:gd name="T50" fmla="*/ 2147483647 w 188"/>
                  <a:gd name="T51" fmla="*/ 2147483647 h 127"/>
                  <a:gd name="T52" fmla="*/ 2147483647 w 188"/>
                  <a:gd name="T53" fmla="*/ 2147483647 h 127"/>
                  <a:gd name="T54" fmla="*/ 2147483647 w 188"/>
                  <a:gd name="T55" fmla="*/ 2147483647 h 127"/>
                  <a:gd name="T56" fmla="*/ 2147483647 w 188"/>
                  <a:gd name="T57" fmla="*/ 2147483647 h 127"/>
                  <a:gd name="T58" fmla="*/ 2147483647 w 188"/>
                  <a:gd name="T59" fmla="*/ 2147483647 h 127"/>
                  <a:gd name="T60" fmla="*/ 2147483647 w 188"/>
                  <a:gd name="T61" fmla="*/ 2147483647 h 127"/>
                  <a:gd name="T62" fmla="*/ 2147483647 w 188"/>
                  <a:gd name="T63" fmla="*/ 2147483647 h 127"/>
                  <a:gd name="T64" fmla="*/ 2147483647 w 188"/>
                  <a:gd name="T65" fmla="*/ 2147483647 h 127"/>
                  <a:gd name="T66" fmla="*/ 2147483647 w 188"/>
                  <a:gd name="T67" fmla="*/ 2147483647 h 127"/>
                  <a:gd name="T68" fmla="*/ 2147483647 w 188"/>
                  <a:gd name="T69" fmla="*/ 2147483647 h 127"/>
                  <a:gd name="T70" fmla="*/ 2147483647 w 188"/>
                  <a:gd name="T71" fmla="*/ 2147483647 h 127"/>
                  <a:gd name="T72" fmla="*/ 2147483647 w 188"/>
                  <a:gd name="T73" fmla="*/ 2147483647 h 127"/>
                  <a:gd name="T74" fmla="*/ 2147483647 w 188"/>
                  <a:gd name="T75" fmla="*/ 2147483647 h 127"/>
                  <a:gd name="T76" fmla="*/ 2147483647 w 188"/>
                  <a:gd name="T77" fmla="*/ 2147483647 h 127"/>
                  <a:gd name="T78" fmla="*/ 2147483647 w 188"/>
                  <a:gd name="T79" fmla="*/ 2147483647 h 127"/>
                  <a:gd name="T80" fmla="*/ 2147483647 w 188"/>
                  <a:gd name="T81" fmla="*/ 2147483647 h 127"/>
                  <a:gd name="T82" fmla="*/ 2147483647 w 188"/>
                  <a:gd name="T83" fmla="*/ 2147483647 h 127"/>
                  <a:gd name="T84" fmla="*/ 2147483647 w 188"/>
                  <a:gd name="T85" fmla="*/ 2147483647 h 127"/>
                  <a:gd name="T86" fmla="*/ 2147483647 w 188"/>
                  <a:gd name="T87" fmla="*/ 2147483647 h 127"/>
                  <a:gd name="T88" fmla="*/ 2147483647 w 188"/>
                  <a:gd name="T89" fmla="*/ 2147483647 h 127"/>
                  <a:gd name="T90" fmla="*/ 2147483647 w 188"/>
                  <a:gd name="T91" fmla="*/ 2147483647 h 127"/>
                  <a:gd name="T92" fmla="*/ 2147483647 w 188"/>
                  <a:gd name="T93" fmla="*/ 2147483647 h 127"/>
                  <a:gd name="T94" fmla="*/ 2147483647 w 188"/>
                  <a:gd name="T95" fmla="*/ 2147483647 h 1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88"/>
                  <a:gd name="T145" fmla="*/ 0 h 127"/>
                  <a:gd name="T146" fmla="*/ 188 w 188"/>
                  <a:gd name="T147" fmla="*/ 127 h 12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88" h="127">
                    <a:moveTo>
                      <a:pt x="107" y="11"/>
                    </a:moveTo>
                    <a:lnTo>
                      <a:pt x="103" y="7"/>
                    </a:lnTo>
                    <a:lnTo>
                      <a:pt x="101" y="4"/>
                    </a:lnTo>
                    <a:lnTo>
                      <a:pt x="97" y="4"/>
                    </a:lnTo>
                    <a:lnTo>
                      <a:pt x="94" y="2"/>
                    </a:lnTo>
                    <a:lnTo>
                      <a:pt x="90" y="0"/>
                    </a:lnTo>
                    <a:lnTo>
                      <a:pt x="86" y="0"/>
                    </a:lnTo>
                    <a:lnTo>
                      <a:pt x="82" y="0"/>
                    </a:lnTo>
                    <a:lnTo>
                      <a:pt x="78" y="0"/>
                    </a:lnTo>
                    <a:lnTo>
                      <a:pt x="74" y="5"/>
                    </a:lnTo>
                    <a:lnTo>
                      <a:pt x="72" y="9"/>
                    </a:lnTo>
                    <a:lnTo>
                      <a:pt x="68" y="11"/>
                    </a:lnTo>
                    <a:lnTo>
                      <a:pt x="64" y="15"/>
                    </a:lnTo>
                    <a:lnTo>
                      <a:pt x="60" y="16"/>
                    </a:lnTo>
                    <a:lnTo>
                      <a:pt x="56" y="18"/>
                    </a:lnTo>
                    <a:lnTo>
                      <a:pt x="52" y="16"/>
                    </a:lnTo>
                    <a:lnTo>
                      <a:pt x="48" y="16"/>
                    </a:lnTo>
                    <a:lnTo>
                      <a:pt x="44" y="15"/>
                    </a:lnTo>
                    <a:lnTo>
                      <a:pt x="40" y="15"/>
                    </a:lnTo>
                    <a:lnTo>
                      <a:pt x="36" y="16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4" y="27"/>
                    </a:lnTo>
                    <a:lnTo>
                      <a:pt x="34" y="31"/>
                    </a:lnTo>
                    <a:lnTo>
                      <a:pt x="34" y="35"/>
                    </a:lnTo>
                    <a:lnTo>
                      <a:pt x="36" y="38"/>
                    </a:lnTo>
                    <a:lnTo>
                      <a:pt x="36" y="42"/>
                    </a:lnTo>
                    <a:lnTo>
                      <a:pt x="36" y="46"/>
                    </a:lnTo>
                    <a:lnTo>
                      <a:pt x="34" y="49"/>
                    </a:lnTo>
                    <a:lnTo>
                      <a:pt x="34" y="53"/>
                    </a:lnTo>
                    <a:lnTo>
                      <a:pt x="30" y="58"/>
                    </a:lnTo>
                    <a:lnTo>
                      <a:pt x="30" y="62"/>
                    </a:lnTo>
                    <a:lnTo>
                      <a:pt x="30" y="66"/>
                    </a:lnTo>
                    <a:lnTo>
                      <a:pt x="30" y="69"/>
                    </a:lnTo>
                    <a:lnTo>
                      <a:pt x="32" y="73"/>
                    </a:lnTo>
                    <a:lnTo>
                      <a:pt x="28" y="75"/>
                    </a:lnTo>
                    <a:lnTo>
                      <a:pt x="24" y="79"/>
                    </a:lnTo>
                    <a:lnTo>
                      <a:pt x="20" y="80"/>
                    </a:lnTo>
                    <a:lnTo>
                      <a:pt x="18" y="84"/>
                    </a:lnTo>
                    <a:lnTo>
                      <a:pt x="16" y="88"/>
                    </a:lnTo>
                    <a:lnTo>
                      <a:pt x="12" y="90"/>
                    </a:lnTo>
                    <a:lnTo>
                      <a:pt x="8" y="91"/>
                    </a:lnTo>
                    <a:lnTo>
                      <a:pt x="4" y="93"/>
                    </a:lnTo>
                    <a:lnTo>
                      <a:pt x="0" y="95"/>
                    </a:lnTo>
                    <a:lnTo>
                      <a:pt x="0" y="99"/>
                    </a:lnTo>
                    <a:lnTo>
                      <a:pt x="4" y="102"/>
                    </a:lnTo>
                    <a:lnTo>
                      <a:pt x="8" y="104"/>
                    </a:lnTo>
                    <a:lnTo>
                      <a:pt x="12" y="106"/>
                    </a:lnTo>
                    <a:lnTo>
                      <a:pt x="16" y="108"/>
                    </a:lnTo>
                    <a:lnTo>
                      <a:pt x="20" y="110"/>
                    </a:lnTo>
                    <a:lnTo>
                      <a:pt x="24" y="111"/>
                    </a:lnTo>
                    <a:lnTo>
                      <a:pt x="28" y="111"/>
                    </a:lnTo>
                    <a:lnTo>
                      <a:pt x="32" y="111"/>
                    </a:lnTo>
                    <a:lnTo>
                      <a:pt x="36" y="113"/>
                    </a:lnTo>
                    <a:lnTo>
                      <a:pt x="40" y="117"/>
                    </a:lnTo>
                    <a:lnTo>
                      <a:pt x="44" y="119"/>
                    </a:lnTo>
                    <a:lnTo>
                      <a:pt x="48" y="122"/>
                    </a:lnTo>
                    <a:lnTo>
                      <a:pt x="52" y="124"/>
                    </a:lnTo>
                    <a:lnTo>
                      <a:pt x="56" y="126"/>
                    </a:lnTo>
                    <a:lnTo>
                      <a:pt x="60" y="124"/>
                    </a:lnTo>
                    <a:lnTo>
                      <a:pt x="64" y="122"/>
                    </a:lnTo>
                    <a:lnTo>
                      <a:pt x="68" y="121"/>
                    </a:lnTo>
                    <a:lnTo>
                      <a:pt x="68" y="117"/>
                    </a:lnTo>
                    <a:lnTo>
                      <a:pt x="66" y="113"/>
                    </a:lnTo>
                    <a:lnTo>
                      <a:pt x="64" y="110"/>
                    </a:lnTo>
                    <a:lnTo>
                      <a:pt x="62" y="106"/>
                    </a:lnTo>
                    <a:lnTo>
                      <a:pt x="58" y="104"/>
                    </a:lnTo>
                    <a:lnTo>
                      <a:pt x="58" y="101"/>
                    </a:lnTo>
                    <a:lnTo>
                      <a:pt x="60" y="97"/>
                    </a:lnTo>
                    <a:lnTo>
                      <a:pt x="64" y="95"/>
                    </a:lnTo>
                    <a:lnTo>
                      <a:pt x="66" y="91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6" y="84"/>
                    </a:lnTo>
                    <a:lnTo>
                      <a:pt x="78" y="88"/>
                    </a:lnTo>
                    <a:lnTo>
                      <a:pt x="82" y="90"/>
                    </a:lnTo>
                    <a:lnTo>
                      <a:pt x="86" y="91"/>
                    </a:lnTo>
                    <a:lnTo>
                      <a:pt x="88" y="88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5" y="86"/>
                    </a:lnTo>
                    <a:lnTo>
                      <a:pt x="99" y="86"/>
                    </a:lnTo>
                    <a:lnTo>
                      <a:pt x="103" y="86"/>
                    </a:lnTo>
                    <a:lnTo>
                      <a:pt x="107" y="86"/>
                    </a:lnTo>
                    <a:lnTo>
                      <a:pt x="109" y="90"/>
                    </a:lnTo>
                    <a:lnTo>
                      <a:pt x="113" y="91"/>
                    </a:lnTo>
                    <a:lnTo>
                      <a:pt x="117" y="91"/>
                    </a:lnTo>
                    <a:lnTo>
                      <a:pt x="121" y="91"/>
                    </a:lnTo>
                    <a:lnTo>
                      <a:pt x="125" y="90"/>
                    </a:lnTo>
                    <a:lnTo>
                      <a:pt x="127" y="93"/>
                    </a:lnTo>
                    <a:lnTo>
                      <a:pt x="131" y="99"/>
                    </a:lnTo>
                    <a:lnTo>
                      <a:pt x="137" y="102"/>
                    </a:lnTo>
                    <a:lnTo>
                      <a:pt x="141" y="102"/>
                    </a:lnTo>
                    <a:lnTo>
                      <a:pt x="145" y="104"/>
                    </a:lnTo>
                    <a:lnTo>
                      <a:pt x="149" y="104"/>
                    </a:lnTo>
                    <a:lnTo>
                      <a:pt x="155" y="104"/>
                    </a:lnTo>
                    <a:lnTo>
                      <a:pt x="159" y="104"/>
                    </a:lnTo>
                    <a:lnTo>
                      <a:pt x="159" y="108"/>
                    </a:lnTo>
                    <a:lnTo>
                      <a:pt x="163" y="108"/>
                    </a:lnTo>
                    <a:lnTo>
                      <a:pt x="167" y="106"/>
                    </a:lnTo>
                    <a:lnTo>
                      <a:pt x="169" y="102"/>
                    </a:lnTo>
                    <a:lnTo>
                      <a:pt x="173" y="102"/>
                    </a:lnTo>
                    <a:lnTo>
                      <a:pt x="177" y="102"/>
                    </a:lnTo>
                    <a:lnTo>
                      <a:pt x="181" y="102"/>
                    </a:lnTo>
                    <a:lnTo>
                      <a:pt x="185" y="101"/>
                    </a:lnTo>
                    <a:lnTo>
                      <a:pt x="187" y="97"/>
                    </a:lnTo>
                    <a:lnTo>
                      <a:pt x="187" y="93"/>
                    </a:lnTo>
                    <a:lnTo>
                      <a:pt x="185" y="90"/>
                    </a:lnTo>
                    <a:lnTo>
                      <a:pt x="185" y="86"/>
                    </a:lnTo>
                    <a:lnTo>
                      <a:pt x="181" y="84"/>
                    </a:lnTo>
                    <a:lnTo>
                      <a:pt x="179" y="80"/>
                    </a:lnTo>
                    <a:lnTo>
                      <a:pt x="177" y="77"/>
                    </a:lnTo>
                    <a:lnTo>
                      <a:pt x="173" y="73"/>
                    </a:lnTo>
                    <a:lnTo>
                      <a:pt x="173" y="69"/>
                    </a:lnTo>
                    <a:lnTo>
                      <a:pt x="173" y="66"/>
                    </a:lnTo>
                    <a:lnTo>
                      <a:pt x="175" y="62"/>
                    </a:lnTo>
                    <a:lnTo>
                      <a:pt x="177" y="58"/>
                    </a:lnTo>
                    <a:lnTo>
                      <a:pt x="179" y="55"/>
                    </a:lnTo>
                    <a:lnTo>
                      <a:pt x="175" y="53"/>
                    </a:lnTo>
                    <a:lnTo>
                      <a:pt x="173" y="49"/>
                    </a:lnTo>
                    <a:lnTo>
                      <a:pt x="169" y="48"/>
                    </a:lnTo>
                    <a:lnTo>
                      <a:pt x="167" y="44"/>
                    </a:lnTo>
                    <a:lnTo>
                      <a:pt x="163" y="44"/>
                    </a:lnTo>
                    <a:lnTo>
                      <a:pt x="159" y="48"/>
                    </a:lnTo>
                    <a:lnTo>
                      <a:pt x="155" y="48"/>
                    </a:lnTo>
                    <a:lnTo>
                      <a:pt x="151" y="46"/>
                    </a:lnTo>
                    <a:lnTo>
                      <a:pt x="147" y="46"/>
                    </a:lnTo>
                    <a:lnTo>
                      <a:pt x="145" y="42"/>
                    </a:lnTo>
                    <a:lnTo>
                      <a:pt x="145" y="38"/>
                    </a:lnTo>
                    <a:lnTo>
                      <a:pt x="145" y="35"/>
                    </a:lnTo>
                    <a:lnTo>
                      <a:pt x="141" y="31"/>
                    </a:lnTo>
                    <a:lnTo>
                      <a:pt x="137" y="31"/>
                    </a:lnTo>
                    <a:lnTo>
                      <a:pt x="133" y="31"/>
                    </a:lnTo>
                    <a:lnTo>
                      <a:pt x="131" y="27"/>
                    </a:lnTo>
                    <a:lnTo>
                      <a:pt x="129" y="24"/>
                    </a:lnTo>
                    <a:lnTo>
                      <a:pt x="125" y="22"/>
                    </a:lnTo>
                    <a:lnTo>
                      <a:pt x="121" y="22"/>
                    </a:lnTo>
                    <a:lnTo>
                      <a:pt x="117" y="24"/>
                    </a:lnTo>
                    <a:lnTo>
                      <a:pt x="113" y="24"/>
                    </a:lnTo>
                    <a:lnTo>
                      <a:pt x="109" y="24"/>
                    </a:lnTo>
                    <a:lnTo>
                      <a:pt x="105" y="22"/>
                    </a:lnTo>
                    <a:lnTo>
                      <a:pt x="105" y="18"/>
                    </a:lnTo>
                    <a:lnTo>
                      <a:pt x="103" y="15"/>
                    </a:lnTo>
                    <a:lnTo>
                      <a:pt x="103" y="11"/>
                    </a:lnTo>
                    <a:lnTo>
                      <a:pt x="107" y="11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0" name="Freeform 80"/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1445646" y="3154155"/>
                <a:ext cx="282849" cy="176949"/>
              </a:xfrm>
              <a:custGeom>
                <a:avLst/>
                <a:gdLst>
                  <a:gd name="T0" fmla="*/ 2147483647 w 229"/>
                  <a:gd name="T1" fmla="*/ 2147483647 h 150"/>
                  <a:gd name="T2" fmla="*/ 2147483647 w 229"/>
                  <a:gd name="T3" fmla="*/ 2147483647 h 150"/>
                  <a:gd name="T4" fmla="*/ 2147483647 w 229"/>
                  <a:gd name="T5" fmla="*/ 2147483647 h 150"/>
                  <a:gd name="T6" fmla="*/ 2147483647 w 229"/>
                  <a:gd name="T7" fmla="*/ 2147483647 h 150"/>
                  <a:gd name="T8" fmla="*/ 2147483647 w 229"/>
                  <a:gd name="T9" fmla="*/ 2147483647 h 150"/>
                  <a:gd name="T10" fmla="*/ 2147483647 w 229"/>
                  <a:gd name="T11" fmla="*/ 2147483647 h 150"/>
                  <a:gd name="T12" fmla="*/ 2147483647 w 229"/>
                  <a:gd name="T13" fmla="*/ 2147483647 h 150"/>
                  <a:gd name="T14" fmla="*/ 2147483647 w 229"/>
                  <a:gd name="T15" fmla="*/ 2147483647 h 150"/>
                  <a:gd name="T16" fmla="*/ 2147483647 w 229"/>
                  <a:gd name="T17" fmla="*/ 2147483647 h 150"/>
                  <a:gd name="T18" fmla="*/ 2147483647 w 229"/>
                  <a:gd name="T19" fmla="*/ 2147483647 h 150"/>
                  <a:gd name="T20" fmla="*/ 2147483647 w 229"/>
                  <a:gd name="T21" fmla="*/ 2147483647 h 150"/>
                  <a:gd name="T22" fmla="*/ 2147483647 w 229"/>
                  <a:gd name="T23" fmla="*/ 2147483647 h 150"/>
                  <a:gd name="T24" fmla="*/ 2147483647 w 229"/>
                  <a:gd name="T25" fmla="*/ 2147483647 h 150"/>
                  <a:gd name="T26" fmla="*/ 2147483647 w 229"/>
                  <a:gd name="T27" fmla="*/ 2147483647 h 150"/>
                  <a:gd name="T28" fmla="*/ 2147483647 w 229"/>
                  <a:gd name="T29" fmla="*/ 2147483647 h 150"/>
                  <a:gd name="T30" fmla="*/ 2147483647 w 229"/>
                  <a:gd name="T31" fmla="*/ 2147483647 h 150"/>
                  <a:gd name="T32" fmla="*/ 2147483647 w 229"/>
                  <a:gd name="T33" fmla="*/ 2147483647 h 150"/>
                  <a:gd name="T34" fmla="*/ 2147483647 w 229"/>
                  <a:gd name="T35" fmla="*/ 2147483647 h 150"/>
                  <a:gd name="T36" fmla="*/ 2147483647 w 229"/>
                  <a:gd name="T37" fmla="*/ 2147483647 h 150"/>
                  <a:gd name="T38" fmla="*/ 2147483647 w 229"/>
                  <a:gd name="T39" fmla="*/ 2147483647 h 150"/>
                  <a:gd name="T40" fmla="*/ 2147483647 w 229"/>
                  <a:gd name="T41" fmla="*/ 2147483647 h 150"/>
                  <a:gd name="T42" fmla="*/ 2147483647 w 229"/>
                  <a:gd name="T43" fmla="*/ 2147483647 h 150"/>
                  <a:gd name="T44" fmla="*/ 2147483647 w 229"/>
                  <a:gd name="T45" fmla="*/ 2147483647 h 150"/>
                  <a:gd name="T46" fmla="*/ 2147483647 w 229"/>
                  <a:gd name="T47" fmla="*/ 2147483647 h 150"/>
                  <a:gd name="T48" fmla="*/ 2147483647 w 229"/>
                  <a:gd name="T49" fmla="*/ 2147483647 h 150"/>
                  <a:gd name="T50" fmla="*/ 2147483647 w 229"/>
                  <a:gd name="T51" fmla="*/ 2147483647 h 150"/>
                  <a:gd name="T52" fmla="*/ 2147483647 w 229"/>
                  <a:gd name="T53" fmla="*/ 2147483647 h 150"/>
                  <a:gd name="T54" fmla="*/ 2147483647 w 229"/>
                  <a:gd name="T55" fmla="*/ 2147483647 h 150"/>
                  <a:gd name="T56" fmla="*/ 2147483647 w 229"/>
                  <a:gd name="T57" fmla="*/ 2147483647 h 150"/>
                  <a:gd name="T58" fmla="*/ 2147483647 w 229"/>
                  <a:gd name="T59" fmla="*/ 2147483647 h 150"/>
                  <a:gd name="T60" fmla="*/ 2147483647 w 229"/>
                  <a:gd name="T61" fmla="*/ 2147483647 h 150"/>
                  <a:gd name="T62" fmla="*/ 2147483647 w 229"/>
                  <a:gd name="T63" fmla="*/ 2147483647 h 150"/>
                  <a:gd name="T64" fmla="*/ 2147483647 w 229"/>
                  <a:gd name="T65" fmla="*/ 2147483647 h 150"/>
                  <a:gd name="T66" fmla="*/ 2147483647 w 229"/>
                  <a:gd name="T67" fmla="*/ 2147483647 h 150"/>
                  <a:gd name="T68" fmla="*/ 2147483647 w 229"/>
                  <a:gd name="T69" fmla="*/ 2147483647 h 150"/>
                  <a:gd name="T70" fmla="*/ 2147483647 w 229"/>
                  <a:gd name="T71" fmla="*/ 2147483647 h 150"/>
                  <a:gd name="T72" fmla="*/ 2147483647 w 229"/>
                  <a:gd name="T73" fmla="*/ 2147483647 h 150"/>
                  <a:gd name="T74" fmla="*/ 2147483647 w 229"/>
                  <a:gd name="T75" fmla="*/ 2147483647 h 150"/>
                  <a:gd name="T76" fmla="*/ 2147483647 w 229"/>
                  <a:gd name="T77" fmla="*/ 2147483647 h 150"/>
                  <a:gd name="T78" fmla="*/ 2147483647 w 229"/>
                  <a:gd name="T79" fmla="*/ 2147483647 h 150"/>
                  <a:gd name="T80" fmla="*/ 2147483647 w 229"/>
                  <a:gd name="T81" fmla="*/ 2147483647 h 150"/>
                  <a:gd name="T82" fmla="*/ 2147483647 w 229"/>
                  <a:gd name="T83" fmla="*/ 2147483647 h 150"/>
                  <a:gd name="T84" fmla="*/ 2147483647 w 229"/>
                  <a:gd name="T85" fmla="*/ 2147483647 h 150"/>
                  <a:gd name="T86" fmla="*/ 2147483647 w 229"/>
                  <a:gd name="T87" fmla="*/ 2147483647 h 150"/>
                  <a:gd name="T88" fmla="*/ 2147483647 w 229"/>
                  <a:gd name="T89" fmla="*/ 2147483647 h 150"/>
                  <a:gd name="T90" fmla="*/ 2147483647 w 229"/>
                  <a:gd name="T91" fmla="*/ 2147483647 h 150"/>
                  <a:gd name="T92" fmla="*/ 2147483647 w 229"/>
                  <a:gd name="T93" fmla="*/ 2147483647 h 150"/>
                  <a:gd name="T94" fmla="*/ 2147483647 w 229"/>
                  <a:gd name="T95" fmla="*/ 2147483647 h 150"/>
                  <a:gd name="T96" fmla="*/ 2147483647 w 229"/>
                  <a:gd name="T97" fmla="*/ 2147483647 h 150"/>
                  <a:gd name="T98" fmla="*/ 2147483647 w 229"/>
                  <a:gd name="T99" fmla="*/ 2147483647 h 150"/>
                  <a:gd name="T100" fmla="*/ 2147483647 w 229"/>
                  <a:gd name="T101" fmla="*/ 2147483647 h 150"/>
                  <a:gd name="T102" fmla="*/ 2147483647 w 229"/>
                  <a:gd name="T103" fmla="*/ 2147483647 h 150"/>
                  <a:gd name="T104" fmla="*/ 2147483647 w 229"/>
                  <a:gd name="T105" fmla="*/ 2147483647 h 150"/>
                  <a:gd name="T106" fmla="*/ 2147483647 w 229"/>
                  <a:gd name="T107" fmla="*/ 2147483647 h 15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29"/>
                  <a:gd name="T163" fmla="*/ 0 h 150"/>
                  <a:gd name="T164" fmla="*/ 229 w 229"/>
                  <a:gd name="T165" fmla="*/ 150 h 15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29" h="150">
                    <a:moveTo>
                      <a:pt x="62" y="0"/>
                    </a:moveTo>
                    <a:lnTo>
                      <a:pt x="58" y="3"/>
                    </a:lnTo>
                    <a:lnTo>
                      <a:pt x="58" y="7"/>
                    </a:lnTo>
                    <a:lnTo>
                      <a:pt x="55" y="10"/>
                    </a:lnTo>
                    <a:lnTo>
                      <a:pt x="55" y="13"/>
                    </a:lnTo>
                    <a:lnTo>
                      <a:pt x="51" y="17"/>
                    </a:lnTo>
                    <a:lnTo>
                      <a:pt x="51" y="20"/>
                    </a:lnTo>
                    <a:lnTo>
                      <a:pt x="47" y="23"/>
                    </a:lnTo>
                    <a:lnTo>
                      <a:pt x="47" y="20"/>
                    </a:lnTo>
                    <a:lnTo>
                      <a:pt x="43" y="20"/>
                    </a:lnTo>
                    <a:lnTo>
                      <a:pt x="43" y="23"/>
                    </a:lnTo>
                    <a:lnTo>
                      <a:pt x="39" y="24"/>
                    </a:lnTo>
                    <a:lnTo>
                      <a:pt x="34" y="24"/>
                    </a:lnTo>
                    <a:lnTo>
                      <a:pt x="30" y="25"/>
                    </a:lnTo>
                    <a:lnTo>
                      <a:pt x="31" y="30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4" y="39"/>
                    </a:lnTo>
                    <a:lnTo>
                      <a:pt x="30" y="42"/>
                    </a:lnTo>
                    <a:lnTo>
                      <a:pt x="26" y="45"/>
                    </a:lnTo>
                    <a:lnTo>
                      <a:pt x="27" y="49"/>
                    </a:lnTo>
                    <a:lnTo>
                      <a:pt x="22" y="51"/>
                    </a:lnTo>
                    <a:lnTo>
                      <a:pt x="18" y="56"/>
                    </a:lnTo>
                    <a:lnTo>
                      <a:pt x="17" y="61"/>
                    </a:lnTo>
                    <a:lnTo>
                      <a:pt x="18" y="64"/>
                    </a:lnTo>
                    <a:lnTo>
                      <a:pt x="15" y="69"/>
                    </a:lnTo>
                    <a:lnTo>
                      <a:pt x="11" y="68"/>
                    </a:lnTo>
                    <a:lnTo>
                      <a:pt x="10" y="72"/>
                    </a:lnTo>
                    <a:lnTo>
                      <a:pt x="14" y="73"/>
                    </a:lnTo>
                    <a:lnTo>
                      <a:pt x="12" y="78"/>
                    </a:lnTo>
                    <a:lnTo>
                      <a:pt x="13" y="82"/>
                    </a:lnTo>
                    <a:lnTo>
                      <a:pt x="13" y="86"/>
                    </a:lnTo>
                    <a:lnTo>
                      <a:pt x="14" y="90"/>
                    </a:lnTo>
                    <a:lnTo>
                      <a:pt x="14" y="94"/>
                    </a:lnTo>
                    <a:lnTo>
                      <a:pt x="10" y="97"/>
                    </a:lnTo>
                    <a:lnTo>
                      <a:pt x="8" y="101"/>
                    </a:lnTo>
                    <a:lnTo>
                      <a:pt x="4" y="101"/>
                    </a:lnTo>
                    <a:lnTo>
                      <a:pt x="0" y="107"/>
                    </a:lnTo>
                    <a:lnTo>
                      <a:pt x="5" y="108"/>
                    </a:lnTo>
                    <a:lnTo>
                      <a:pt x="10" y="109"/>
                    </a:lnTo>
                    <a:lnTo>
                      <a:pt x="10" y="112"/>
                    </a:lnTo>
                    <a:lnTo>
                      <a:pt x="11" y="117"/>
                    </a:lnTo>
                    <a:lnTo>
                      <a:pt x="9" y="122"/>
                    </a:lnTo>
                    <a:lnTo>
                      <a:pt x="8" y="126"/>
                    </a:lnTo>
                    <a:lnTo>
                      <a:pt x="10" y="130"/>
                    </a:lnTo>
                    <a:lnTo>
                      <a:pt x="14" y="129"/>
                    </a:lnTo>
                    <a:lnTo>
                      <a:pt x="19" y="128"/>
                    </a:lnTo>
                    <a:lnTo>
                      <a:pt x="15" y="132"/>
                    </a:lnTo>
                    <a:lnTo>
                      <a:pt x="11" y="133"/>
                    </a:lnTo>
                    <a:lnTo>
                      <a:pt x="10" y="140"/>
                    </a:lnTo>
                    <a:lnTo>
                      <a:pt x="10" y="145"/>
                    </a:lnTo>
                    <a:lnTo>
                      <a:pt x="13" y="147"/>
                    </a:lnTo>
                    <a:lnTo>
                      <a:pt x="17" y="150"/>
                    </a:lnTo>
                    <a:lnTo>
                      <a:pt x="22" y="149"/>
                    </a:lnTo>
                    <a:lnTo>
                      <a:pt x="26" y="149"/>
                    </a:lnTo>
                    <a:lnTo>
                      <a:pt x="31" y="148"/>
                    </a:lnTo>
                    <a:lnTo>
                      <a:pt x="35" y="147"/>
                    </a:lnTo>
                    <a:lnTo>
                      <a:pt x="40" y="149"/>
                    </a:lnTo>
                    <a:lnTo>
                      <a:pt x="44" y="148"/>
                    </a:lnTo>
                    <a:lnTo>
                      <a:pt x="49" y="148"/>
                    </a:lnTo>
                    <a:lnTo>
                      <a:pt x="53" y="147"/>
                    </a:lnTo>
                    <a:lnTo>
                      <a:pt x="58" y="146"/>
                    </a:lnTo>
                    <a:lnTo>
                      <a:pt x="62" y="146"/>
                    </a:lnTo>
                    <a:lnTo>
                      <a:pt x="63" y="141"/>
                    </a:lnTo>
                    <a:lnTo>
                      <a:pt x="67" y="138"/>
                    </a:lnTo>
                    <a:lnTo>
                      <a:pt x="72" y="136"/>
                    </a:lnTo>
                    <a:lnTo>
                      <a:pt x="75" y="134"/>
                    </a:lnTo>
                    <a:lnTo>
                      <a:pt x="80" y="130"/>
                    </a:lnTo>
                    <a:lnTo>
                      <a:pt x="84" y="130"/>
                    </a:lnTo>
                    <a:lnTo>
                      <a:pt x="89" y="127"/>
                    </a:lnTo>
                    <a:lnTo>
                      <a:pt x="88" y="123"/>
                    </a:lnTo>
                    <a:lnTo>
                      <a:pt x="92" y="125"/>
                    </a:lnTo>
                    <a:lnTo>
                      <a:pt x="97" y="126"/>
                    </a:lnTo>
                    <a:lnTo>
                      <a:pt x="101" y="123"/>
                    </a:lnTo>
                    <a:lnTo>
                      <a:pt x="104" y="127"/>
                    </a:lnTo>
                    <a:lnTo>
                      <a:pt x="109" y="129"/>
                    </a:lnTo>
                    <a:lnTo>
                      <a:pt x="111" y="132"/>
                    </a:lnTo>
                    <a:lnTo>
                      <a:pt x="112" y="137"/>
                    </a:lnTo>
                    <a:lnTo>
                      <a:pt x="117" y="138"/>
                    </a:lnTo>
                    <a:lnTo>
                      <a:pt x="118" y="142"/>
                    </a:lnTo>
                    <a:lnTo>
                      <a:pt x="120" y="146"/>
                    </a:lnTo>
                    <a:lnTo>
                      <a:pt x="124" y="145"/>
                    </a:lnTo>
                    <a:lnTo>
                      <a:pt x="127" y="141"/>
                    </a:lnTo>
                    <a:lnTo>
                      <a:pt x="130" y="139"/>
                    </a:lnTo>
                    <a:lnTo>
                      <a:pt x="135" y="136"/>
                    </a:lnTo>
                    <a:lnTo>
                      <a:pt x="138" y="140"/>
                    </a:lnTo>
                    <a:lnTo>
                      <a:pt x="138" y="144"/>
                    </a:lnTo>
                    <a:lnTo>
                      <a:pt x="142" y="143"/>
                    </a:lnTo>
                    <a:lnTo>
                      <a:pt x="147" y="142"/>
                    </a:lnTo>
                    <a:lnTo>
                      <a:pt x="152" y="142"/>
                    </a:lnTo>
                    <a:lnTo>
                      <a:pt x="156" y="141"/>
                    </a:lnTo>
                    <a:lnTo>
                      <a:pt x="161" y="141"/>
                    </a:lnTo>
                    <a:lnTo>
                      <a:pt x="165" y="142"/>
                    </a:lnTo>
                    <a:lnTo>
                      <a:pt x="170" y="141"/>
                    </a:lnTo>
                    <a:lnTo>
                      <a:pt x="174" y="141"/>
                    </a:lnTo>
                    <a:lnTo>
                      <a:pt x="177" y="140"/>
                    </a:lnTo>
                    <a:lnTo>
                      <a:pt x="182" y="140"/>
                    </a:lnTo>
                    <a:lnTo>
                      <a:pt x="186" y="139"/>
                    </a:lnTo>
                    <a:lnTo>
                      <a:pt x="206" y="140"/>
                    </a:lnTo>
                    <a:lnTo>
                      <a:pt x="196" y="138"/>
                    </a:lnTo>
                    <a:lnTo>
                      <a:pt x="209" y="134"/>
                    </a:lnTo>
                    <a:lnTo>
                      <a:pt x="205" y="128"/>
                    </a:lnTo>
                    <a:lnTo>
                      <a:pt x="206" y="119"/>
                    </a:lnTo>
                    <a:lnTo>
                      <a:pt x="203" y="120"/>
                    </a:lnTo>
                    <a:lnTo>
                      <a:pt x="206" y="118"/>
                    </a:lnTo>
                    <a:lnTo>
                      <a:pt x="211" y="116"/>
                    </a:lnTo>
                    <a:lnTo>
                      <a:pt x="215" y="112"/>
                    </a:lnTo>
                    <a:lnTo>
                      <a:pt x="219" y="109"/>
                    </a:lnTo>
                    <a:lnTo>
                      <a:pt x="219" y="105"/>
                    </a:lnTo>
                    <a:lnTo>
                      <a:pt x="223" y="105"/>
                    </a:lnTo>
                    <a:lnTo>
                      <a:pt x="222" y="101"/>
                    </a:lnTo>
                    <a:lnTo>
                      <a:pt x="220" y="97"/>
                    </a:lnTo>
                    <a:lnTo>
                      <a:pt x="224" y="97"/>
                    </a:lnTo>
                    <a:lnTo>
                      <a:pt x="229" y="96"/>
                    </a:lnTo>
                    <a:lnTo>
                      <a:pt x="228" y="92"/>
                    </a:lnTo>
                    <a:lnTo>
                      <a:pt x="223" y="91"/>
                    </a:lnTo>
                    <a:lnTo>
                      <a:pt x="224" y="83"/>
                    </a:lnTo>
                    <a:lnTo>
                      <a:pt x="221" y="77"/>
                    </a:lnTo>
                    <a:lnTo>
                      <a:pt x="215" y="74"/>
                    </a:lnTo>
                    <a:lnTo>
                      <a:pt x="212" y="71"/>
                    </a:lnTo>
                    <a:lnTo>
                      <a:pt x="208" y="74"/>
                    </a:lnTo>
                    <a:lnTo>
                      <a:pt x="205" y="71"/>
                    </a:lnTo>
                    <a:lnTo>
                      <a:pt x="204" y="66"/>
                    </a:lnTo>
                    <a:lnTo>
                      <a:pt x="204" y="62"/>
                    </a:lnTo>
                    <a:lnTo>
                      <a:pt x="199" y="61"/>
                    </a:lnTo>
                    <a:lnTo>
                      <a:pt x="194" y="59"/>
                    </a:lnTo>
                    <a:lnTo>
                      <a:pt x="190" y="60"/>
                    </a:lnTo>
                    <a:lnTo>
                      <a:pt x="185" y="59"/>
                    </a:lnTo>
                    <a:lnTo>
                      <a:pt x="180" y="59"/>
                    </a:lnTo>
                    <a:lnTo>
                      <a:pt x="175" y="58"/>
                    </a:lnTo>
                    <a:lnTo>
                      <a:pt x="171" y="56"/>
                    </a:lnTo>
                    <a:lnTo>
                      <a:pt x="166" y="57"/>
                    </a:lnTo>
                    <a:lnTo>
                      <a:pt x="163" y="58"/>
                    </a:lnTo>
                    <a:lnTo>
                      <a:pt x="159" y="58"/>
                    </a:lnTo>
                    <a:lnTo>
                      <a:pt x="154" y="59"/>
                    </a:lnTo>
                    <a:lnTo>
                      <a:pt x="150" y="56"/>
                    </a:lnTo>
                    <a:lnTo>
                      <a:pt x="145" y="57"/>
                    </a:lnTo>
                    <a:lnTo>
                      <a:pt x="144" y="54"/>
                    </a:lnTo>
                    <a:lnTo>
                      <a:pt x="144" y="50"/>
                    </a:lnTo>
                    <a:lnTo>
                      <a:pt x="140" y="51"/>
                    </a:lnTo>
                    <a:lnTo>
                      <a:pt x="139" y="46"/>
                    </a:lnTo>
                    <a:lnTo>
                      <a:pt x="136" y="43"/>
                    </a:lnTo>
                    <a:lnTo>
                      <a:pt x="133" y="38"/>
                    </a:lnTo>
                    <a:lnTo>
                      <a:pt x="131" y="35"/>
                    </a:lnTo>
                    <a:lnTo>
                      <a:pt x="130" y="31"/>
                    </a:lnTo>
                    <a:lnTo>
                      <a:pt x="125" y="29"/>
                    </a:lnTo>
                    <a:lnTo>
                      <a:pt x="121" y="28"/>
                    </a:lnTo>
                    <a:lnTo>
                      <a:pt x="117" y="23"/>
                    </a:lnTo>
                    <a:lnTo>
                      <a:pt x="113" y="23"/>
                    </a:lnTo>
                    <a:lnTo>
                      <a:pt x="110" y="19"/>
                    </a:lnTo>
                    <a:lnTo>
                      <a:pt x="112" y="14"/>
                    </a:lnTo>
                    <a:lnTo>
                      <a:pt x="109" y="11"/>
                    </a:lnTo>
                    <a:lnTo>
                      <a:pt x="104" y="12"/>
                    </a:lnTo>
                    <a:lnTo>
                      <a:pt x="100" y="10"/>
                    </a:lnTo>
                    <a:lnTo>
                      <a:pt x="95" y="11"/>
                    </a:lnTo>
                    <a:lnTo>
                      <a:pt x="91" y="12"/>
                    </a:lnTo>
                    <a:lnTo>
                      <a:pt x="86" y="12"/>
                    </a:lnTo>
                    <a:lnTo>
                      <a:pt x="84" y="8"/>
                    </a:lnTo>
                    <a:lnTo>
                      <a:pt x="78" y="6"/>
                    </a:lnTo>
                    <a:lnTo>
                      <a:pt x="74" y="7"/>
                    </a:lnTo>
                    <a:lnTo>
                      <a:pt x="69" y="6"/>
                    </a:lnTo>
                    <a:lnTo>
                      <a:pt x="65" y="4"/>
                    </a:lnTo>
                    <a:lnTo>
                      <a:pt x="60" y="5"/>
                    </a:lnTo>
                    <a:lnTo>
                      <a:pt x="62" y="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1" name="Freeform 81"/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1324425" y="3300837"/>
                <a:ext cx="231219" cy="179276"/>
              </a:xfrm>
              <a:custGeom>
                <a:avLst/>
                <a:gdLst>
                  <a:gd name="T0" fmla="*/ 2147483647 w 186"/>
                  <a:gd name="T1" fmla="*/ 2147483647 h 152"/>
                  <a:gd name="T2" fmla="*/ 2147483647 w 186"/>
                  <a:gd name="T3" fmla="*/ 2147483647 h 152"/>
                  <a:gd name="T4" fmla="*/ 2147483647 w 186"/>
                  <a:gd name="T5" fmla="*/ 2147483647 h 152"/>
                  <a:gd name="T6" fmla="*/ 2147483647 w 186"/>
                  <a:gd name="T7" fmla="*/ 2147483647 h 152"/>
                  <a:gd name="T8" fmla="*/ 2147483647 w 186"/>
                  <a:gd name="T9" fmla="*/ 2147483647 h 152"/>
                  <a:gd name="T10" fmla="*/ 2147483647 w 186"/>
                  <a:gd name="T11" fmla="*/ 2147483647 h 152"/>
                  <a:gd name="T12" fmla="*/ 2147483647 w 186"/>
                  <a:gd name="T13" fmla="*/ 2147483647 h 152"/>
                  <a:gd name="T14" fmla="*/ 2147483647 w 186"/>
                  <a:gd name="T15" fmla="*/ 2147483647 h 152"/>
                  <a:gd name="T16" fmla="*/ 2147483647 w 186"/>
                  <a:gd name="T17" fmla="*/ 2147483647 h 152"/>
                  <a:gd name="T18" fmla="*/ 2147483647 w 186"/>
                  <a:gd name="T19" fmla="*/ 2147483647 h 152"/>
                  <a:gd name="T20" fmla="*/ 2147483647 w 186"/>
                  <a:gd name="T21" fmla="*/ 2147483647 h 152"/>
                  <a:gd name="T22" fmla="*/ 2147483647 w 186"/>
                  <a:gd name="T23" fmla="*/ 2147483647 h 152"/>
                  <a:gd name="T24" fmla="*/ 2147483647 w 186"/>
                  <a:gd name="T25" fmla="*/ 2147483647 h 152"/>
                  <a:gd name="T26" fmla="*/ 2147483647 w 186"/>
                  <a:gd name="T27" fmla="*/ 2147483647 h 152"/>
                  <a:gd name="T28" fmla="*/ 2147483647 w 186"/>
                  <a:gd name="T29" fmla="*/ 2147483647 h 152"/>
                  <a:gd name="T30" fmla="*/ 2147483647 w 186"/>
                  <a:gd name="T31" fmla="*/ 2147483647 h 152"/>
                  <a:gd name="T32" fmla="*/ 2147483647 w 186"/>
                  <a:gd name="T33" fmla="*/ 2147483647 h 152"/>
                  <a:gd name="T34" fmla="*/ 2147483647 w 186"/>
                  <a:gd name="T35" fmla="*/ 2147483647 h 152"/>
                  <a:gd name="T36" fmla="*/ 2147483647 w 186"/>
                  <a:gd name="T37" fmla="*/ 2147483647 h 152"/>
                  <a:gd name="T38" fmla="*/ 2147483647 w 186"/>
                  <a:gd name="T39" fmla="*/ 2147483647 h 152"/>
                  <a:gd name="T40" fmla="*/ 2147483647 w 186"/>
                  <a:gd name="T41" fmla="*/ 2147483647 h 152"/>
                  <a:gd name="T42" fmla="*/ 2147483647 w 186"/>
                  <a:gd name="T43" fmla="*/ 2147483647 h 152"/>
                  <a:gd name="T44" fmla="*/ 2147483647 w 186"/>
                  <a:gd name="T45" fmla="*/ 2147483647 h 152"/>
                  <a:gd name="T46" fmla="*/ 2147483647 w 186"/>
                  <a:gd name="T47" fmla="*/ 2147483647 h 152"/>
                  <a:gd name="T48" fmla="*/ 2147483647 w 186"/>
                  <a:gd name="T49" fmla="*/ 2147483647 h 152"/>
                  <a:gd name="T50" fmla="*/ 2147483647 w 186"/>
                  <a:gd name="T51" fmla="*/ 2147483647 h 152"/>
                  <a:gd name="T52" fmla="*/ 2147483647 w 186"/>
                  <a:gd name="T53" fmla="*/ 2147483647 h 152"/>
                  <a:gd name="T54" fmla="*/ 2147483647 w 186"/>
                  <a:gd name="T55" fmla="*/ 2147483647 h 152"/>
                  <a:gd name="T56" fmla="*/ 2147483647 w 186"/>
                  <a:gd name="T57" fmla="*/ 2147483647 h 152"/>
                  <a:gd name="T58" fmla="*/ 2147483647 w 186"/>
                  <a:gd name="T59" fmla="*/ 2147483647 h 152"/>
                  <a:gd name="T60" fmla="*/ 2147483647 w 186"/>
                  <a:gd name="T61" fmla="*/ 2147483647 h 152"/>
                  <a:gd name="T62" fmla="*/ 2147483647 w 186"/>
                  <a:gd name="T63" fmla="*/ 2147483647 h 152"/>
                  <a:gd name="T64" fmla="*/ 2147483647 w 186"/>
                  <a:gd name="T65" fmla="*/ 2147483647 h 152"/>
                  <a:gd name="T66" fmla="*/ 2147483647 w 186"/>
                  <a:gd name="T67" fmla="*/ 2147483647 h 152"/>
                  <a:gd name="T68" fmla="*/ 2147483647 w 186"/>
                  <a:gd name="T69" fmla="*/ 2147483647 h 152"/>
                  <a:gd name="T70" fmla="*/ 2147483647 w 186"/>
                  <a:gd name="T71" fmla="*/ 2147483647 h 152"/>
                  <a:gd name="T72" fmla="*/ 2147483647 w 186"/>
                  <a:gd name="T73" fmla="*/ 2147483647 h 152"/>
                  <a:gd name="T74" fmla="*/ 2147483647 w 186"/>
                  <a:gd name="T75" fmla="*/ 2147483647 h 152"/>
                  <a:gd name="T76" fmla="*/ 2147483647 w 186"/>
                  <a:gd name="T77" fmla="*/ 2147483647 h 152"/>
                  <a:gd name="T78" fmla="*/ 2147483647 w 186"/>
                  <a:gd name="T79" fmla="*/ 2147483647 h 152"/>
                  <a:gd name="T80" fmla="*/ 2147483647 w 186"/>
                  <a:gd name="T81" fmla="*/ 2147483647 h 152"/>
                  <a:gd name="T82" fmla="*/ 2147483647 w 186"/>
                  <a:gd name="T83" fmla="*/ 2147483647 h 152"/>
                  <a:gd name="T84" fmla="*/ 2147483647 w 186"/>
                  <a:gd name="T85" fmla="*/ 2147483647 h 152"/>
                  <a:gd name="T86" fmla="*/ 2147483647 w 186"/>
                  <a:gd name="T87" fmla="*/ 2147483647 h 152"/>
                  <a:gd name="T88" fmla="*/ 2147483647 w 186"/>
                  <a:gd name="T89" fmla="*/ 2147483647 h 152"/>
                  <a:gd name="T90" fmla="*/ 2147483647 w 186"/>
                  <a:gd name="T91" fmla="*/ 2147483647 h 152"/>
                  <a:gd name="T92" fmla="*/ 2147483647 w 186"/>
                  <a:gd name="T93" fmla="*/ 2147483647 h 152"/>
                  <a:gd name="T94" fmla="*/ 2147483647 w 186"/>
                  <a:gd name="T95" fmla="*/ 2147483647 h 152"/>
                  <a:gd name="T96" fmla="*/ 2147483647 w 186"/>
                  <a:gd name="T97" fmla="*/ 2147483647 h 15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86"/>
                  <a:gd name="T148" fmla="*/ 0 h 152"/>
                  <a:gd name="T149" fmla="*/ 186 w 186"/>
                  <a:gd name="T150" fmla="*/ 152 h 15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86" h="152">
                    <a:moveTo>
                      <a:pt x="96" y="28"/>
                    </a:moveTo>
                    <a:lnTo>
                      <a:pt x="91" y="27"/>
                    </a:lnTo>
                    <a:lnTo>
                      <a:pt x="87" y="27"/>
                    </a:lnTo>
                    <a:lnTo>
                      <a:pt x="83" y="28"/>
                    </a:lnTo>
                    <a:lnTo>
                      <a:pt x="78" y="29"/>
                    </a:lnTo>
                    <a:lnTo>
                      <a:pt x="74" y="26"/>
                    </a:lnTo>
                    <a:lnTo>
                      <a:pt x="69" y="26"/>
                    </a:lnTo>
                    <a:lnTo>
                      <a:pt x="65" y="26"/>
                    </a:lnTo>
                    <a:lnTo>
                      <a:pt x="62" y="23"/>
                    </a:lnTo>
                    <a:lnTo>
                      <a:pt x="61" y="18"/>
                    </a:lnTo>
                    <a:lnTo>
                      <a:pt x="60" y="15"/>
                    </a:lnTo>
                    <a:lnTo>
                      <a:pt x="60" y="10"/>
                    </a:lnTo>
                    <a:lnTo>
                      <a:pt x="57" y="6"/>
                    </a:lnTo>
                    <a:lnTo>
                      <a:pt x="53" y="5"/>
                    </a:lnTo>
                    <a:lnTo>
                      <a:pt x="50" y="1"/>
                    </a:lnTo>
                    <a:lnTo>
                      <a:pt x="45" y="0"/>
                    </a:lnTo>
                    <a:lnTo>
                      <a:pt x="40" y="0"/>
                    </a:lnTo>
                    <a:lnTo>
                      <a:pt x="36" y="1"/>
                    </a:lnTo>
                    <a:lnTo>
                      <a:pt x="37" y="6"/>
                    </a:lnTo>
                    <a:lnTo>
                      <a:pt x="35" y="9"/>
                    </a:lnTo>
                    <a:lnTo>
                      <a:pt x="36" y="13"/>
                    </a:lnTo>
                    <a:lnTo>
                      <a:pt x="37" y="18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3" y="23"/>
                    </a:lnTo>
                    <a:lnTo>
                      <a:pt x="24" y="28"/>
                    </a:lnTo>
                    <a:lnTo>
                      <a:pt x="20" y="30"/>
                    </a:lnTo>
                    <a:lnTo>
                      <a:pt x="21" y="33"/>
                    </a:lnTo>
                    <a:lnTo>
                      <a:pt x="21" y="38"/>
                    </a:lnTo>
                    <a:lnTo>
                      <a:pt x="17" y="41"/>
                    </a:lnTo>
                    <a:lnTo>
                      <a:pt x="13" y="44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2" y="51"/>
                    </a:lnTo>
                    <a:lnTo>
                      <a:pt x="0" y="56"/>
                    </a:lnTo>
                    <a:lnTo>
                      <a:pt x="3" y="60"/>
                    </a:lnTo>
                    <a:lnTo>
                      <a:pt x="2" y="64"/>
                    </a:lnTo>
                    <a:lnTo>
                      <a:pt x="2" y="68"/>
                    </a:lnTo>
                    <a:lnTo>
                      <a:pt x="5" y="73"/>
                    </a:lnTo>
                    <a:lnTo>
                      <a:pt x="8" y="75"/>
                    </a:lnTo>
                    <a:lnTo>
                      <a:pt x="12" y="77"/>
                    </a:lnTo>
                    <a:lnTo>
                      <a:pt x="17" y="76"/>
                    </a:lnTo>
                    <a:lnTo>
                      <a:pt x="21" y="76"/>
                    </a:lnTo>
                    <a:lnTo>
                      <a:pt x="26" y="73"/>
                    </a:lnTo>
                    <a:lnTo>
                      <a:pt x="30" y="70"/>
                    </a:lnTo>
                    <a:lnTo>
                      <a:pt x="35" y="74"/>
                    </a:lnTo>
                    <a:lnTo>
                      <a:pt x="36" y="79"/>
                    </a:lnTo>
                    <a:lnTo>
                      <a:pt x="36" y="82"/>
                    </a:lnTo>
                    <a:lnTo>
                      <a:pt x="39" y="86"/>
                    </a:lnTo>
                    <a:lnTo>
                      <a:pt x="43" y="88"/>
                    </a:lnTo>
                    <a:lnTo>
                      <a:pt x="48" y="89"/>
                    </a:lnTo>
                    <a:lnTo>
                      <a:pt x="52" y="89"/>
                    </a:lnTo>
                    <a:lnTo>
                      <a:pt x="58" y="92"/>
                    </a:lnTo>
                    <a:lnTo>
                      <a:pt x="62" y="93"/>
                    </a:lnTo>
                    <a:lnTo>
                      <a:pt x="65" y="97"/>
                    </a:lnTo>
                    <a:lnTo>
                      <a:pt x="68" y="102"/>
                    </a:lnTo>
                    <a:lnTo>
                      <a:pt x="72" y="102"/>
                    </a:lnTo>
                    <a:lnTo>
                      <a:pt x="76" y="106"/>
                    </a:lnTo>
                    <a:lnTo>
                      <a:pt x="78" y="110"/>
                    </a:lnTo>
                    <a:lnTo>
                      <a:pt x="79" y="113"/>
                    </a:lnTo>
                    <a:lnTo>
                      <a:pt x="77" y="118"/>
                    </a:lnTo>
                    <a:lnTo>
                      <a:pt x="73" y="121"/>
                    </a:lnTo>
                    <a:lnTo>
                      <a:pt x="73" y="125"/>
                    </a:lnTo>
                    <a:lnTo>
                      <a:pt x="72" y="129"/>
                    </a:lnTo>
                    <a:lnTo>
                      <a:pt x="75" y="134"/>
                    </a:lnTo>
                    <a:lnTo>
                      <a:pt x="71" y="136"/>
                    </a:lnTo>
                    <a:lnTo>
                      <a:pt x="68" y="140"/>
                    </a:lnTo>
                    <a:lnTo>
                      <a:pt x="67" y="145"/>
                    </a:lnTo>
                    <a:lnTo>
                      <a:pt x="67" y="149"/>
                    </a:lnTo>
                    <a:lnTo>
                      <a:pt x="73" y="152"/>
                    </a:lnTo>
                    <a:lnTo>
                      <a:pt x="77" y="152"/>
                    </a:lnTo>
                    <a:lnTo>
                      <a:pt x="82" y="151"/>
                    </a:lnTo>
                    <a:lnTo>
                      <a:pt x="86" y="151"/>
                    </a:lnTo>
                    <a:lnTo>
                      <a:pt x="91" y="150"/>
                    </a:lnTo>
                    <a:lnTo>
                      <a:pt x="95" y="149"/>
                    </a:lnTo>
                    <a:lnTo>
                      <a:pt x="100" y="151"/>
                    </a:lnTo>
                    <a:lnTo>
                      <a:pt x="104" y="150"/>
                    </a:lnTo>
                    <a:lnTo>
                      <a:pt x="108" y="150"/>
                    </a:lnTo>
                    <a:lnTo>
                      <a:pt x="112" y="149"/>
                    </a:lnTo>
                    <a:lnTo>
                      <a:pt x="117" y="148"/>
                    </a:lnTo>
                    <a:lnTo>
                      <a:pt x="126" y="143"/>
                    </a:lnTo>
                    <a:lnTo>
                      <a:pt x="123" y="149"/>
                    </a:lnTo>
                    <a:lnTo>
                      <a:pt x="125" y="137"/>
                    </a:lnTo>
                    <a:lnTo>
                      <a:pt x="121" y="138"/>
                    </a:lnTo>
                    <a:lnTo>
                      <a:pt x="127" y="139"/>
                    </a:lnTo>
                    <a:lnTo>
                      <a:pt x="130" y="137"/>
                    </a:lnTo>
                    <a:lnTo>
                      <a:pt x="133" y="131"/>
                    </a:lnTo>
                    <a:lnTo>
                      <a:pt x="137" y="131"/>
                    </a:lnTo>
                    <a:lnTo>
                      <a:pt x="142" y="132"/>
                    </a:lnTo>
                    <a:lnTo>
                      <a:pt x="143" y="128"/>
                    </a:lnTo>
                    <a:lnTo>
                      <a:pt x="143" y="125"/>
                    </a:lnTo>
                    <a:lnTo>
                      <a:pt x="140" y="120"/>
                    </a:lnTo>
                    <a:lnTo>
                      <a:pt x="137" y="117"/>
                    </a:lnTo>
                    <a:lnTo>
                      <a:pt x="142" y="116"/>
                    </a:lnTo>
                    <a:lnTo>
                      <a:pt x="146" y="117"/>
                    </a:lnTo>
                    <a:lnTo>
                      <a:pt x="149" y="121"/>
                    </a:lnTo>
                    <a:lnTo>
                      <a:pt x="153" y="120"/>
                    </a:lnTo>
                    <a:lnTo>
                      <a:pt x="159" y="123"/>
                    </a:lnTo>
                    <a:lnTo>
                      <a:pt x="163" y="122"/>
                    </a:lnTo>
                    <a:lnTo>
                      <a:pt x="168" y="121"/>
                    </a:lnTo>
                    <a:lnTo>
                      <a:pt x="169" y="116"/>
                    </a:lnTo>
                    <a:lnTo>
                      <a:pt x="164" y="113"/>
                    </a:lnTo>
                    <a:lnTo>
                      <a:pt x="168" y="110"/>
                    </a:lnTo>
                    <a:lnTo>
                      <a:pt x="173" y="106"/>
                    </a:lnTo>
                    <a:lnTo>
                      <a:pt x="176" y="103"/>
                    </a:lnTo>
                    <a:lnTo>
                      <a:pt x="176" y="98"/>
                    </a:lnTo>
                    <a:lnTo>
                      <a:pt x="175" y="95"/>
                    </a:lnTo>
                    <a:lnTo>
                      <a:pt x="175" y="90"/>
                    </a:lnTo>
                    <a:lnTo>
                      <a:pt x="174" y="87"/>
                    </a:lnTo>
                    <a:lnTo>
                      <a:pt x="173" y="82"/>
                    </a:lnTo>
                    <a:lnTo>
                      <a:pt x="170" y="83"/>
                    </a:lnTo>
                    <a:lnTo>
                      <a:pt x="169" y="79"/>
                    </a:lnTo>
                    <a:lnTo>
                      <a:pt x="168" y="75"/>
                    </a:lnTo>
                    <a:lnTo>
                      <a:pt x="172" y="70"/>
                    </a:lnTo>
                    <a:lnTo>
                      <a:pt x="171" y="65"/>
                    </a:lnTo>
                    <a:lnTo>
                      <a:pt x="176" y="63"/>
                    </a:lnTo>
                    <a:lnTo>
                      <a:pt x="180" y="62"/>
                    </a:lnTo>
                    <a:lnTo>
                      <a:pt x="178" y="60"/>
                    </a:lnTo>
                    <a:lnTo>
                      <a:pt x="181" y="56"/>
                    </a:lnTo>
                    <a:lnTo>
                      <a:pt x="186" y="53"/>
                    </a:lnTo>
                    <a:lnTo>
                      <a:pt x="185" y="49"/>
                    </a:lnTo>
                    <a:lnTo>
                      <a:pt x="183" y="46"/>
                    </a:lnTo>
                    <a:lnTo>
                      <a:pt x="177" y="44"/>
                    </a:lnTo>
                    <a:lnTo>
                      <a:pt x="174" y="45"/>
                    </a:lnTo>
                    <a:lnTo>
                      <a:pt x="168" y="44"/>
                    </a:lnTo>
                    <a:lnTo>
                      <a:pt x="168" y="39"/>
                    </a:lnTo>
                    <a:lnTo>
                      <a:pt x="167" y="36"/>
                    </a:lnTo>
                    <a:lnTo>
                      <a:pt x="169" y="31"/>
                    </a:lnTo>
                    <a:lnTo>
                      <a:pt x="171" y="26"/>
                    </a:lnTo>
                    <a:lnTo>
                      <a:pt x="166" y="26"/>
                    </a:lnTo>
                    <a:lnTo>
                      <a:pt x="162" y="24"/>
                    </a:lnTo>
                    <a:lnTo>
                      <a:pt x="157" y="25"/>
                    </a:lnTo>
                    <a:lnTo>
                      <a:pt x="150" y="26"/>
                    </a:lnTo>
                    <a:lnTo>
                      <a:pt x="146" y="27"/>
                    </a:lnTo>
                    <a:lnTo>
                      <a:pt x="141" y="27"/>
                    </a:lnTo>
                    <a:lnTo>
                      <a:pt x="137" y="28"/>
                    </a:lnTo>
                    <a:lnTo>
                      <a:pt x="132" y="30"/>
                    </a:lnTo>
                    <a:lnTo>
                      <a:pt x="128" y="31"/>
                    </a:lnTo>
                    <a:lnTo>
                      <a:pt x="123" y="32"/>
                    </a:lnTo>
                    <a:lnTo>
                      <a:pt x="119" y="27"/>
                    </a:lnTo>
                    <a:lnTo>
                      <a:pt x="113" y="26"/>
                    </a:lnTo>
                    <a:lnTo>
                      <a:pt x="109" y="24"/>
                    </a:lnTo>
                    <a:lnTo>
                      <a:pt x="104" y="25"/>
                    </a:lnTo>
                    <a:lnTo>
                      <a:pt x="100" y="23"/>
                    </a:lnTo>
                    <a:lnTo>
                      <a:pt x="95" y="26"/>
                    </a:lnTo>
                    <a:lnTo>
                      <a:pt x="91" y="27"/>
                    </a:lnTo>
                    <a:lnTo>
                      <a:pt x="87" y="27"/>
                    </a:lnTo>
                    <a:lnTo>
                      <a:pt x="83" y="28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2" name="Freeform 82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 rot="21140016">
                <a:off x="1371567" y="3475457"/>
                <a:ext cx="215504" cy="172292"/>
              </a:xfrm>
              <a:custGeom>
                <a:avLst/>
                <a:gdLst>
                  <a:gd name="T0" fmla="*/ 2147483647 w 153"/>
                  <a:gd name="T1" fmla="*/ 2147483647 h 129"/>
                  <a:gd name="T2" fmla="*/ 2147483647 w 153"/>
                  <a:gd name="T3" fmla="*/ 2147483647 h 129"/>
                  <a:gd name="T4" fmla="*/ 2147483647 w 153"/>
                  <a:gd name="T5" fmla="*/ 2147483647 h 129"/>
                  <a:gd name="T6" fmla="*/ 2147483647 w 153"/>
                  <a:gd name="T7" fmla="*/ 2147483647 h 129"/>
                  <a:gd name="T8" fmla="*/ 2147483647 w 153"/>
                  <a:gd name="T9" fmla="*/ 2147483647 h 129"/>
                  <a:gd name="T10" fmla="*/ 2147483647 w 153"/>
                  <a:gd name="T11" fmla="*/ 2147483647 h 129"/>
                  <a:gd name="T12" fmla="*/ 0 w 153"/>
                  <a:gd name="T13" fmla="*/ 2147483647 h 129"/>
                  <a:gd name="T14" fmla="*/ 2147483647 w 153"/>
                  <a:gd name="T15" fmla="*/ 2147483647 h 129"/>
                  <a:gd name="T16" fmla="*/ 2147483647 w 153"/>
                  <a:gd name="T17" fmla="*/ 2147483647 h 129"/>
                  <a:gd name="T18" fmla="*/ 2147483647 w 153"/>
                  <a:gd name="T19" fmla="*/ 2147483647 h 129"/>
                  <a:gd name="T20" fmla="*/ 2147483647 w 153"/>
                  <a:gd name="T21" fmla="*/ 2147483647 h 129"/>
                  <a:gd name="T22" fmla="*/ 2147483647 w 153"/>
                  <a:gd name="T23" fmla="*/ 2147483647 h 129"/>
                  <a:gd name="T24" fmla="*/ 2147483647 w 153"/>
                  <a:gd name="T25" fmla="*/ 2147483647 h 129"/>
                  <a:gd name="T26" fmla="*/ 2147483647 w 153"/>
                  <a:gd name="T27" fmla="*/ 2147483647 h 129"/>
                  <a:gd name="T28" fmla="*/ 2147483647 w 153"/>
                  <a:gd name="T29" fmla="*/ 2147483647 h 129"/>
                  <a:gd name="T30" fmla="*/ 2147483647 w 153"/>
                  <a:gd name="T31" fmla="*/ 2147483647 h 129"/>
                  <a:gd name="T32" fmla="*/ 2147483647 w 153"/>
                  <a:gd name="T33" fmla="*/ 2147483647 h 129"/>
                  <a:gd name="T34" fmla="*/ 2147483647 w 153"/>
                  <a:gd name="T35" fmla="*/ 2147483647 h 129"/>
                  <a:gd name="T36" fmla="*/ 2147483647 w 153"/>
                  <a:gd name="T37" fmla="*/ 2147483647 h 129"/>
                  <a:gd name="T38" fmla="*/ 2147483647 w 153"/>
                  <a:gd name="T39" fmla="*/ 2147483647 h 129"/>
                  <a:gd name="T40" fmla="*/ 2147483647 w 153"/>
                  <a:gd name="T41" fmla="*/ 2147483647 h 129"/>
                  <a:gd name="T42" fmla="*/ 2147483647 w 153"/>
                  <a:gd name="T43" fmla="*/ 2147483647 h 129"/>
                  <a:gd name="T44" fmla="*/ 2147483647 w 153"/>
                  <a:gd name="T45" fmla="*/ 2147483647 h 129"/>
                  <a:gd name="T46" fmla="*/ 2147483647 w 153"/>
                  <a:gd name="T47" fmla="*/ 2147483647 h 129"/>
                  <a:gd name="T48" fmla="*/ 2147483647 w 153"/>
                  <a:gd name="T49" fmla="*/ 2147483647 h 129"/>
                  <a:gd name="T50" fmla="*/ 2147483647 w 153"/>
                  <a:gd name="T51" fmla="*/ 2147483647 h 129"/>
                  <a:gd name="T52" fmla="*/ 2147483647 w 153"/>
                  <a:gd name="T53" fmla="*/ 2147483647 h 129"/>
                  <a:gd name="T54" fmla="*/ 2147483647 w 153"/>
                  <a:gd name="T55" fmla="*/ 2147483647 h 129"/>
                  <a:gd name="T56" fmla="*/ 2147483647 w 153"/>
                  <a:gd name="T57" fmla="*/ 2147483647 h 129"/>
                  <a:gd name="T58" fmla="*/ 2147483647 w 153"/>
                  <a:gd name="T59" fmla="*/ 2147483647 h 129"/>
                  <a:gd name="T60" fmla="*/ 2147483647 w 153"/>
                  <a:gd name="T61" fmla="*/ 2147483647 h 129"/>
                  <a:gd name="T62" fmla="*/ 2147483647 w 153"/>
                  <a:gd name="T63" fmla="*/ 2147483647 h 129"/>
                  <a:gd name="T64" fmla="*/ 2147483647 w 153"/>
                  <a:gd name="T65" fmla="*/ 2147483647 h 129"/>
                  <a:gd name="T66" fmla="*/ 2147483647 w 153"/>
                  <a:gd name="T67" fmla="*/ 2147483647 h 129"/>
                  <a:gd name="T68" fmla="*/ 2147483647 w 153"/>
                  <a:gd name="T69" fmla="*/ 2147483647 h 129"/>
                  <a:gd name="T70" fmla="*/ 2147483647 w 153"/>
                  <a:gd name="T71" fmla="*/ 2147483647 h 129"/>
                  <a:gd name="T72" fmla="*/ 2147483647 w 153"/>
                  <a:gd name="T73" fmla="*/ 2147483647 h 129"/>
                  <a:gd name="T74" fmla="*/ 2147483647 w 153"/>
                  <a:gd name="T75" fmla="*/ 2147483647 h 129"/>
                  <a:gd name="T76" fmla="*/ 2147483647 w 153"/>
                  <a:gd name="T77" fmla="*/ 2147483647 h 129"/>
                  <a:gd name="T78" fmla="*/ 2147483647 w 153"/>
                  <a:gd name="T79" fmla="*/ 2147483647 h 129"/>
                  <a:gd name="T80" fmla="*/ 2147483647 w 153"/>
                  <a:gd name="T81" fmla="*/ 2147483647 h 129"/>
                  <a:gd name="T82" fmla="*/ 2147483647 w 153"/>
                  <a:gd name="T83" fmla="*/ 2147483647 h 129"/>
                  <a:gd name="T84" fmla="*/ 2147483647 w 153"/>
                  <a:gd name="T85" fmla="*/ 0 h 129"/>
                  <a:gd name="T86" fmla="*/ 2147483647 w 153"/>
                  <a:gd name="T87" fmla="*/ 2147483647 h 12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3"/>
                  <a:gd name="T133" fmla="*/ 0 h 129"/>
                  <a:gd name="T134" fmla="*/ 153 w 153"/>
                  <a:gd name="T135" fmla="*/ 129 h 129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3" h="129">
                    <a:moveTo>
                      <a:pt x="65" y="2"/>
                    </a:moveTo>
                    <a:lnTo>
                      <a:pt x="61" y="2"/>
                    </a:lnTo>
                    <a:lnTo>
                      <a:pt x="57" y="2"/>
                    </a:lnTo>
                    <a:lnTo>
                      <a:pt x="53" y="2"/>
                    </a:lnTo>
                    <a:lnTo>
                      <a:pt x="49" y="2"/>
                    </a:lnTo>
                    <a:lnTo>
                      <a:pt x="45" y="2"/>
                    </a:lnTo>
                    <a:lnTo>
                      <a:pt x="41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0" y="4"/>
                    </a:lnTo>
                    <a:lnTo>
                      <a:pt x="26" y="2"/>
                    </a:lnTo>
                    <a:lnTo>
                      <a:pt x="22" y="2"/>
                    </a:lnTo>
                    <a:lnTo>
                      <a:pt x="18" y="2"/>
                    </a:lnTo>
                    <a:lnTo>
                      <a:pt x="14" y="2"/>
                    </a:lnTo>
                    <a:lnTo>
                      <a:pt x="12" y="5"/>
                    </a:lnTo>
                    <a:lnTo>
                      <a:pt x="12" y="9"/>
                    </a:lnTo>
                    <a:lnTo>
                      <a:pt x="10" y="13"/>
                    </a:lnTo>
                    <a:lnTo>
                      <a:pt x="6" y="13"/>
                    </a:lnTo>
                    <a:lnTo>
                      <a:pt x="2" y="13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0" y="24"/>
                    </a:lnTo>
                    <a:lnTo>
                      <a:pt x="4" y="26"/>
                    </a:lnTo>
                    <a:lnTo>
                      <a:pt x="4" y="29"/>
                    </a:lnTo>
                    <a:lnTo>
                      <a:pt x="6" y="33"/>
                    </a:lnTo>
                    <a:lnTo>
                      <a:pt x="10" y="35"/>
                    </a:lnTo>
                    <a:lnTo>
                      <a:pt x="14" y="37"/>
                    </a:lnTo>
                    <a:lnTo>
                      <a:pt x="18" y="38"/>
                    </a:lnTo>
                    <a:lnTo>
                      <a:pt x="22" y="40"/>
                    </a:lnTo>
                    <a:lnTo>
                      <a:pt x="18" y="42"/>
                    </a:lnTo>
                    <a:lnTo>
                      <a:pt x="16" y="46"/>
                    </a:lnTo>
                    <a:lnTo>
                      <a:pt x="16" y="49"/>
                    </a:lnTo>
                    <a:lnTo>
                      <a:pt x="16" y="53"/>
                    </a:lnTo>
                    <a:lnTo>
                      <a:pt x="12" y="55"/>
                    </a:lnTo>
                    <a:lnTo>
                      <a:pt x="12" y="59"/>
                    </a:lnTo>
                    <a:lnTo>
                      <a:pt x="12" y="62"/>
                    </a:lnTo>
                    <a:lnTo>
                      <a:pt x="14" y="66"/>
                    </a:lnTo>
                    <a:lnTo>
                      <a:pt x="16" y="70"/>
                    </a:lnTo>
                    <a:lnTo>
                      <a:pt x="20" y="73"/>
                    </a:lnTo>
                    <a:lnTo>
                      <a:pt x="24" y="75"/>
                    </a:lnTo>
                    <a:lnTo>
                      <a:pt x="28" y="77"/>
                    </a:lnTo>
                    <a:lnTo>
                      <a:pt x="32" y="77"/>
                    </a:lnTo>
                    <a:lnTo>
                      <a:pt x="36" y="77"/>
                    </a:lnTo>
                    <a:lnTo>
                      <a:pt x="39" y="79"/>
                    </a:lnTo>
                    <a:lnTo>
                      <a:pt x="43" y="81"/>
                    </a:lnTo>
                    <a:lnTo>
                      <a:pt x="47" y="82"/>
                    </a:lnTo>
                    <a:lnTo>
                      <a:pt x="49" y="86"/>
                    </a:lnTo>
                    <a:lnTo>
                      <a:pt x="53" y="86"/>
                    </a:lnTo>
                    <a:lnTo>
                      <a:pt x="53" y="90"/>
                    </a:lnTo>
                    <a:lnTo>
                      <a:pt x="53" y="93"/>
                    </a:lnTo>
                    <a:lnTo>
                      <a:pt x="57" y="95"/>
                    </a:lnTo>
                    <a:lnTo>
                      <a:pt x="61" y="97"/>
                    </a:lnTo>
                    <a:lnTo>
                      <a:pt x="65" y="97"/>
                    </a:lnTo>
                    <a:lnTo>
                      <a:pt x="69" y="99"/>
                    </a:lnTo>
                    <a:lnTo>
                      <a:pt x="73" y="101"/>
                    </a:lnTo>
                    <a:lnTo>
                      <a:pt x="77" y="101"/>
                    </a:lnTo>
                    <a:lnTo>
                      <a:pt x="81" y="101"/>
                    </a:lnTo>
                    <a:lnTo>
                      <a:pt x="85" y="102"/>
                    </a:lnTo>
                    <a:lnTo>
                      <a:pt x="89" y="102"/>
                    </a:lnTo>
                    <a:lnTo>
                      <a:pt x="93" y="102"/>
                    </a:lnTo>
                    <a:lnTo>
                      <a:pt x="97" y="104"/>
                    </a:lnTo>
                    <a:lnTo>
                      <a:pt x="97" y="108"/>
                    </a:lnTo>
                    <a:lnTo>
                      <a:pt x="99" y="112"/>
                    </a:lnTo>
                    <a:lnTo>
                      <a:pt x="101" y="115"/>
                    </a:lnTo>
                    <a:lnTo>
                      <a:pt x="105" y="115"/>
                    </a:lnTo>
                    <a:lnTo>
                      <a:pt x="109" y="117"/>
                    </a:lnTo>
                    <a:lnTo>
                      <a:pt x="111" y="121"/>
                    </a:lnTo>
                    <a:lnTo>
                      <a:pt x="115" y="123"/>
                    </a:lnTo>
                    <a:lnTo>
                      <a:pt x="116" y="126"/>
                    </a:lnTo>
                    <a:lnTo>
                      <a:pt x="120" y="128"/>
                    </a:lnTo>
                    <a:lnTo>
                      <a:pt x="122" y="124"/>
                    </a:lnTo>
                    <a:lnTo>
                      <a:pt x="122" y="121"/>
                    </a:lnTo>
                    <a:lnTo>
                      <a:pt x="124" y="117"/>
                    </a:lnTo>
                    <a:lnTo>
                      <a:pt x="128" y="117"/>
                    </a:lnTo>
                    <a:lnTo>
                      <a:pt x="132" y="115"/>
                    </a:lnTo>
                    <a:lnTo>
                      <a:pt x="136" y="117"/>
                    </a:lnTo>
                    <a:lnTo>
                      <a:pt x="140" y="119"/>
                    </a:lnTo>
                    <a:lnTo>
                      <a:pt x="144" y="121"/>
                    </a:lnTo>
                    <a:lnTo>
                      <a:pt x="148" y="121"/>
                    </a:lnTo>
                    <a:lnTo>
                      <a:pt x="152" y="121"/>
                    </a:lnTo>
                    <a:lnTo>
                      <a:pt x="152" y="117"/>
                    </a:lnTo>
                    <a:lnTo>
                      <a:pt x="150" y="113"/>
                    </a:lnTo>
                    <a:lnTo>
                      <a:pt x="148" y="110"/>
                    </a:lnTo>
                    <a:lnTo>
                      <a:pt x="148" y="106"/>
                    </a:lnTo>
                    <a:lnTo>
                      <a:pt x="144" y="106"/>
                    </a:lnTo>
                    <a:lnTo>
                      <a:pt x="140" y="104"/>
                    </a:lnTo>
                    <a:lnTo>
                      <a:pt x="136" y="104"/>
                    </a:lnTo>
                    <a:lnTo>
                      <a:pt x="134" y="101"/>
                    </a:lnTo>
                    <a:lnTo>
                      <a:pt x="132" y="97"/>
                    </a:lnTo>
                    <a:lnTo>
                      <a:pt x="134" y="93"/>
                    </a:lnTo>
                    <a:lnTo>
                      <a:pt x="134" y="90"/>
                    </a:lnTo>
                    <a:lnTo>
                      <a:pt x="132" y="86"/>
                    </a:lnTo>
                    <a:lnTo>
                      <a:pt x="128" y="84"/>
                    </a:lnTo>
                    <a:lnTo>
                      <a:pt x="124" y="82"/>
                    </a:lnTo>
                    <a:lnTo>
                      <a:pt x="122" y="79"/>
                    </a:lnTo>
                    <a:lnTo>
                      <a:pt x="122" y="75"/>
                    </a:lnTo>
                    <a:lnTo>
                      <a:pt x="122" y="71"/>
                    </a:lnTo>
                    <a:lnTo>
                      <a:pt x="124" y="68"/>
                    </a:lnTo>
                    <a:lnTo>
                      <a:pt x="124" y="64"/>
                    </a:lnTo>
                    <a:lnTo>
                      <a:pt x="120" y="62"/>
                    </a:lnTo>
                    <a:lnTo>
                      <a:pt x="118" y="59"/>
                    </a:lnTo>
                    <a:lnTo>
                      <a:pt x="118" y="55"/>
                    </a:lnTo>
                    <a:lnTo>
                      <a:pt x="118" y="51"/>
                    </a:lnTo>
                    <a:lnTo>
                      <a:pt x="118" y="48"/>
                    </a:lnTo>
                    <a:lnTo>
                      <a:pt x="118" y="44"/>
                    </a:lnTo>
                    <a:lnTo>
                      <a:pt x="118" y="40"/>
                    </a:lnTo>
                    <a:lnTo>
                      <a:pt x="120" y="37"/>
                    </a:lnTo>
                    <a:lnTo>
                      <a:pt x="120" y="33"/>
                    </a:lnTo>
                    <a:lnTo>
                      <a:pt x="116" y="33"/>
                    </a:lnTo>
                    <a:lnTo>
                      <a:pt x="115" y="29"/>
                    </a:lnTo>
                    <a:lnTo>
                      <a:pt x="113" y="26"/>
                    </a:lnTo>
                    <a:lnTo>
                      <a:pt x="109" y="26"/>
                    </a:lnTo>
                    <a:lnTo>
                      <a:pt x="105" y="24"/>
                    </a:lnTo>
                    <a:lnTo>
                      <a:pt x="101" y="24"/>
                    </a:lnTo>
                    <a:lnTo>
                      <a:pt x="97" y="26"/>
                    </a:lnTo>
                    <a:lnTo>
                      <a:pt x="93" y="26"/>
                    </a:lnTo>
                    <a:lnTo>
                      <a:pt x="91" y="22"/>
                    </a:lnTo>
                    <a:lnTo>
                      <a:pt x="91" y="18"/>
                    </a:lnTo>
                    <a:lnTo>
                      <a:pt x="91" y="15"/>
                    </a:lnTo>
                    <a:lnTo>
                      <a:pt x="95" y="13"/>
                    </a:lnTo>
                    <a:lnTo>
                      <a:pt x="97" y="9"/>
                    </a:lnTo>
                    <a:lnTo>
                      <a:pt x="93" y="5"/>
                    </a:lnTo>
                    <a:lnTo>
                      <a:pt x="89" y="4"/>
                    </a:lnTo>
                    <a:lnTo>
                      <a:pt x="85" y="2"/>
                    </a:lnTo>
                    <a:lnTo>
                      <a:pt x="81" y="2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69" y="0"/>
                    </a:lnTo>
                    <a:lnTo>
                      <a:pt x="65" y="0"/>
                    </a:lnTo>
                    <a:lnTo>
                      <a:pt x="61" y="0"/>
                    </a:lnTo>
                    <a:lnTo>
                      <a:pt x="57" y="0"/>
                    </a:lnTo>
                    <a:lnTo>
                      <a:pt x="53" y="2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3" name="Freeform 83"/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1369322" y="3580230"/>
                <a:ext cx="188566" cy="186262"/>
              </a:xfrm>
              <a:custGeom>
                <a:avLst/>
                <a:gdLst>
                  <a:gd name="T0" fmla="*/ 2147483647 w 153"/>
                  <a:gd name="T1" fmla="*/ 2147483647 h 158"/>
                  <a:gd name="T2" fmla="*/ 0 w 153"/>
                  <a:gd name="T3" fmla="*/ 2147483647 h 158"/>
                  <a:gd name="T4" fmla="*/ 2147483647 w 153"/>
                  <a:gd name="T5" fmla="*/ 2147483647 h 158"/>
                  <a:gd name="T6" fmla="*/ 2147483647 w 153"/>
                  <a:gd name="T7" fmla="*/ 2147483647 h 158"/>
                  <a:gd name="T8" fmla="*/ 2147483647 w 153"/>
                  <a:gd name="T9" fmla="*/ 2147483647 h 158"/>
                  <a:gd name="T10" fmla="*/ 2147483647 w 153"/>
                  <a:gd name="T11" fmla="*/ 2147483647 h 158"/>
                  <a:gd name="T12" fmla="*/ 2147483647 w 153"/>
                  <a:gd name="T13" fmla="*/ 2147483647 h 158"/>
                  <a:gd name="T14" fmla="*/ 2147483647 w 153"/>
                  <a:gd name="T15" fmla="*/ 2147483647 h 158"/>
                  <a:gd name="T16" fmla="*/ 2147483647 w 153"/>
                  <a:gd name="T17" fmla="*/ 2147483647 h 158"/>
                  <a:gd name="T18" fmla="*/ 2147483647 w 153"/>
                  <a:gd name="T19" fmla="*/ 2147483647 h 158"/>
                  <a:gd name="T20" fmla="*/ 2147483647 w 153"/>
                  <a:gd name="T21" fmla="*/ 2147483647 h 158"/>
                  <a:gd name="T22" fmla="*/ 2147483647 w 153"/>
                  <a:gd name="T23" fmla="*/ 2147483647 h 158"/>
                  <a:gd name="T24" fmla="*/ 2147483647 w 153"/>
                  <a:gd name="T25" fmla="*/ 2147483647 h 158"/>
                  <a:gd name="T26" fmla="*/ 2147483647 w 153"/>
                  <a:gd name="T27" fmla="*/ 2147483647 h 158"/>
                  <a:gd name="T28" fmla="*/ 2147483647 w 153"/>
                  <a:gd name="T29" fmla="*/ 2147483647 h 158"/>
                  <a:gd name="T30" fmla="*/ 2147483647 w 153"/>
                  <a:gd name="T31" fmla="*/ 2147483647 h 158"/>
                  <a:gd name="T32" fmla="*/ 2147483647 w 153"/>
                  <a:gd name="T33" fmla="*/ 2147483647 h 158"/>
                  <a:gd name="T34" fmla="*/ 2147483647 w 153"/>
                  <a:gd name="T35" fmla="*/ 2147483647 h 158"/>
                  <a:gd name="T36" fmla="*/ 2147483647 w 153"/>
                  <a:gd name="T37" fmla="*/ 2147483647 h 158"/>
                  <a:gd name="T38" fmla="*/ 2147483647 w 153"/>
                  <a:gd name="T39" fmla="*/ 2147483647 h 158"/>
                  <a:gd name="T40" fmla="*/ 2147483647 w 153"/>
                  <a:gd name="T41" fmla="*/ 2147483647 h 158"/>
                  <a:gd name="T42" fmla="*/ 2147483647 w 153"/>
                  <a:gd name="T43" fmla="*/ 2147483647 h 158"/>
                  <a:gd name="T44" fmla="*/ 2147483647 w 153"/>
                  <a:gd name="T45" fmla="*/ 2147483647 h 158"/>
                  <a:gd name="T46" fmla="*/ 2147483647 w 153"/>
                  <a:gd name="T47" fmla="*/ 2147483647 h 158"/>
                  <a:gd name="T48" fmla="*/ 2147483647 w 153"/>
                  <a:gd name="T49" fmla="*/ 2147483647 h 158"/>
                  <a:gd name="T50" fmla="*/ 2147483647 w 153"/>
                  <a:gd name="T51" fmla="*/ 2147483647 h 158"/>
                  <a:gd name="T52" fmla="*/ 2147483647 w 153"/>
                  <a:gd name="T53" fmla="*/ 2147483647 h 158"/>
                  <a:gd name="T54" fmla="*/ 2147483647 w 153"/>
                  <a:gd name="T55" fmla="*/ 2147483647 h 158"/>
                  <a:gd name="T56" fmla="*/ 2147483647 w 153"/>
                  <a:gd name="T57" fmla="*/ 2147483647 h 158"/>
                  <a:gd name="T58" fmla="*/ 2147483647 w 153"/>
                  <a:gd name="T59" fmla="*/ 2147483647 h 158"/>
                  <a:gd name="T60" fmla="*/ 2147483647 w 153"/>
                  <a:gd name="T61" fmla="*/ 2147483647 h 158"/>
                  <a:gd name="T62" fmla="*/ 2147483647 w 153"/>
                  <a:gd name="T63" fmla="*/ 2147483647 h 158"/>
                  <a:gd name="T64" fmla="*/ 2147483647 w 153"/>
                  <a:gd name="T65" fmla="*/ 2147483647 h 158"/>
                  <a:gd name="T66" fmla="*/ 2147483647 w 153"/>
                  <a:gd name="T67" fmla="*/ 2147483647 h 158"/>
                  <a:gd name="T68" fmla="*/ 2147483647 w 153"/>
                  <a:gd name="T69" fmla="*/ 2147483647 h 158"/>
                  <a:gd name="T70" fmla="*/ 2147483647 w 153"/>
                  <a:gd name="T71" fmla="*/ 2147483647 h 158"/>
                  <a:gd name="T72" fmla="*/ 2147483647 w 153"/>
                  <a:gd name="T73" fmla="*/ 2147483647 h 158"/>
                  <a:gd name="T74" fmla="*/ 2147483647 w 153"/>
                  <a:gd name="T75" fmla="*/ 2147483647 h 158"/>
                  <a:gd name="T76" fmla="*/ 2147483647 w 153"/>
                  <a:gd name="T77" fmla="*/ 2147483647 h 158"/>
                  <a:gd name="T78" fmla="*/ 2147483647 w 153"/>
                  <a:gd name="T79" fmla="*/ 2147483647 h 158"/>
                  <a:gd name="T80" fmla="*/ 2147483647 w 153"/>
                  <a:gd name="T81" fmla="*/ 2147483647 h 158"/>
                  <a:gd name="T82" fmla="*/ 2147483647 w 153"/>
                  <a:gd name="T83" fmla="*/ 2147483647 h 158"/>
                  <a:gd name="T84" fmla="*/ 2147483647 w 153"/>
                  <a:gd name="T85" fmla="*/ 2147483647 h 158"/>
                  <a:gd name="T86" fmla="*/ 2147483647 w 153"/>
                  <a:gd name="T87" fmla="*/ 2147483647 h 158"/>
                  <a:gd name="T88" fmla="*/ 2147483647 w 153"/>
                  <a:gd name="T89" fmla="*/ 2147483647 h 158"/>
                  <a:gd name="T90" fmla="*/ 2147483647 w 153"/>
                  <a:gd name="T91" fmla="*/ 2147483647 h 158"/>
                  <a:gd name="T92" fmla="*/ 2147483647 w 153"/>
                  <a:gd name="T93" fmla="*/ 2147483647 h 15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53"/>
                  <a:gd name="T142" fmla="*/ 0 h 158"/>
                  <a:gd name="T143" fmla="*/ 153 w 153"/>
                  <a:gd name="T144" fmla="*/ 158 h 15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53" h="158">
                    <a:moveTo>
                      <a:pt x="12" y="1"/>
                    </a:moveTo>
                    <a:lnTo>
                      <a:pt x="7" y="4"/>
                    </a:lnTo>
                    <a:lnTo>
                      <a:pt x="3" y="7"/>
                    </a:lnTo>
                    <a:lnTo>
                      <a:pt x="1" y="11"/>
                    </a:lnTo>
                    <a:lnTo>
                      <a:pt x="4" y="14"/>
                    </a:lnTo>
                    <a:lnTo>
                      <a:pt x="0" y="18"/>
                    </a:lnTo>
                    <a:lnTo>
                      <a:pt x="0" y="21"/>
                    </a:lnTo>
                    <a:lnTo>
                      <a:pt x="1" y="26"/>
                    </a:lnTo>
                    <a:lnTo>
                      <a:pt x="1" y="30"/>
                    </a:lnTo>
                    <a:lnTo>
                      <a:pt x="7" y="31"/>
                    </a:lnTo>
                    <a:lnTo>
                      <a:pt x="11" y="31"/>
                    </a:lnTo>
                    <a:lnTo>
                      <a:pt x="16" y="34"/>
                    </a:lnTo>
                    <a:lnTo>
                      <a:pt x="19" y="37"/>
                    </a:lnTo>
                    <a:lnTo>
                      <a:pt x="19" y="42"/>
                    </a:lnTo>
                    <a:lnTo>
                      <a:pt x="20" y="45"/>
                    </a:lnTo>
                    <a:lnTo>
                      <a:pt x="18" y="51"/>
                    </a:lnTo>
                    <a:lnTo>
                      <a:pt x="19" y="55"/>
                    </a:lnTo>
                    <a:lnTo>
                      <a:pt x="19" y="57"/>
                    </a:lnTo>
                    <a:lnTo>
                      <a:pt x="20" y="62"/>
                    </a:lnTo>
                    <a:lnTo>
                      <a:pt x="20" y="66"/>
                    </a:lnTo>
                    <a:lnTo>
                      <a:pt x="23" y="70"/>
                    </a:lnTo>
                    <a:lnTo>
                      <a:pt x="27" y="70"/>
                    </a:lnTo>
                    <a:lnTo>
                      <a:pt x="32" y="67"/>
                    </a:lnTo>
                    <a:lnTo>
                      <a:pt x="34" y="71"/>
                    </a:lnTo>
                    <a:lnTo>
                      <a:pt x="39" y="72"/>
                    </a:lnTo>
                    <a:lnTo>
                      <a:pt x="42" y="77"/>
                    </a:lnTo>
                    <a:lnTo>
                      <a:pt x="45" y="76"/>
                    </a:lnTo>
                    <a:lnTo>
                      <a:pt x="50" y="77"/>
                    </a:lnTo>
                    <a:lnTo>
                      <a:pt x="53" y="80"/>
                    </a:lnTo>
                    <a:lnTo>
                      <a:pt x="57" y="80"/>
                    </a:lnTo>
                    <a:lnTo>
                      <a:pt x="62" y="79"/>
                    </a:lnTo>
                    <a:lnTo>
                      <a:pt x="66" y="81"/>
                    </a:lnTo>
                    <a:lnTo>
                      <a:pt x="66" y="85"/>
                    </a:lnTo>
                    <a:lnTo>
                      <a:pt x="67" y="89"/>
                    </a:lnTo>
                    <a:lnTo>
                      <a:pt x="68" y="93"/>
                    </a:lnTo>
                    <a:lnTo>
                      <a:pt x="64" y="94"/>
                    </a:lnTo>
                    <a:lnTo>
                      <a:pt x="58" y="93"/>
                    </a:lnTo>
                    <a:lnTo>
                      <a:pt x="59" y="97"/>
                    </a:lnTo>
                    <a:lnTo>
                      <a:pt x="59" y="101"/>
                    </a:lnTo>
                    <a:lnTo>
                      <a:pt x="60" y="104"/>
                    </a:lnTo>
                    <a:lnTo>
                      <a:pt x="61" y="109"/>
                    </a:lnTo>
                    <a:lnTo>
                      <a:pt x="61" y="112"/>
                    </a:lnTo>
                    <a:lnTo>
                      <a:pt x="62" y="117"/>
                    </a:lnTo>
                    <a:lnTo>
                      <a:pt x="62" y="121"/>
                    </a:lnTo>
                    <a:lnTo>
                      <a:pt x="61" y="125"/>
                    </a:lnTo>
                    <a:lnTo>
                      <a:pt x="66" y="127"/>
                    </a:lnTo>
                    <a:lnTo>
                      <a:pt x="70" y="123"/>
                    </a:lnTo>
                    <a:lnTo>
                      <a:pt x="74" y="121"/>
                    </a:lnTo>
                    <a:lnTo>
                      <a:pt x="78" y="120"/>
                    </a:lnTo>
                    <a:lnTo>
                      <a:pt x="83" y="122"/>
                    </a:lnTo>
                    <a:lnTo>
                      <a:pt x="84" y="126"/>
                    </a:lnTo>
                    <a:lnTo>
                      <a:pt x="85" y="130"/>
                    </a:lnTo>
                    <a:lnTo>
                      <a:pt x="80" y="133"/>
                    </a:lnTo>
                    <a:lnTo>
                      <a:pt x="78" y="137"/>
                    </a:lnTo>
                    <a:lnTo>
                      <a:pt x="79" y="142"/>
                    </a:lnTo>
                    <a:lnTo>
                      <a:pt x="83" y="142"/>
                    </a:lnTo>
                    <a:lnTo>
                      <a:pt x="86" y="144"/>
                    </a:lnTo>
                    <a:lnTo>
                      <a:pt x="87" y="148"/>
                    </a:lnTo>
                    <a:lnTo>
                      <a:pt x="88" y="153"/>
                    </a:lnTo>
                    <a:lnTo>
                      <a:pt x="92" y="155"/>
                    </a:lnTo>
                    <a:lnTo>
                      <a:pt x="97" y="154"/>
                    </a:lnTo>
                    <a:lnTo>
                      <a:pt x="101" y="153"/>
                    </a:lnTo>
                    <a:lnTo>
                      <a:pt x="106" y="154"/>
                    </a:lnTo>
                    <a:lnTo>
                      <a:pt x="109" y="158"/>
                    </a:lnTo>
                    <a:lnTo>
                      <a:pt x="112" y="156"/>
                    </a:lnTo>
                    <a:lnTo>
                      <a:pt x="117" y="152"/>
                    </a:lnTo>
                    <a:lnTo>
                      <a:pt x="121" y="151"/>
                    </a:lnTo>
                    <a:lnTo>
                      <a:pt x="123" y="146"/>
                    </a:lnTo>
                    <a:lnTo>
                      <a:pt x="119" y="142"/>
                    </a:lnTo>
                    <a:lnTo>
                      <a:pt x="117" y="139"/>
                    </a:lnTo>
                    <a:lnTo>
                      <a:pt x="118" y="134"/>
                    </a:lnTo>
                    <a:lnTo>
                      <a:pt x="123" y="133"/>
                    </a:lnTo>
                    <a:lnTo>
                      <a:pt x="123" y="129"/>
                    </a:lnTo>
                    <a:lnTo>
                      <a:pt x="126" y="129"/>
                    </a:lnTo>
                    <a:lnTo>
                      <a:pt x="130" y="126"/>
                    </a:lnTo>
                    <a:lnTo>
                      <a:pt x="130" y="122"/>
                    </a:lnTo>
                    <a:lnTo>
                      <a:pt x="127" y="119"/>
                    </a:lnTo>
                    <a:lnTo>
                      <a:pt x="131" y="118"/>
                    </a:lnTo>
                    <a:lnTo>
                      <a:pt x="136" y="117"/>
                    </a:lnTo>
                    <a:lnTo>
                      <a:pt x="140" y="117"/>
                    </a:lnTo>
                    <a:lnTo>
                      <a:pt x="142" y="112"/>
                    </a:lnTo>
                    <a:lnTo>
                      <a:pt x="141" y="109"/>
                    </a:lnTo>
                    <a:lnTo>
                      <a:pt x="139" y="104"/>
                    </a:lnTo>
                    <a:lnTo>
                      <a:pt x="141" y="105"/>
                    </a:lnTo>
                    <a:lnTo>
                      <a:pt x="139" y="98"/>
                    </a:lnTo>
                    <a:lnTo>
                      <a:pt x="139" y="96"/>
                    </a:lnTo>
                    <a:lnTo>
                      <a:pt x="142" y="93"/>
                    </a:lnTo>
                    <a:lnTo>
                      <a:pt x="139" y="94"/>
                    </a:lnTo>
                    <a:lnTo>
                      <a:pt x="144" y="91"/>
                    </a:lnTo>
                    <a:lnTo>
                      <a:pt x="148" y="89"/>
                    </a:lnTo>
                    <a:lnTo>
                      <a:pt x="153" y="90"/>
                    </a:lnTo>
                    <a:lnTo>
                      <a:pt x="152" y="87"/>
                    </a:lnTo>
                    <a:lnTo>
                      <a:pt x="150" y="82"/>
                    </a:lnTo>
                    <a:lnTo>
                      <a:pt x="145" y="83"/>
                    </a:lnTo>
                    <a:lnTo>
                      <a:pt x="142" y="79"/>
                    </a:lnTo>
                    <a:lnTo>
                      <a:pt x="142" y="75"/>
                    </a:lnTo>
                    <a:lnTo>
                      <a:pt x="137" y="76"/>
                    </a:lnTo>
                    <a:lnTo>
                      <a:pt x="136" y="72"/>
                    </a:lnTo>
                    <a:lnTo>
                      <a:pt x="141" y="71"/>
                    </a:lnTo>
                    <a:lnTo>
                      <a:pt x="145" y="68"/>
                    </a:lnTo>
                    <a:lnTo>
                      <a:pt x="147" y="63"/>
                    </a:lnTo>
                    <a:lnTo>
                      <a:pt x="149" y="60"/>
                    </a:lnTo>
                    <a:lnTo>
                      <a:pt x="143" y="58"/>
                    </a:lnTo>
                    <a:lnTo>
                      <a:pt x="143" y="54"/>
                    </a:lnTo>
                    <a:lnTo>
                      <a:pt x="140" y="50"/>
                    </a:lnTo>
                    <a:lnTo>
                      <a:pt x="140" y="46"/>
                    </a:lnTo>
                    <a:lnTo>
                      <a:pt x="136" y="45"/>
                    </a:lnTo>
                    <a:lnTo>
                      <a:pt x="135" y="40"/>
                    </a:lnTo>
                    <a:lnTo>
                      <a:pt x="132" y="37"/>
                    </a:lnTo>
                    <a:lnTo>
                      <a:pt x="127" y="33"/>
                    </a:lnTo>
                    <a:lnTo>
                      <a:pt x="124" y="29"/>
                    </a:lnTo>
                    <a:lnTo>
                      <a:pt x="119" y="29"/>
                    </a:lnTo>
                    <a:lnTo>
                      <a:pt x="117" y="24"/>
                    </a:lnTo>
                    <a:lnTo>
                      <a:pt x="112" y="25"/>
                    </a:lnTo>
                    <a:lnTo>
                      <a:pt x="109" y="25"/>
                    </a:lnTo>
                    <a:lnTo>
                      <a:pt x="104" y="26"/>
                    </a:lnTo>
                    <a:lnTo>
                      <a:pt x="100" y="26"/>
                    </a:lnTo>
                    <a:lnTo>
                      <a:pt x="95" y="27"/>
                    </a:lnTo>
                    <a:lnTo>
                      <a:pt x="91" y="28"/>
                    </a:lnTo>
                    <a:lnTo>
                      <a:pt x="86" y="26"/>
                    </a:lnTo>
                    <a:lnTo>
                      <a:pt x="81" y="25"/>
                    </a:lnTo>
                    <a:lnTo>
                      <a:pt x="77" y="26"/>
                    </a:lnTo>
                    <a:lnTo>
                      <a:pt x="72" y="23"/>
                    </a:lnTo>
                    <a:lnTo>
                      <a:pt x="67" y="24"/>
                    </a:lnTo>
                    <a:lnTo>
                      <a:pt x="63" y="23"/>
                    </a:lnTo>
                    <a:lnTo>
                      <a:pt x="61" y="20"/>
                    </a:lnTo>
                    <a:lnTo>
                      <a:pt x="62" y="14"/>
                    </a:lnTo>
                    <a:lnTo>
                      <a:pt x="60" y="12"/>
                    </a:lnTo>
                    <a:lnTo>
                      <a:pt x="54" y="10"/>
                    </a:lnTo>
                    <a:lnTo>
                      <a:pt x="50" y="8"/>
                    </a:lnTo>
                    <a:lnTo>
                      <a:pt x="45" y="7"/>
                    </a:lnTo>
                    <a:lnTo>
                      <a:pt x="41" y="7"/>
                    </a:lnTo>
                    <a:lnTo>
                      <a:pt x="36" y="8"/>
                    </a:lnTo>
                    <a:lnTo>
                      <a:pt x="33" y="8"/>
                    </a:lnTo>
                    <a:lnTo>
                      <a:pt x="28" y="9"/>
                    </a:lnTo>
                    <a:lnTo>
                      <a:pt x="24" y="9"/>
                    </a:lnTo>
                    <a:lnTo>
                      <a:pt x="23" y="5"/>
                    </a:lnTo>
                    <a:lnTo>
                      <a:pt x="21" y="2"/>
                    </a:lnTo>
                    <a:lnTo>
                      <a:pt x="16" y="0"/>
                    </a:lnTo>
                    <a:lnTo>
                      <a:pt x="12" y="3"/>
                    </a:lnTo>
                    <a:lnTo>
                      <a:pt x="10" y="7"/>
                    </a:lnTo>
                    <a:lnTo>
                      <a:pt x="12" y="1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4" name="Freeform 84"/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 rot="-459984">
                <a:off x="1580336" y="3058697"/>
                <a:ext cx="466926" cy="256110"/>
              </a:xfrm>
              <a:custGeom>
                <a:avLst/>
                <a:gdLst>
                  <a:gd name="T0" fmla="*/ 2147483647 w 334"/>
                  <a:gd name="T1" fmla="*/ 2147483647 h 192"/>
                  <a:gd name="T2" fmla="*/ 2147483647 w 334"/>
                  <a:gd name="T3" fmla="*/ 2147483647 h 192"/>
                  <a:gd name="T4" fmla="*/ 2147483647 w 334"/>
                  <a:gd name="T5" fmla="*/ 2147483647 h 192"/>
                  <a:gd name="T6" fmla="*/ 2147483647 w 334"/>
                  <a:gd name="T7" fmla="*/ 2147483647 h 192"/>
                  <a:gd name="T8" fmla="*/ 2147483647 w 334"/>
                  <a:gd name="T9" fmla="*/ 2147483647 h 192"/>
                  <a:gd name="T10" fmla="*/ 2147483647 w 334"/>
                  <a:gd name="T11" fmla="*/ 2147483647 h 192"/>
                  <a:gd name="T12" fmla="*/ 2147483647 w 334"/>
                  <a:gd name="T13" fmla="*/ 2147483647 h 192"/>
                  <a:gd name="T14" fmla="*/ 2147483647 w 334"/>
                  <a:gd name="T15" fmla="*/ 2147483647 h 192"/>
                  <a:gd name="T16" fmla="*/ 2147483647 w 334"/>
                  <a:gd name="T17" fmla="*/ 2147483647 h 192"/>
                  <a:gd name="T18" fmla="*/ 2147483647 w 334"/>
                  <a:gd name="T19" fmla="*/ 2147483647 h 192"/>
                  <a:gd name="T20" fmla="*/ 2147483647 w 334"/>
                  <a:gd name="T21" fmla="*/ 2147483647 h 192"/>
                  <a:gd name="T22" fmla="*/ 2147483647 w 334"/>
                  <a:gd name="T23" fmla="*/ 2147483647 h 192"/>
                  <a:gd name="T24" fmla="*/ 2147483647 w 334"/>
                  <a:gd name="T25" fmla="*/ 2147483647 h 192"/>
                  <a:gd name="T26" fmla="*/ 2147483647 w 334"/>
                  <a:gd name="T27" fmla="*/ 2147483647 h 192"/>
                  <a:gd name="T28" fmla="*/ 2147483647 w 334"/>
                  <a:gd name="T29" fmla="*/ 0 h 192"/>
                  <a:gd name="T30" fmla="*/ 2147483647 w 334"/>
                  <a:gd name="T31" fmla="*/ 2147483647 h 192"/>
                  <a:gd name="T32" fmla="*/ 2147483647 w 334"/>
                  <a:gd name="T33" fmla="*/ 2147483647 h 192"/>
                  <a:gd name="T34" fmla="*/ 2147483647 w 334"/>
                  <a:gd name="T35" fmla="*/ 2147483647 h 192"/>
                  <a:gd name="T36" fmla="*/ 2147483647 w 334"/>
                  <a:gd name="T37" fmla="*/ 2147483647 h 192"/>
                  <a:gd name="T38" fmla="*/ 0 w 334"/>
                  <a:gd name="T39" fmla="*/ 2147483647 h 192"/>
                  <a:gd name="T40" fmla="*/ 2147483647 w 334"/>
                  <a:gd name="T41" fmla="*/ 2147483647 h 192"/>
                  <a:gd name="T42" fmla="*/ 2147483647 w 334"/>
                  <a:gd name="T43" fmla="*/ 2147483647 h 192"/>
                  <a:gd name="T44" fmla="*/ 2147483647 w 334"/>
                  <a:gd name="T45" fmla="*/ 2147483647 h 192"/>
                  <a:gd name="T46" fmla="*/ 2147483647 w 334"/>
                  <a:gd name="T47" fmla="*/ 2147483647 h 192"/>
                  <a:gd name="T48" fmla="*/ 2147483647 w 334"/>
                  <a:gd name="T49" fmla="*/ 2147483647 h 192"/>
                  <a:gd name="T50" fmla="*/ 2147483647 w 334"/>
                  <a:gd name="T51" fmla="*/ 2147483647 h 192"/>
                  <a:gd name="T52" fmla="*/ 2147483647 w 334"/>
                  <a:gd name="T53" fmla="*/ 2147483647 h 192"/>
                  <a:gd name="T54" fmla="*/ 2147483647 w 334"/>
                  <a:gd name="T55" fmla="*/ 2147483647 h 192"/>
                  <a:gd name="T56" fmla="*/ 2147483647 w 334"/>
                  <a:gd name="T57" fmla="*/ 2147483647 h 192"/>
                  <a:gd name="T58" fmla="*/ 2147483647 w 334"/>
                  <a:gd name="T59" fmla="*/ 2147483647 h 192"/>
                  <a:gd name="T60" fmla="*/ 2147483647 w 334"/>
                  <a:gd name="T61" fmla="*/ 2147483647 h 192"/>
                  <a:gd name="T62" fmla="*/ 2147483647 w 334"/>
                  <a:gd name="T63" fmla="*/ 2147483647 h 192"/>
                  <a:gd name="T64" fmla="*/ 2147483647 w 334"/>
                  <a:gd name="T65" fmla="*/ 2147483647 h 192"/>
                  <a:gd name="T66" fmla="*/ 2147483647 w 334"/>
                  <a:gd name="T67" fmla="*/ 2147483647 h 192"/>
                  <a:gd name="T68" fmla="*/ 2147483647 w 334"/>
                  <a:gd name="T69" fmla="*/ 2147483647 h 192"/>
                  <a:gd name="T70" fmla="*/ 2147483647 w 334"/>
                  <a:gd name="T71" fmla="*/ 2147483647 h 192"/>
                  <a:gd name="T72" fmla="*/ 2147483647 w 334"/>
                  <a:gd name="T73" fmla="*/ 2147483647 h 192"/>
                  <a:gd name="T74" fmla="*/ 2147483647 w 334"/>
                  <a:gd name="T75" fmla="*/ 2147483647 h 192"/>
                  <a:gd name="T76" fmla="*/ 2147483647 w 334"/>
                  <a:gd name="T77" fmla="*/ 2147483647 h 192"/>
                  <a:gd name="T78" fmla="*/ 2147483647 w 334"/>
                  <a:gd name="T79" fmla="*/ 2147483647 h 192"/>
                  <a:gd name="T80" fmla="*/ 2147483647 w 334"/>
                  <a:gd name="T81" fmla="*/ 2147483647 h 192"/>
                  <a:gd name="T82" fmla="*/ 2147483647 w 334"/>
                  <a:gd name="T83" fmla="*/ 2147483647 h 192"/>
                  <a:gd name="T84" fmla="*/ 2147483647 w 334"/>
                  <a:gd name="T85" fmla="*/ 2147483647 h 192"/>
                  <a:gd name="T86" fmla="*/ 2147483647 w 334"/>
                  <a:gd name="T87" fmla="*/ 2147483647 h 192"/>
                  <a:gd name="T88" fmla="*/ 2147483647 w 334"/>
                  <a:gd name="T89" fmla="*/ 2147483647 h 192"/>
                  <a:gd name="T90" fmla="*/ 2147483647 w 334"/>
                  <a:gd name="T91" fmla="*/ 2147483647 h 192"/>
                  <a:gd name="T92" fmla="*/ 2147483647 w 334"/>
                  <a:gd name="T93" fmla="*/ 2147483647 h 192"/>
                  <a:gd name="T94" fmla="*/ 2147483647 w 334"/>
                  <a:gd name="T95" fmla="*/ 2147483647 h 192"/>
                  <a:gd name="T96" fmla="*/ 2147483647 w 334"/>
                  <a:gd name="T97" fmla="*/ 2147483647 h 192"/>
                  <a:gd name="T98" fmla="*/ 2147483647 w 334"/>
                  <a:gd name="T99" fmla="*/ 2147483647 h 192"/>
                  <a:gd name="T100" fmla="*/ 2147483647 w 334"/>
                  <a:gd name="T101" fmla="*/ 2147483647 h 192"/>
                  <a:gd name="T102" fmla="*/ 2147483647 w 334"/>
                  <a:gd name="T103" fmla="*/ 2147483647 h 192"/>
                  <a:gd name="T104" fmla="*/ 2147483647 w 334"/>
                  <a:gd name="T105" fmla="*/ 2147483647 h 192"/>
                  <a:gd name="T106" fmla="*/ 2147483647 w 334"/>
                  <a:gd name="T107" fmla="*/ 2147483647 h 192"/>
                  <a:gd name="T108" fmla="*/ 2147483647 w 334"/>
                  <a:gd name="T109" fmla="*/ 2147483647 h 192"/>
                  <a:gd name="T110" fmla="*/ 2147483647 w 334"/>
                  <a:gd name="T111" fmla="*/ 2147483647 h 192"/>
                  <a:gd name="T112" fmla="*/ 2147483647 w 334"/>
                  <a:gd name="T113" fmla="*/ 2147483647 h 192"/>
                  <a:gd name="T114" fmla="*/ 2147483647 w 334"/>
                  <a:gd name="T115" fmla="*/ 2147483647 h 19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34"/>
                  <a:gd name="T175" fmla="*/ 0 h 192"/>
                  <a:gd name="T176" fmla="*/ 334 w 334"/>
                  <a:gd name="T177" fmla="*/ 192 h 19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34" h="192">
                    <a:moveTo>
                      <a:pt x="260" y="70"/>
                    </a:moveTo>
                    <a:lnTo>
                      <a:pt x="256" y="68"/>
                    </a:lnTo>
                    <a:lnTo>
                      <a:pt x="252" y="68"/>
                    </a:lnTo>
                    <a:lnTo>
                      <a:pt x="248" y="64"/>
                    </a:lnTo>
                    <a:lnTo>
                      <a:pt x="244" y="64"/>
                    </a:lnTo>
                    <a:lnTo>
                      <a:pt x="240" y="64"/>
                    </a:lnTo>
                    <a:lnTo>
                      <a:pt x="240" y="61"/>
                    </a:lnTo>
                    <a:lnTo>
                      <a:pt x="236" y="57"/>
                    </a:lnTo>
                    <a:lnTo>
                      <a:pt x="232" y="57"/>
                    </a:lnTo>
                    <a:lnTo>
                      <a:pt x="228" y="57"/>
                    </a:lnTo>
                    <a:lnTo>
                      <a:pt x="224" y="57"/>
                    </a:lnTo>
                    <a:lnTo>
                      <a:pt x="220" y="57"/>
                    </a:lnTo>
                    <a:lnTo>
                      <a:pt x="218" y="53"/>
                    </a:lnTo>
                    <a:lnTo>
                      <a:pt x="216" y="50"/>
                    </a:lnTo>
                    <a:lnTo>
                      <a:pt x="212" y="50"/>
                    </a:lnTo>
                    <a:lnTo>
                      <a:pt x="208" y="48"/>
                    </a:lnTo>
                    <a:lnTo>
                      <a:pt x="204" y="48"/>
                    </a:lnTo>
                    <a:lnTo>
                      <a:pt x="200" y="44"/>
                    </a:lnTo>
                    <a:lnTo>
                      <a:pt x="196" y="40"/>
                    </a:lnTo>
                    <a:lnTo>
                      <a:pt x="194" y="37"/>
                    </a:lnTo>
                    <a:lnTo>
                      <a:pt x="192" y="33"/>
                    </a:lnTo>
                    <a:lnTo>
                      <a:pt x="192" y="29"/>
                    </a:lnTo>
                    <a:lnTo>
                      <a:pt x="190" y="26"/>
                    </a:lnTo>
                    <a:lnTo>
                      <a:pt x="186" y="24"/>
                    </a:lnTo>
                    <a:lnTo>
                      <a:pt x="182" y="24"/>
                    </a:lnTo>
                    <a:lnTo>
                      <a:pt x="178" y="26"/>
                    </a:lnTo>
                    <a:lnTo>
                      <a:pt x="174" y="26"/>
                    </a:lnTo>
                    <a:lnTo>
                      <a:pt x="170" y="28"/>
                    </a:lnTo>
                    <a:lnTo>
                      <a:pt x="167" y="28"/>
                    </a:lnTo>
                    <a:lnTo>
                      <a:pt x="163" y="31"/>
                    </a:lnTo>
                    <a:lnTo>
                      <a:pt x="159" y="33"/>
                    </a:lnTo>
                    <a:lnTo>
                      <a:pt x="155" y="33"/>
                    </a:lnTo>
                    <a:lnTo>
                      <a:pt x="151" y="35"/>
                    </a:lnTo>
                    <a:lnTo>
                      <a:pt x="145" y="37"/>
                    </a:lnTo>
                    <a:lnTo>
                      <a:pt x="141" y="37"/>
                    </a:lnTo>
                    <a:lnTo>
                      <a:pt x="137" y="39"/>
                    </a:lnTo>
                    <a:lnTo>
                      <a:pt x="133" y="39"/>
                    </a:lnTo>
                    <a:lnTo>
                      <a:pt x="129" y="35"/>
                    </a:lnTo>
                    <a:lnTo>
                      <a:pt x="127" y="31"/>
                    </a:lnTo>
                    <a:lnTo>
                      <a:pt x="125" y="26"/>
                    </a:lnTo>
                    <a:lnTo>
                      <a:pt x="121" y="24"/>
                    </a:lnTo>
                    <a:lnTo>
                      <a:pt x="115" y="24"/>
                    </a:lnTo>
                    <a:lnTo>
                      <a:pt x="111" y="24"/>
                    </a:lnTo>
                    <a:lnTo>
                      <a:pt x="107" y="24"/>
                    </a:lnTo>
                    <a:lnTo>
                      <a:pt x="103" y="22"/>
                    </a:lnTo>
                    <a:lnTo>
                      <a:pt x="99" y="20"/>
                    </a:lnTo>
                    <a:lnTo>
                      <a:pt x="97" y="17"/>
                    </a:lnTo>
                    <a:lnTo>
                      <a:pt x="93" y="15"/>
                    </a:lnTo>
                    <a:lnTo>
                      <a:pt x="89" y="13"/>
                    </a:lnTo>
                    <a:lnTo>
                      <a:pt x="85" y="11"/>
                    </a:lnTo>
                    <a:lnTo>
                      <a:pt x="81" y="11"/>
                    </a:lnTo>
                    <a:lnTo>
                      <a:pt x="77" y="9"/>
                    </a:lnTo>
                    <a:lnTo>
                      <a:pt x="73" y="9"/>
                    </a:lnTo>
                    <a:lnTo>
                      <a:pt x="69" y="9"/>
                    </a:lnTo>
                    <a:lnTo>
                      <a:pt x="65" y="7"/>
                    </a:lnTo>
                    <a:lnTo>
                      <a:pt x="61" y="6"/>
                    </a:lnTo>
                    <a:lnTo>
                      <a:pt x="57" y="4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46" y="0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6" y="4"/>
                    </a:lnTo>
                    <a:lnTo>
                      <a:pt x="36" y="7"/>
                    </a:lnTo>
                    <a:lnTo>
                      <a:pt x="36" y="11"/>
                    </a:lnTo>
                    <a:lnTo>
                      <a:pt x="32" y="13"/>
                    </a:lnTo>
                    <a:lnTo>
                      <a:pt x="30" y="17"/>
                    </a:lnTo>
                    <a:lnTo>
                      <a:pt x="30" y="20"/>
                    </a:lnTo>
                    <a:lnTo>
                      <a:pt x="32" y="24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2" y="31"/>
                    </a:lnTo>
                    <a:lnTo>
                      <a:pt x="22" y="35"/>
                    </a:lnTo>
                    <a:lnTo>
                      <a:pt x="20" y="39"/>
                    </a:lnTo>
                    <a:lnTo>
                      <a:pt x="16" y="39"/>
                    </a:lnTo>
                    <a:lnTo>
                      <a:pt x="12" y="40"/>
                    </a:lnTo>
                    <a:lnTo>
                      <a:pt x="10" y="44"/>
                    </a:lnTo>
                    <a:lnTo>
                      <a:pt x="8" y="48"/>
                    </a:lnTo>
                    <a:lnTo>
                      <a:pt x="4" y="51"/>
                    </a:lnTo>
                    <a:lnTo>
                      <a:pt x="0" y="55"/>
                    </a:lnTo>
                    <a:lnTo>
                      <a:pt x="0" y="59"/>
                    </a:lnTo>
                    <a:lnTo>
                      <a:pt x="2" y="62"/>
                    </a:lnTo>
                    <a:lnTo>
                      <a:pt x="4" y="66"/>
                    </a:lnTo>
                    <a:lnTo>
                      <a:pt x="6" y="70"/>
                    </a:lnTo>
                    <a:lnTo>
                      <a:pt x="10" y="72"/>
                    </a:lnTo>
                    <a:lnTo>
                      <a:pt x="14" y="73"/>
                    </a:lnTo>
                    <a:lnTo>
                      <a:pt x="14" y="77"/>
                    </a:lnTo>
                    <a:lnTo>
                      <a:pt x="16" y="83"/>
                    </a:lnTo>
                    <a:lnTo>
                      <a:pt x="16" y="88"/>
                    </a:lnTo>
                    <a:lnTo>
                      <a:pt x="20" y="94"/>
                    </a:lnTo>
                    <a:lnTo>
                      <a:pt x="20" y="97"/>
                    </a:lnTo>
                    <a:lnTo>
                      <a:pt x="26" y="101"/>
                    </a:lnTo>
                    <a:lnTo>
                      <a:pt x="28" y="105"/>
                    </a:lnTo>
                    <a:lnTo>
                      <a:pt x="32" y="107"/>
                    </a:lnTo>
                    <a:lnTo>
                      <a:pt x="36" y="107"/>
                    </a:lnTo>
                    <a:lnTo>
                      <a:pt x="40" y="108"/>
                    </a:lnTo>
                    <a:lnTo>
                      <a:pt x="44" y="110"/>
                    </a:lnTo>
                    <a:lnTo>
                      <a:pt x="48" y="110"/>
                    </a:lnTo>
                    <a:lnTo>
                      <a:pt x="52" y="110"/>
                    </a:lnTo>
                    <a:lnTo>
                      <a:pt x="56" y="110"/>
                    </a:lnTo>
                    <a:lnTo>
                      <a:pt x="59" y="112"/>
                    </a:lnTo>
                    <a:lnTo>
                      <a:pt x="63" y="112"/>
                    </a:lnTo>
                    <a:lnTo>
                      <a:pt x="67" y="114"/>
                    </a:lnTo>
                    <a:lnTo>
                      <a:pt x="71" y="114"/>
                    </a:lnTo>
                    <a:lnTo>
                      <a:pt x="75" y="118"/>
                    </a:lnTo>
                    <a:lnTo>
                      <a:pt x="79" y="119"/>
                    </a:lnTo>
                    <a:lnTo>
                      <a:pt x="83" y="121"/>
                    </a:lnTo>
                    <a:lnTo>
                      <a:pt x="87" y="123"/>
                    </a:lnTo>
                    <a:lnTo>
                      <a:pt x="91" y="127"/>
                    </a:lnTo>
                    <a:lnTo>
                      <a:pt x="95" y="129"/>
                    </a:lnTo>
                    <a:lnTo>
                      <a:pt x="93" y="132"/>
                    </a:lnTo>
                    <a:lnTo>
                      <a:pt x="93" y="136"/>
                    </a:lnTo>
                    <a:lnTo>
                      <a:pt x="93" y="140"/>
                    </a:lnTo>
                    <a:lnTo>
                      <a:pt x="93" y="143"/>
                    </a:lnTo>
                    <a:lnTo>
                      <a:pt x="97" y="145"/>
                    </a:lnTo>
                    <a:lnTo>
                      <a:pt x="101" y="149"/>
                    </a:lnTo>
                    <a:lnTo>
                      <a:pt x="105" y="149"/>
                    </a:lnTo>
                    <a:lnTo>
                      <a:pt x="109" y="151"/>
                    </a:lnTo>
                    <a:lnTo>
                      <a:pt x="113" y="151"/>
                    </a:lnTo>
                    <a:lnTo>
                      <a:pt x="109" y="149"/>
                    </a:lnTo>
                    <a:lnTo>
                      <a:pt x="109" y="145"/>
                    </a:lnTo>
                    <a:lnTo>
                      <a:pt x="113" y="145"/>
                    </a:lnTo>
                    <a:lnTo>
                      <a:pt x="117" y="145"/>
                    </a:lnTo>
                    <a:lnTo>
                      <a:pt x="121" y="145"/>
                    </a:lnTo>
                    <a:lnTo>
                      <a:pt x="125" y="143"/>
                    </a:lnTo>
                    <a:lnTo>
                      <a:pt x="127" y="140"/>
                    </a:lnTo>
                    <a:lnTo>
                      <a:pt x="131" y="138"/>
                    </a:lnTo>
                    <a:lnTo>
                      <a:pt x="133" y="134"/>
                    </a:lnTo>
                    <a:lnTo>
                      <a:pt x="137" y="132"/>
                    </a:lnTo>
                    <a:lnTo>
                      <a:pt x="137" y="136"/>
                    </a:lnTo>
                    <a:lnTo>
                      <a:pt x="137" y="140"/>
                    </a:lnTo>
                    <a:lnTo>
                      <a:pt x="137" y="143"/>
                    </a:lnTo>
                    <a:lnTo>
                      <a:pt x="137" y="147"/>
                    </a:lnTo>
                    <a:lnTo>
                      <a:pt x="137" y="151"/>
                    </a:lnTo>
                    <a:lnTo>
                      <a:pt x="139" y="154"/>
                    </a:lnTo>
                    <a:lnTo>
                      <a:pt x="141" y="158"/>
                    </a:lnTo>
                    <a:lnTo>
                      <a:pt x="145" y="158"/>
                    </a:lnTo>
                    <a:lnTo>
                      <a:pt x="149" y="160"/>
                    </a:lnTo>
                    <a:lnTo>
                      <a:pt x="153" y="160"/>
                    </a:lnTo>
                    <a:lnTo>
                      <a:pt x="157" y="162"/>
                    </a:lnTo>
                    <a:lnTo>
                      <a:pt x="161" y="164"/>
                    </a:lnTo>
                    <a:lnTo>
                      <a:pt x="165" y="165"/>
                    </a:lnTo>
                    <a:lnTo>
                      <a:pt x="168" y="169"/>
                    </a:lnTo>
                    <a:lnTo>
                      <a:pt x="172" y="169"/>
                    </a:lnTo>
                    <a:lnTo>
                      <a:pt x="176" y="169"/>
                    </a:lnTo>
                    <a:lnTo>
                      <a:pt x="176" y="173"/>
                    </a:lnTo>
                    <a:lnTo>
                      <a:pt x="176" y="176"/>
                    </a:lnTo>
                    <a:lnTo>
                      <a:pt x="180" y="175"/>
                    </a:lnTo>
                    <a:lnTo>
                      <a:pt x="184" y="175"/>
                    </a:lnTo>
                    <a:lnTo>
                      <a:pt x="188" y="173"/>
                    </a:lnTo>
                    <a:lnTo>
                      <a:pt x="192" y="173"/>
                    </a:lnTo>
                    <a:lnTo>
                      <a:pt x="196" y="173"/>
                    </a:lnTo>
                    <a:lnTo>
                      <a:pt x="200" y="171"/>
                    </a:lnTo>
                    <a:lnTo>
                      <a:pt x="204" y="171"/>
                    </a:lnTo>
                    <a:lnTo>
                      <a:pt x="208" y="171"/>
                    </a:lnTo>
                    <a:lnTo>
                      <a:pt x="212" y="173"/>
                    </a:lnTo>
                    <a:lnTo>
                      <a:pt x="214" y="176"/>
                    </a:lnTo>
                    <a:lnTo>
                      <a:pt x="214" y="180"/>
                    </a:lnTo>
                    <a:lnTo>
                      <a:pt x="214" y="184"/>
                    </a:lnTo>
                    <a:lnTo>
                      <a:pt x="216" y="187"/>
                    </a:lnTo>
                    <a:lnTo>
                      <a:pt x="220" y="189"/>
                    </a:lnTo>
                    <a:lnTo>
                      <a:pt x="224" y="191"/>
                    </a:lnTo>
                    <a:lnTo>
                      <a:pt x="224" y="187"/>
                    </a:lnTo>
                    <a:lnTo>
                      <a:pt x="228" y="186"/>
                    </a:lnTo>
                    <a:lnTo>
                      <a:pt x="232" y="184"/>
                    </a:lnTo>
                    <a:lnTo>
                      <a:pt x="236" y="184"/>
                    </a:lnTo>
                    <a:lnTo>
                      <a:pt x="238" y="180"/>
                    </a:lnTo>
                    <a:lnTo>
                      <a:pt x="242" y="178"/>
                    </a:lnTo>
                    <a:lnTo>
                      <a:pt x="246" y="176"/>
                    </a:lnTo>
                    <a:lnTo>
                      <a:pt x="250" y="176"/>
                    </a:lnTo>
                    <a:lnTo>
                      <a:pt x="254" y="175"/>
                    </a:lnTo>
                    <a:lnTo>
                      <a:pt x="254" y="171"/>
                    </a:lnTo>
                    <a:lnTo>
                      <a:pt x="250" y="169"/>
                    </a:lnTo>
                    <a:lnTo>
                      <a:pt x="250" y="165"/>
                    </a:lnTo>
                    <a:lnTo>
                      <a:pt x="250" y="162"/>
                    </a:lnTo>
                    <a:lnTo>
                      <a:pt x="250" y="158"/>
                    </a:lnTo>
                    <a:lnTo>
                      <a:pt x="252" y="154"/>
                    </a:lnTo>
                    <a:lnTo>
                      <a:pt x="256" y="152"/>
                    </a:lnTo>
                    <a:lnTo>
                      <a:pt x="260" y="152"/>
                    </a:lnTo>
                    <a:lnTo>
                      <a:pt x="260" y="149"/>
                    </a:lnTo>
                    <a:lnTo>
                      <a:pt x="258" y="145"/>
                    </a:lnTo>
                    <a:lnTo>
                      <a:pt x="258" y="141"/>
                    </a:lnTo>
                    <a:lnTo>
                      <a:pt x="260" y="138"/>
                    </a:lnTo>
                    <a:lnTo>
                      <a:pt x="262" y="134"/>
                    </a:lnTo>
                    <a:lnTo>
                      <a:pt x="262" y="130"/>
                    </a:lnTo>
                    <a:lnTo>
                      <a:pt x="262" y="127"/>
                    </a:lnTo>
                    <a:lnTo>
                      <a:pt x="266" y="125"/>
                    </a:lnTo>
                    <a:lnTo>
                      <a:pt x="270" y="125"/>
                    </a:lnTo>
                    <a:lnTo>
                      <a:pt x="274" y="125"/>
                    </a:lnTo>
                    <a:lnTo>
                      <a:pt x="278" y="125"/>
                    </a:lnTo>
                    <a:lnTo>
                      <a:pt x="281" y="125"/>
                    </a:lnTo>
                    <a:lnTo>
                      <a:pt x="283" y="121"/>
                    </a:lnTo>
                    <a:lnTo>
                      <a:pt x="283" y="118"/>
                    </a:lnTo>
                    <a:lnTo>
                      <a:pt x="281" y="114"/>
                    </a:lnTo>
                    <a:lnTo>
                      <a:pt x="283" y="110"/>
                    </a:lnTo>
                    <a:lnTo>
                      <a:pt x="287" y="108"/>
                    </a:lnTo>
                    <a:lnTo>
                      <a:pt x="291" y="108"/>
                    </a:lnTo>
                    <a:lnTo>
                      <a:pt x="295" y="107"/>
                    </a:lnTo>
                    <a:lnTo>
                      <a:pt x="299" y="107"/>
                    </a:lnTo>
                    <a:lnTo>
                      <a:pt x="303" y="105"/>
                    </a:lnTo>
                    <a:lnTo>
                      <a:pt x="307" y="105"/>
                    </a:lnTo>
                    <a:lnTo>
                      <a:pt x="311" y="105"/>
                    </a:lnTo>
                    <a:lnTo>
                      <a:pt x="315" y="105"/>
                    </a:lnTo>
                    <a:lnTo>
                      <a:pt x="319" y="105"/>
                    </a:lnTo>
                    <a:lnTo>
                      <a:pt x="323" y="105"/>
                    </a:lnTo>
                    <a:lnTo>
                      <a:pt x="327" y="105"/>
                    </a:lnTo>
                    <a:lnTo>
                      <a:pt x="331" y="105"/>
                    </a:lnTo>
                    <a:lnTo>
                      <a:pt x="333" y="101"/>
                    </a:lnTo>
                    <a:lnTo>
                      <a:pt x="333" y="97"/>
                    </a:lnTo>
                    <a:lnTo>
                      <a:pt x="329" y="97"/>
                    </a:lnTo>
                    <a:lnTo>
                      <a:pt x="327" y="94"/>
                    </a:lnTo>
                    <a:lnTo>
                      <a:pt x="321" y="94"/>
                    </a:lnTo>
                    <a:lnTo>
                      <a:pt x="319" y="90"/>
                    </a:lnTo>
                    <a:lnTo>
                      <a:pt x="315" y="90"/>
                    </a:lnTo>
                    <a:lnTo>
                      <a:pt x="311" y="88"/>
                    </a:lnTo>
                    <a:lnTo>
                      <a:pt x="307" y="86"/>
                    </a:lnTo>
                    <a:lnTo>
                      <a:pt x="307" y="83"/>
                    </a:lnTo>
                    <a:lnTo>
                      <a:pt x="307" y="79"/>
                    </a:lnTo>
                    <a:lnTo>
                      <a:pt x="307" y="75"/>
                    </a:lnTo>
                    <a:lnTo>
                      <a:pt x="303" y="75"/>
                    </a:lnTo>
                    <a:lnTo>
                      <a:pt x="299" y="73"/>
                    </a:lnTo>
                    <a:lnTo>
                      <a:pt x="295" y="72"/>
                    </a:lnTo>
                    <a:lnTo>
                      <a:pt x="291" y="72"/>
                    </a:lnTo>
                    <a:lnTo>
                      <a:pt x="287" y="73"/>
                    </a:lnTo>
                    <a:lnTo>
                      <a:pt x="283" y="73"/>
                    </a:lnTo>
                    <a:lnTo>
                      <a:pt x="279" y="73"/>
                    </a:lnTo>
                    <a:lnTo>
                      <a:pt x="276" y="73"/>
                    </a:lnTo>
                    <a:lnTo>
                      <a:pt x="272" y="73"/>
                    </a:lnTo>
                    <a:lnTo>
                      <a:pt x="268" y="73"/>
                    </a:lnTo>
                    <a:lnTo>
                      <a:pt x="264" y="73"/>
                    </a:lnTo>
                    <a:lnTo>
                      <a:pt x="260" y="72"/>
                    </a:lnTo>
                    <a:lnTo>
                      <a:pt x="256" y="70"/>
                    </a:lnTo>
                    <a:lnTo>
                      <a:pt x="260" y="7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5" name="Freeform 85"/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1912572" y="3151828"/>
                <a:ext cx="224484" cy="193246"/>
              </a:xfrm>
              <a:custGeom>
                <a:avLst/>
                <a:gdLst>
                  <a:gd name="T0" fmla="*/ 2147483647 w 183"/>
                  <a:gd name="T1" fmla="*/ 2147483647 h 163"/>
                  <a:gd name="T2" fmla="*/ 2147483647 w 183"/>
                  <a:gd name="T3" fmla="*/ 2147483647 h 163"/>
                  <a:gd name="T4" fmla="*/ 2147483647 w 183"/>
                  <a:gd name="T5" fmla="*/ 2147483647 h 163"/>
                  <a:gd name="T6" fmla="*/ 2147483647 w 183"/>
                  <a:gd name="T7" fmla="*/ 2147483647 h 163"/>
                  <a:gd name="T8" fmla="*/ 2147483647 w 183"/>
                  <a:gd name="T9" fmla="*/ 2147483647 h 163"/>
                  <a:gd name="T10" fmla="*/ 2147483647 w 183"/>
                  <a:gd name="T11" fmla="*/ 2147483647 h 163"/>
                  <a:gd name="T12" fmla="*/ 2147483647 w 183"/>
                  <a:gd name="T13" fmla="*/ 2147483647 h 163"/>
                  <a:gd name="T14" fmla="*/ 2147483647 w 183"/>
                  <a:gd name="T15" fmla="*/ 2147483647 h 163"/>
                  <a:gd name="T16" fmla="*/ 2147483647 w 183"/>
                  <a:gd name="T17" fmla="*/ 2147483647 h 163"/>
                  <a:gd name="T18" fmla="*/ 2147483647 w 183"/>
                  <a:gd name="T19" fmla="*/ 2147483647 h 163"/>
                  <a:gd name="T20" fmla="*/ 2147483647 w 183"/>
                  <a:gd name="T21" fmla="*/ 2147483647 h 163"/>
                  <a:gd name="T22" fmla="*/ 2147483647 w 183"/>
                  <a:gd name="T23" fmla="*/ 2147483647 h 163"/>
                  <a:gd name="T24" fmla="*/ 2147483647 w 183"/>
                  <a:gd name="T25" fmla="*/ 2147483647 h 163"/>
                  <a:gd name="T26" fmla="*/ 2147483647 w 183"/>
                  <a:gd name="T27" fmla="*/ 2147483647 h 163"/>
                  <a:gd name="T28" fmla="*/ 2147483647 w 183"/>
                  <a:gd name="T29" fmla="*/ 2147483647 h 163"/>
                  <a:gd name="T30" fmla="*/ 2147483647 w 183"/>
                  <a:gd name="T31" fmla="*/ 2147483647 h 163"/>
                  <a:gd name="T32" fmla="*/ 2147483647 w 183"/>
                  <a:gd name="T33" fmla="*/ 2147483647 h 163"/>
                  <a:gd name="T34" fmla="*/ 2147483647 w 183"/>
                  <a:gd name="T35" fmla="*/ 2147483647 h 163"/>
                  <a:gd name="T36" fmla="*/ 2147483647 w 183"/>
                  <a:gd name="T37" fmla="*/ 2147483647 h 163"/>
                  <a:gd name="T38" fmla="*/ 2147483647 w 183"/>
                  <a:gd name="T39" fmla="*/ 2147483647 h 163"/>
                  <a:gd name="T40" fmla="*/ 2147483647 w 183"/>
                  <a:gd name="T41" fmla="*/ 2147483647 h 163"/>
                  <a:gd name="T42" fmla="*/ 2147483647 w 183"/>
                  <a:gd name="T43" fmla="*/ 2147483647 h 163"/>
                  <a:gd name="T44" fmla="*/ 2147483647 w 183"/>
                  <a:gd name="T45" fmla="*/ 2147483647 h 163"/>
                  <a:gd name="T46" fmla="*/ 2147483647 w 183"/>
                  <a:gd name="T47" fmla="*/ 2147483647 h 163"/>
                  <a:gd name="T48" fmla="*/ 2147483647 w 183"/>
                  <a:gd name="T49" fmla="*/ 2147483647 h 163"/>
                  <a:gd name="T50" fmla="*/ 2147483647 w 183"/>
                  <a:gd name="T51" fmla="*/ 2147483647 h 163"/>
                  <a:gd name="T52" fmla="*/ 2147483647 w 183"/>
                  <a:gd name="T53" fmla="*/ 2147483647 h 163"/>
                  <a:gd name="T54" fmla="*/ 2147483647 w 183"/>
                  <a:gd name="T55" fmla="*/ 2147483647 h 163"/>
                  <a:gd name="T56" fmla="*/ 2147483647 w 183"/>
                  <a:gd name="T57" fmla="*/ 2147483647 h 163"/>
                  <a:gd name="T58" fmla="*/ 2147483647 w 183"/>
                  <a:gd name="T59" fmla="*/ 2147483647 h 163"/>
                  <a:gd name="T60" fmla="*/ 2147483647 w 183"/>
                  <a:gd name="T61" fmla="*/ 2147483647 h 163"/>
                  <a:gd name="T62" fmla="*/ 2147483647 w 183"/>
                  <a:gd name="T63" fmla="*/ 2147483647 h 163"/>
                  <a:gd name="T64" fmla="*/ 2147483647 w 183"/>
                  <a:gd name="T65" fmla="*/ 2147483647 h 163"/>
                  <a:gd name="T66" fmla="*/ 2147483647 w 183"/>
                  <a:gd name="T67" fmla="*/ 2147483647 h 163"/>
                  <a:gd name="T68" fmla="*/ 2147483647 w 183"/>
                  <a:gd name="T69" fmla="*/ 2147483647 h 163"/>
                  <a:gd name="T70" fmla="*/ 2147483647 w 183"/>
                  <a:gd name="T71" fmla="*/ 2147483647 h 163"/>
                  <a:gd name="T72" fmla="*/ 2147483647 w 183"/>
                  <a:gd name="T73" fmla="*/ 2147483647 h 163"/>
                  <a:gd name="T74" fmla="*/ 2147483647 w 183"/>
                  <a:gd name="T75" fmla="*/ 2147483647 h 163"/>
                  <a:gd name="T76" fmla="*/ 2147483647 w 183"/>
                  <a:gd name="T77" fmla="*/ 2147483647 h 163"/>
                  <a:gd name="T78" fmla="*/ 2147483647 w 183"/>
                  <a:gd name="T79" fmla="*/ 2147483647 h 163"/>
                  <a:gd name="T80" fmla="*/ 2147483647 w 183"/>
                  <a:gd name="T81" fmla="*/ 2147483647 h 163"/>
                  <a:gd name="T82" fmla="*/ 2147483647 w 183"/>
                  <a:gd name="T83" fmla="*/ 2147483647 h 163"/>
                  <a:gd name="T84" fmla="*/ 2147483647 w 183"/>
                  <a:gd name="T85" fmla="*/ 2147483647 h 163"/>
                  <a:gd name="T86" fmla="*/ 2147483647 w 183"/>
                  <a:gd name="T87" fmla="*/ 2147483647 h 163"/>
                  <a:gd name="T88" fmla="*/ 2147483647 w 183"/>
                  <a:gd name="T89" fmla="*/ 2147483647 h 16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83"/>
                  <a:gd name="T136" fmla="*/ 0 h 163"/>
                  <a:gd name="T137" fmla="*/ 183 w 183"/>
                  <a:gd name="T138" fmla="*/ 163 h 16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83" h="163">
                    <a:moveTo>
                      <a:pt x="114" y="0"/>
                    </a:moveTo>
                    <a:lnTo>
                      <a:pt x="110" y="3"/>
                    </a:lnTo>
                    <a:lnTo>
                      <a:pt x="105" y="3"/>
                    </a:lnTo>
                    <a:lnTo>
                      <a:pt x="101" y="4"/>
                    </a:lnTo>
                    <a:lnTo>
                      <a:pt x="97" y="8"/>
                    </a:lnTo>
                    <a:lnTo>
                      <a:pt x="93" y="8"/>
                    </a:lnTo>
                    <a:lnTo>
                      <a:pt x="88" y="10"/>
                    </a:lnTo>
                    <a:lnTo>
                      <a:pt x="84" y="12"/>
                    </a:lnTo>
                    <a:lnTo>
                      <a:pt x="79" y="13"/>
                    </a:lnTo>
                    <a:lnTo>
                      <a:pt x="77" y="15"/>
                    </a:lnTo>
                    <a:lnTo>
                      <a:pt x="72" y="16"/>
                    </a:lnTo>
                    <a:lnTo>
                      <a:pt x="68" y="17"/>
                    </a:lnTo>
                    <a:lnTo>
                      <a:pt x="63" y="17"/>
                    </a:lnTo>
                    <a:lnTo>
                      <a:pt x="59" y="20"/>
                    </a:lnTo>
                    <a:lnTo>
                      <a:pt x="54" y="23"/>
                    </a:lnTo>
                    <a:lnTo>
                      <a:pt x="51" y="26"/>
                    </a:lnTo>
                    <a:lnTo>
                      <a:pt x="51" y="29"/>
                    </a:lnTo>
                    <a:lnTo>
                      <a:pt x="52" y="34"/>
                    </a:lnTo>
                    <a:lnTo>
                      <a:pt x="54" y="38"/>
                    </a:lnTo>
                    <a:lnTo>
                      <a:pt x="50" y="39"/>
                    </a:lnTo>
                    <a:lnTo>
                      <a:pt x="46" y="43"/>
                    </a:lnTo>
                    <a:lnTo>
                      <a:pt x="41" y="43"/>
                    </a:lnTo>
                    <a:lnTo>
                      <a:pt x="37" y="44"/>
                    </a:lnTo>
                    <a:lnTo>
                      <a:pt x="32" y="47"/>
                    </a:lnTo>
                    <a:lnTo>
                      <a:pt x="31" y="51"/>
                    </a:lnTo>
                    <a:lnTo>
                      <a:pt x="29" y="55"/>
                    </a:lnTo>
                    <a:lnTo>
                      <a:pt x="30" y="59"/>
                    </a:lnTo>
                    <a:lnTo>
                      <a:pt x="31" y="64"/>
                    </a:lnTo>
                    <a:lnTo>
                      <a:pt x="31" y="67"/>
                    </a:lnTo>
                    <a:lnTo>
                      <a:pt x="29" y="72"/>
                    </a:lnTo>
                    <a:lnTo>
                      <a:pt x="25" y="75"/>
                    </a:lnTo>
                    <a:lnTo>
                      <a:pt x="21" y="78"/>
                    </a:lnTo>
                    <a:lnTo>
                      <a:pt x="22" y="83"/>
                    </a:lnTo>
                    <a:lnTo>
                      <a:pt x="23" y="87"/>
                    </a:lnTo>
                    <a:lnTo>
                      <a:pt x="23" y="91"/>
                    </a:lnTo>
                    <a:lnTo>
                      <a:pt x="24" y="95"/>
                    </a:lnTo>
                    <a:lnTo>
                      <a:pt x="24" y="100"/>
                    </a:lnTo>
                    <a:lnTo>
                      <a:pt x="23" y="103"/>
                    </a:lnTo>
                    <a:lnTo>
                      <a:pt x="29" y="105"/>
                    </a:lnTo>
                    <a:lnTo>
                      <a:pt x="33" y="107"/>
                    </a:lnTo>
                    <a:lnTo>
                      <a:pt x="30" y="109"/>
                    </a:lnTo>
                    <a:lnTo>
                      <a:pt x="26" y="110"/>
                    </a:lnTo>
                    <a:lnTo>
                      <a:pt x="22" y="111"/>
                    </a:lnTo>
                    <a:lnTo>
                      <a:pt x="17" y="111"/>
                    </a:lnTo>
                    <a:lnTo>
                      <a:pt x="13" y="114"/>
                    </a:lnTo>
                    <a:lnTo>
                      <a:pt x="8" y="114"/>
                    </a:lnTo>
                    <a:lnTo>
                      <a:pt x="4" y="115"/>
                    </a:lnTo>
                    <a:lnTo>
                      <a:pt x="3" y="118"/>
                    </a:lnTo>
                    <a:lnTo>
                      <a:pt x="0" y="124"/>
                    </a:lnTo>
                    <a:lnTo>
                      <a:pt x="1" y="127"/>
                    </a:lnTo>
                    <a:lnTo>
                      <a:pt x="1" y="131"/>
                    </a:lnTo>
                    <a:lnTo>
                      <a:pt x="0" y="136"/>
                    </a:lnTo>
                    <a:lnTo>
                      <a:pt x="3" y="140"/>
                    </a:lnTo>
                    <a:lnTo>
                      <a:pt x="6" y="143"/>
                    </a:lnTo>
                    <a:lnTo>
                      <a:pt x="4" y="148"/>
                    </a:lnTo>
                    <a:lnTo>
                      <a:pt x="7" y="151"/>
                    </a:lnTo>
                    <a:lnTo>
                      <a:pt x="11" y="152"/>
                    </a:lnTo>
                    <a:lnTo>
                      <a:pt x="12" y="157"/>
                    </a:lnTo>
                    <a:lnTo>
                      <a:pt x="14" y="161"/>
                    </a:lnTo>
                    <a:lnTo>
                      <a:pt x="20" y="161"/>
                    </a:lnTo>
                    <a:lnTo>
                      <a:pt x="23" y="161"/>
                    </a:lnTo>
                    <a:lnTo>
                      <a:pt x="29" y="163"/>
                    </a:lnTo>
                    <a:lnTo>
                      <a:pt x="32" y="160"/>
                    </a:lnTo>
                    <a:lnTo>
                      <a:pt x="36" y="158"/>
                    </a:lnTo>
                    <a:lnTo>
                      <a:pt x="40" y="156"/>
                    </a:lnTo>
                    <a:lnTo>
                      <a:pt x="45" y="153"/>
                    </a:lnTo>
                    <a:lnTo>
                      <a:pt x="51" y="154"/>
                    </a:lnTo>
                    <a:lnTo>
                      <a:pt x="53" y="147"/>
                    </a:lnTo>
                    <a:lnTo>
                      <a:pt x="57" y="153"/>
                    </a:lnTo>
                    <a:lnTo>
                      <a:pt x="66" y="153"/>
                    </a:lnTo>
                    <a:lnTo>
                      <a:pt x="74" y="150"/>
                    </a:lnTo>
                    <a:lnTo>
                      <a:pt x="71" y="151"/>
                    </a:lnTo>
                    <a:lnTo>
                      <a:pt x="76" y="147"/>
                    </a:lnTo>
                    <a:lnTo>
                      <a:pt x="80" y="148"/>
                    </a:lnTo>
                    <a:lnTo>
                      <a:pt x="86" y="149"/>
                    </a:lnTo>
                    <a:lnTo>
                      <a:pt x="88" y="152"/>
                    </a:lnTo>
                    <a:lnTo>
                      <a:pt x="92" y="155"/>
                    </a:lnTo>
                    <a:lnTo>
                      <a:pt x="98" y="156"/>
                    </a:lnTo>
                    <a:lnTo>
                      <a:pt x="100" y="153"/>
                    </a:lnTo>
                    <a:lnTo>
                      <a:pt x="105" y="150"/>
                    </a:lnTo>
                    <a:lnTo>
                      <a:pt x="106" y="147"/>
                    </a:lnTo>
                    <a:lnTo>
                      <a:pt x="106" y="143"/>
                    </a:lnTo>
                    <a:lnTo>
                      <a:pt x="110" y="139"/>
                    </a:lnTo>
                    <a:lnTo>
                      <a:pt x="114" y="138"/>
                    </a:lnTo>
                    <a:lnTo>
                      <a:pt x="110" y="137"/>
                    </a:lnTo>
                    <a:lnTo>
                      <a:pt x="115" y="141"/>
                    </a:lnTo>
                    <a:lnTo>
                      <a:pt x="120" y="141"/>
                    </a:lnTo>
                    <a:lnTo>
                      <a:pt x="124" y="140"/>
                    </a:lnTo>
                    <a:lnTo>
                      <a:pt x="128" y="137"/>
                    </a:lnTo>
                    <a:lnTo>
                      <a:pt x="128" y="134"/>
                    </a:lnTo>
                    <a:lnTo>
                      <a:pt x="127" y="129"/>
                    </a:lnTo>
                    <a:lnTo>
                      <a:pt x="131" y="126"/>
                    </a:lnTo>
                    <a:lnTo>
                      <a:pt x="136" y="123"/>
                    </a:lnTo>
                    <a:lnTo>
                      <a:pt x="137" y="120"/>
                    </a:lnTo>
                    <a:lnTo>
                      <a:pt x="142" y="120"/>
                    </a:lnTo>
                    <a:lnTo>
                      <a:pt x="146" y="119"/>
                    </a:lnTo>
                    <a:lnTo>
                      <a:pt x="151" y="118"/>
                    </a:lnTo>
                    <a:lnTo>
                      <a:pt x="155" y="115"/>
                    </a:lnTo>
                    <a:lnTo>
                      <a:pt x="154" y="111"/>
                    </a:lnTo>
                    <a:lnTo>
                      <a:pt x="158" y="110"/>
                    </a:lnTo>
                    <a:lnTo>
                      <a:pt x="162" y="110"/>
                    </a:lnTo>
                    <a:lnTo>
                      <a:pt x="167" y="111"/>
                    </a:lnTo>
                    <a:lnTo>
                      <a:pt x="171" y="111"/>
                    </a:lnTo>
                    <a:lnTo>
                      <a:pt x="176" y="108"/>
                    </a:lnTo>
                    <a:lnTo>
                      <a:pt x="180" y="105"/>
                    </a:lnTo>
                    <a:lnTo>
                      <a:pt x="182" y="101"/>
                    </a:lnTo>
                    <a:lnTo>
                      <a:pt x="183" y="97"/>
                    </a:lnTo>
                    <a:lnTo>
                      <a:pt x="181" y="92"/>
                    </a:lnTo>
                    <a:lnTo>
                      <a:pt x="177" y="90"/>
                    </a:lnTo>
                    <a:lnTo>
                      <a:pt x="173" y="85"/>
                    </a:lnTo>
                    <a:lnTo>
                      <a:pt x="168" y="84"/>
                    </a:lnTo>
                    <a:lnTo>
                      <a:pt x="163" y="81"/>
                    </a:lnTo>
                    <a:lnTo>
                      <a:pt x="160" y="77"/>
                    </a:lnTo>
                    <a:lnTo>
                      <a:pt x="155" y="73"/>
                    </a:lnTo>
                    <a:lnTo>
                      <a:pt x="154" y="69"/>
                    </a:lnTo>
                    <a:lnTo>
                      <a:pt x="154" y="65"/>
                    </a:lnTo>
                    <a:lnTo>
                      <a:pt x="158" y="63"/>
                    </a:lnTo>
                    <a:lnTo>
                      <a:pt x="160" y="59"/>
                    </a:lnTo>
                    <a:lnTo>
                      <a:pt x="160" y="55"/>
                    </a:lnTo>
                    <a:lnTo>
                      <a:pt x="156" y="50"/>
                    </a:lnTo>
                    <a:lnTo>
                      <a:pt x="154" y="47"/>
                    </a:lnTo>
                    <a:lnTo>
                      <a:pt x="151" y="43"/>
                    </a:lnTo>
                    <a:lnTo>
                      <a:pt x="148" y="39"/>
                    </a:lnTo>
                    <a:lnTo>
                      <a:pt x="145" y="35"/>
                    </a:lnTo>
                    <a:lnTo>
                      <a:pt x="142" y="34"/>
                    </a:lnTo>
                    <a:lnTo>
                      <a:pt x="136" y="33"/>
                    </a:lnTo>
                    <a:lnTo>
                      <a:pt x="132" y="33"/>
                    </a:lnTo>
                    <a:lnTo>
                      <a:pt x="127" y="34"/>
                    </a:lnTo>
                    <a:lnTo>
                      <a:pt x="131" y="31"/>
                    </a:lnTo>
                    <a:lnTo>
                      <a:pt x="125" y="25"/>
                    </a:lnTo>
                    <a:lnTo>
                      <a:pt x="120" y="21"/>
                    </a:lnTo>
                    <a:lnTo>
                      <a:pt x="117" y="19"/>
                    </a:lnTo>
                    <a:lnTo>
                      <a:pt x="113" y="21"/>
                    </a:lnTo>
                    <a:lnTo>
                      <a:pt x="112" y="18"/>
                    </a:lnTo>
                    <a:lnTo>
                      <a:pt x="114" y="12"/>
                    </a:lnTo>
                    <a:lnTo>
                      <a:pt x="113" y="8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6" name="Freeform 86"/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 rot="21140016">
                <a:off x="1524216" y="3296181"/>
                <a:ext cx="226728" cy="135040"/>
              </a:xfrm>
              <a:custGeom>
                <a:avLst/>
                <a:gdLst>
                  <a:gd name="T0" fmla="*/ 2147483647 w 161"/>
                  <a:gd name="T1" fmla="*/ 2147483647 h 101"/>
                  <a:gd name="T2" fmla="*/ 2147483647 w 161"/>
                  <a:gd name="T3" fmla="*/ 2147483647 h 101"/>
                  <a:gd name="T4" fmla="*/ 2147483647 w 161"/>
                  <a:gd name="T5" fmla="*/ 2147483647 h 101"/>
                  <a:gd name="T6" fmla="*/ 2147483647 w 161"/>
                  <a:gd name="T7" fmla="*/ 2147483647 h 101"/>
                  <a:gd name="T8" fmla="*/ 2147483647 w 161"/>
                  <a:gd name="T9" fmla="*/ 2147483647 h 101"/>
                  <a:gd name="T10" fmla="*/ 2147483647 w 161"/>
                  <a:gd name="T11" fmla="*/ 2147483647 h 101"/>
                  <a:gd name="T12" fmla="*/ 2147483647 w 161"/>
                  <a:gd name="T13" fmla="*/ 2147483647 h 101"/>
                  <a:gd name="T14" fmla="*/ 2147483647 w 161"/>
                  <a:gd name="T15" fmla="*/ 2147483647 h 101"/>
                  <a:gd name="T16" fmla="*/ 2147483647 w 161"/>
                  <a:gd name="T17" fmla="*/ 2147483647 h 101"/>
                  <a:gd name="T18" fmla="*/ 2147483647 w 161"/>
                  <a:gd name="T19" fmla="*/ 0 h 101"/>
                  <a:gd name="T20" fmla="*/ 2147483647 w 161"/>
                  <a:gd name="T21" fmla="*/ 2147483647 h 101"/>
                  <a:gd name="T22" fmla="*/ 2147483647 w 161"/>
                  <a:gd name="T23" fmla="*/ 2147483647 h 101"/>
                  <a:gd name="T24" fmla="*/ 2147483647 w 161"/>
                  <a:gd name="T25" fmla="*/ 2147483647 h 101"/>
                  <a:gd name="T26" fmla="*/ 2147483647 w 161"/>
                  <a:gd name="T27" fmla="*/ 2147483647 h 101"/>
                  <a:gd name="T28" fmla="*/ 2147483647 w 161"/>
                  <a:gd name="T29" fmla="*/ 2147483647 h 101"/>
                  <a:gd name="T30" fmla="*/ 2147483647 w 161"/>
                  <a:gd name="T31" fmla="*/ 2147483647 h 101"/>
                  <a:gd name="T32" fmla="*/ 2147483647 w 161"/>
                  <a:gd name="T33" fmla="*/ 2147483647 h 101"/>
                  <a:gd name="T34" fmla="*/ 2147483647 w 161"/>
                  <a:gd name="T35" fmla="*/ 2147483647 h 101"/>
                  <a:gd name="T36" fmla="*/ 2147483647 w 161"/>
                  <a:gd name="T37" fmla="*/ 2147483647 h 101"/>
                  <a:gd name="T38" fmla="*/ 0 w 161"/>
                  <a:gd name="T39" fmla="*/ 2147483647 h 101"/>
                  <a:gd name="T40" fmla="*/ 2147483647 w 161"/>
                  <a:gd name="T41" fmla="*/ 2147483647 h 101"/>
                  <a:gd name="T42" fmla="*/ 2147483647 w 161"/>
                  <a:gd name="T43" fmla="*/ 2147483647 h 101"/>
                  <a:gd name="T44" fmla="*/ 2147483647 w 161"/>
                  <a:gd name="T45" fmla="*/ 2147483647 h 101"/>
                  <a:gd name="T46" fmla="*/ 2147483647 w 161"/>
                  <a:gd name="T47" fmla="*/ 2147483647 h 101"/>
                  <a:gd name="T48" fmla="*/ 2147483647 w 161"/>
                  <a:gd name="T49" fmla="*/ 2147483647 h 101"/>
                  <a:gd name="T50" fmla="*/ 2147483647 w 161"/>
                  <a:gd name="T51" fmla="*/ 2147483647 h 101"/>
                  <a:gd name="T52" fmla="*/ 2147483647 w 161"/>
                  <a:gd name="T53" fmla="*/ 2147483647 h 101"/>
                  <a:gd name="T54" fmla="*/ 2147483647 w 161"/>
                  <a:gd name="T55" fmla="*/ 2147483647 h 101"/>
                  <a:gd name="T56" fmla="*/ 2147483647 w 161"/>
                  <a:gd name="T57" fmla="*/ 2147483647 h 101"/>
                  <a:gd name="T58" fmla="*/ 2147483647 w 161"/>
                  <a:gd name="T59" fmla="*/ 2147483647 h 101"/>
                  <a:gd name="T60" fmla="*/ 2147483647 w 161"/>
                  <a:gd name="T61" fmla="*/ 2147483647 h 101"/>
                  <a:gd name="T62" fmla="*/ 2147483647 w 161"/>
                  <a:gd name="T63" fmla="*/ 2147483647 h 101"/>
                  <a:gd name="T64" fmla="*/ 2147483647 w 161"/>
                  <a:gd name="T65" fmla="*/ 2147483647 h 101"/>
                  <a:gd name="T66" fmla="*/ 2147483647 w 161"/>
                  <a:gd name="T67" fmla="*/ 2147483647 h 101"/>
                  <a:gd name="T68" fmla="*/ 2147483647 w 161"/>
                  <a:gd name="T69" fmla="*/ 2147483647 h 101"/>
                  <a:gd name="T70" fmla="*/ 2147483647 w 161"/>
                  <a:gd name="T71" fmla="*/ 2147483647 h 101"/>
                  <a:gd name="T72" fmla="*/ 2147483647 w 161"/>
                  <a:gd name="T73" fmla="*/ 2147483647 h 101"/>
                  <a:gd name="T74" fmla="*/ 2147483647 w 161"/>
                  <a:gd name="T75" fmla="*/ 2147483647 h 101"/>
                  <a:gd name="T76" fmla="*/ 2147483647 w 161"/>
                  <a:gd name="T77" fmla="*/ 2147483647 h 101"/>
                  <a:gd name="T78" fmla="*/ 2147483647 w 161"/>
                  <a:gd name="T79" fmla="*/ 2147483647 h 101"/>
                  <a:gd name="T80" fmla="*/ 2147483647 w 161"/>
                  <a:gd name="T81" fmla="*/ 2147483647 h 101"/>
                  <a:gd name="T82" fmla="*/ 2147483647 w 161"/>
                  <a:gd name="T83" fmla="*/ 2147483647 h 101"/>
                  <a:gd name="T84" fmla="*/ 2147483647 w 161"/>
                  <a:gd name="T85" fmla="*/ 2147483647 h 10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61"/>
                  <a:gd name="T130" fmla="*/ 0 h 101"/>
                  <a:gd name="T131" fmla="*/ 161 w 161"/>
                  <a:gd name="T132" fmla="*/ 101 h 101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61" h="101">
                    <a:moveTo>
                      <a:pt x="128" y="24"/>
                    </a:moveTo>
                    <a:lnTo>
                      <a:pt x="124" y="24"/>
                    </a:lnTo>
                    <a:lnTo>
                      <a:pt x="121" y="22"/>
                    </a:lnTo>
                    <a:lnTo>
                      <a:pt x="117" y="22"/>
                    </a:lnTo>
                    <a:lnTo>
                      <a:pt x="113" y="22"/>
                    </a:lnTo>
                    <a:lnTo>
                      <a:pt x="109" y="22"/>
                    </a:lnTo>
                    <a:lnTo>
                      <a:pt x="105" y="22"/>
                    </a:lnTo>
                    <a:lnTo>
                      <a:pt x="101" y="22"/>
                    </a:lnTo>
                    <a:lnTo>
                      <a:pt x="97" y="20"/>
                    </a:lnTo>
                    <a:lnTo>
                      <a:pt x="93" y="20"/>
                    </a:lnTo>
                    <a:lnTo>
                      <a:pt x="89" y="20"/>
                    </a:lnTo>
                    <a:lnTo>
                      <a:pt x="85" y="20"/>
                    </a:lnTo>
                    <a:lnTo>
                      <a:pt x="81" y="20"/>
                    </a:lnTo>
                    <a:lnTo>
                      <a:pt x="77" y="20"/>
                    </a:lnTo>
                    <a:lnTo>
                      <a:pt x="73" y="18"/>
                    </a:lnTo>
                    <a:lnTo>
                      <a:pt x="69" y="18"/>
                    </a:lnTo>
                    <a:lnTo>
                      <a:pt x="65" y="16"/>
                    </a:lnTo>
                    <a:lnTo>
                      <a:pt x="61" y="15"/>
                    </a:lnTo>
                    <a:lnTo>
                      <a:pt x="57" y="15"/>
                    </a:lnTo>
                    <a:lnTo>
                      <a:pt x="53" y="15"/>
                    </a:lnTo>
                    <a:lnTo>
                      <a:pt x="51" y="11"/>
                    </a:lnTo>
                    <a:lnTo>
                      <a:pt x="49" y="7"/>
                    </a:lnTo>
                    <a:lnTo>
                      <a:pt x="47" y="4"/>
                    </a:lnTo>
                    <a:lnTo>
                      <a:pt x="43" y="4"/>
                    </a:lnTo>
                    <a:lnTo>
                      <a:pt x="40" y="4"/>
                    </a:lnTo>
                    <a:lnTo>
                      <a:pt x="36" y="2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20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2" y="11"/>
                    </a:lnTo>
                    <a:lnTo>
                      <a:pt x="2" y="15"/>
                    </a:lnTo>
                    <a:lnTo>
                      <a:pt x="4" y="18"/>
                    </a:lnTo>
                    <a:lnTo>
                      <a:pt x="6" y="22"/>
                    </a:lnTo>
                    <a:lnTo>
                      <a:pt x="8" y="25"/>
                    </a:lnTo>
                    <a:lnTo>
                      <a:pt x="10" y="29"/>
                    </a:lnTo>
                    <a:lnTo>
                      <a:pt x="14" y="31"/>
                    </a:lnTo>
                    <a:lnTo>
                      <a:pt x="18" y="33"/>
                    </a:lnTo>
                    <a:lnTo>
                      <a:pt x="20" y="36"/>
                    </a:lnTo>
                    <a:lnTo>
                      <a:pt x="20" y="40"/>
                    </a:lnTo>
                    <a:lnTo>
                      <a:pt x="18" y="44"/>
                    </a:lnTo>
                    <a:lnTo>
                      <a:pt x="16" y="47"/>
                    </a:lnTo>
                    <a:lnTo>
                      <a:pt x="12" y="47"/>
                    </a:lnTo>
                    <a:lnTo>
                      <a:pt x="8" y="51"/>
                    </a:lnTo>
                    <a:lnTo>
                      <a:pt x="4" y="55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6" y="67"/>
                    </a:lnTo>
                    <a:lnTo>
                      <a:pt x="8" y="71"/>
                    </a:lnTo>
                    <a:lnTo>
                      <a:pt x="8" y="75"/>
                    </a:lnTo>
                    <a:lnTo>
                      <a:pt x="6" y="78"/>
                    </a:lnTo>
                    <a:lnTo>
                      <a:pt x="4" y="82"/>
                    </a:lnTo>
                    <a:lnTo>
                      <a:pt x="0" y="84"/>
                    </a:lnTo>
                    <a:lnTo>
                      <a:pt x="0" y="87"/>
                    </a:lnTo>
                    <a:lnTo>
                      <a:pt x="0" y="91"/>
                    </a:lnTo>
                    <a:lnTo>
                      <a:pt x="4" y="91"/>
                    </a:lnTo>
                    <a:lnTo>
                      <a:pt x="8" y="93"/>
                    </a:lnTo>
                    <a:lnTo>
                      <a:pt x="12" y="93"/>
                    </a:lnTo>
                    <a:lnTo>
                      <a:pt x="14" y="89"/>
                    </a:lnTo>
                    <a:lnTo>
                      <a:pt x="18" y="89"/>
                    </a:lnTo>
                    <a:lnTo>
                      <a:pt x="22" y="91"/>
                    </a:lnTo>
                    <a:lnTo>
                      <a:pt x="26" y="91"/>
                    </a:lnTo>
                    <a:lnTo>
                      <a:pt x="30" y="93"/>
                    </a:lnTo>
                    <a:lnTo>
                      <a:pt x="34" y="95"/>
                    </a:lnTo>
                    <a:lnTo>
                      <a:pt x="38" y="96"/>
                    </a:lnTo>
                    <a:lnTo>
                      <a:pt x="41" y="98"/>
                    </a:lnTo>
                    <a:lnTo>
                      <a:pt x="45" y="100"/>
                    </a:lnTo>
                    <a:lnTo>
                      <a:pt x="49" y="96"/>
                    </a:lnTo>
                    <a:lnTo>
                      <a:pt x="53" y="95"/>
                    </a:lnTo>
                    <a:lnTo>
                      <a:pt x="55" y="91"/>
                    </a:lnTo>
                    <a:lnTo>
                      <a:pt x="59" y="91"/>
                    </a:lnTo>
                    <a:lnTo>
                      <a:pt x="63" y="91"/>
                    </a:lnTo>
                    <a:lnTo>
                      <a:pt x="67" y="93"/>
                    </a:lnTo>
                    <a:lnTo>
                      <a:pt x="67" y="89"/>
                    </a:lnTo>
                    <a:lnTo>
                      <a:pt x="71" y="87"/>
                    </a:lnTo>
                    <a:lnTo>
                      <a:pt x="75" y="86"/>
                    </a:lnTo>
                    <a:lnTo>
                      <a:pt x="75" y="82"/>
                    </a:lnTo>
                    <a:lnTo>
                      <a:pt x="79" y="82"/>
                    </a:lnTo>
                    <a:lnTo>
                      <a:pt x="83" y="82"/>
                    </a:lnTo>
                    <a:lnTo>
                      <a:pt x="85" y="86"/>
                    </a:lnTo>
                    <a:lnTo>
                      <a:pt x="89" y="86"/>
                    </a:lnTo>
                    <a:lnTo>
                      <a:pt x="93" y="89"/>
                    </a:lnTo>
                    <a:lnTo>
                      <a:pt x="97" y="89"/>
                    </a:lnTo>
                    <a:lnTo>
                      <a:pt x="101" y="89"/>
                    </a:lnTo>
                    <a:lnTo>
                      <a:pt x="103" y="93"/>
                    </a:lnTo>
                    <a:lnTo>
                      <a:pt x="105" y="96"/>
                    </a:lnTo>
                    <a:lnTo>
                      <a:pt x="109" y="98"/>
                    </a:lnTo>
                    <a:lnTo>
                      <a:pt x="113" y="98"/>
                    </a:lnTo>
                    <a:lnTo>
                      <a:pt x="117" y="98"/>
                    </a:lnTo>
                    <a:lnTo>
                      <a:pt x="119" y="95"/>
                    </a:lnTo>
                    <a:lnTo>
                      <a:pt x="121" y="91"/>
                    </a:lnTo>
                    <a:lnTo>
                      <a:pt x="122" y="87"/>
                    </a:lnTo>
                    <a:lnTo>
                      <a:pt x="122" y="84"/>
                    </a:lnTo>
                    <a:lnTo>
                      <a:pt x="124" y="80"/>
                    </a:lnTo>
                    <a:lnTo>
                      <a:pt x="128" y="82"/>
                    </a:lnTo>
                    <a:lnTo>
                      <a:pt x="130" y="86"/>
                    </a:lnTo>
                    <a:lnTo>
                      <a:pt x="130" y="89"/>
                    </a:lnTo>
                    <a:lnTo>
                      <a:pt x="134" y="89"/>
                    </a:lnTo>
                    <a:lnTo>
                      <a:pt x="138" y="87"/>
                    </a:lnTo>
                    <a:lnTo>
                      <a:pt x="142" y="86"/>
                    </a:lnTo>
                    <a:lnTo>
                      <a:pt x="146" y="84"/>
                    </a:lnTo>
                    <a:lnTo>
                      <a:pt x="150" y="84"/>
                    </a:lnTo>
                    <a:lnTo>
                      <a:pt x="152" y="80"/>
                    </a:lnTo>
                    <a:lnTo>
                      <a:pt x="152" y="76"/>
                    </a:lnTo>
                    <a:lnTo>
                      <a:pt x="154" y="73"/>
                    </a:lnTo>
                    <a:lnTo>
                      <a:pt x="158" y="73"/>
                    </a:lnTo>
                    <a:lnTo>
                      <a:pt x="160" y="69"/>
                    </a:lnTo>
                    <a:lnTo>
                      <a:pt x="158" y="66"/>
                    </a:lnTo>
                    <a:lnTo>
                      <a:pt x="156" y="62"/>
                    </a:lnTo>
                    <a:lnTo>
                      <a:pt x="152" y="58"/>
                    </a:lnTo>
                    <a:lnTo>
                      <a:pt x="152" y="55"/>
                    </a:lnTo>
                    <a:lnTo>
                      <a:pt x="154" y="51"/>
                    </a:lnTo>
                    <a:lnTo>
                      <a:pt x="154" y="47"/>
                    </a:lnTo>
                    <a:lnTo>
                      <a:pt x="150" y="47"/>
                    </a:lnTo>
                    <a:lnTo>
                      <a:pt x="146" y="44"/>
                    </a:lnTo>
                    <a:lnTo>
                      <a:pt x="142" y="42"/>
                    </a:lnTo>
                    <a:lnTo>
                      <a:pt x="140" y="38"/>
                    </a:lnTo>
                    <a:lnTo>
                      <a:pt x="138" y="35"/>
                    </a:lnTo>
                    <a:lnTo>
                      <a:pt x="138" y="31"/>
                    </a:lnTo>
                    <a:lnTo>
                      <a:pt x="136" y="27"/>
                    </a:lnTo>
                    <a:lnTo>
                      <a:pt x="132" y="25"/>
                    </a:lnTo>
                    <a:lnTo>
                      <a:pt x="128" y="25"/>
                    </a:lnTo>
                    <a:lnTo>
                      <a:pt x="124" y="24"/>
                    </a:lnTo>
                    <a:lnTo>
                      <a:pt x="128" y="24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7" name="Freeform 87"/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1699314" y="3251943"/>
                <a:ext cx="215504" cy="223514"/>
              </a:xfrm>
              <a:custGeom>
                <a:avLst/>
                <a:gdLst>
                  <a:gd name="T0" fmla="*/ 2147483647 w 174"/>
                  <a:gd name="T1" fmla="*/ 2147483647 h 189"/>
                  <a:gd name="T2" fmla="*/ 2147483647 w 174"/>
                  <a:gd name="T3" fmla="*/ 2147483647 h 189"/>
                  <a:gd name="T4" fmla="*/ 2147483647 w 174"/>
                  <a:gd name="T5" fmla="*/ 2147483647 h 189"/>
                  <a:gd name="T6" fmla="*/ 2147483647 w 174"/>
                  <a:gd name="T7" fmla="*/ 2147483647 h 189"/>
                  <a:gd name="T8" fmla="*/ 2147483647 w 174"/>
                  <a:gd name="T9" fmla="*/ 2147483647 h 189"/>
                  <a:gd name="T10" fmla="*/ 2147483647 w 174"/>
                  <a:gd name="T11" fmla="*/ 2147483647 h 189"/>
                  <a:gd name="T12" fmla="*/ 2147483647 w 174"/>
                  <a:gd name="T13" fmla="*/ 2147483647 h 189"/>
                  <a:gd name="T14" fmla="*/ 2147483647 w 174"/>
                  <a:gd name="T15" fmla="*/ 2147483647 h 189"/>
                  <a:gd name="T16" fmla="*/ 2147483647 w 174"/>
                  <a:gd name="T17" fmla="*/ 2147483647 h 189"/>
                  <a:gd name="T18" fmla="*/ 2147483647 w 174"/>
                  <a:gd name="T19" fmla="*/ 2147483647 h 189"/>
                  <a:gd name="T20" fmla="*/ 2147483647 w 174"/>
                  <a:gd name="T21" fmla="*/ 2147483647 h 189"/>
                  <a:gd name="T22" fmla="*/ 2147483647 w 174"/>
                  <a:gd name="T23" fmla="*/ 2147483647 h 189"/>
                  <a:gd name="T24" fmla="*/ 2147483647 w 174"/>
                  <a:gd name="T25" fmla="*/ 2147483647 h 189"/>
                  <a:gd name="T26" fmla="*/ 2147483647 w 174"/>
                  <a:gd name="T27" fmla="*/ 2147483647 h 189"/>
                  <a:gd name="T28" fmla="*/ 2147483647 w 174"/>
                  <a:gd name="T29" fmla="*/ 2147483647 h 189"/>
                  <a:gd name="T30" fmla="*/ 2147483647 w 174"/>
                  <a:gd name="T31" fmla="*/ 2147483647 h 189"/>
                  <a:gd name="T32" fmla="*/ 2147483647 w 174"/>
                  <a:gd name="T33" fmla="*/ 2147483647 h 189"/>
                  <a:gd name="T34" fmla="*/ 2147483647 w 174"/>
                  <a:gd name="T35" fmla="*/ 2147483647 h 189"/>
                  <a:gd name="T36" fmla="*/ 2147483647 w 174"/>
                  <a:gd name="T37" fmla="*/ 2147483647 h 189"/>
                  <a:gd name="T38" fmla="*/ 2147483647 w 174"/>
                  <a:gd name="T39" fmla="*/ 2147483647 h 189"/>
                  <a:gd name="T40" fmla="*/ 2147483647 w 174"/>
                  <a:gd name="T41" fmla="*/ 2147483647 h 189"/>
                  <a:gd name="T42" fmla="*/ 2147483647 w 174"/>
                  <a:gd name="T43" fmla="*/ 2147483647 h 189"/>
                  <a:gd name="T44" fmla="*/ 2147483647 w 174"/>
                  <a:gd name="T45" fmla="*/ 2147483647 h 189"/>
                  <a:gd name="T46" fmla="*/ 2147483647 w 174"/>
                  <a:gd name="T47" fmla="*/ 2147483647 h 189"/>
                  <a:gd name="T48" fmla="*/ 2147483647 w 174"/>
                  <a:gd name="T49" fmla="*/ 2147483647 h 189"/>
                  <a:gd name="T50" fmla="*/ 2147483647 w 174"/>
                  <a:gd name="T51" fmla="*/ 2147483647 h 189"/>
                  <a:gd name="T52" fmla="*/ 2147483647 w 174"/>
                  <a:gd name="T53" fmla="*/ 2147483647 h 189"/>
                  <a:gd name="T54" fmla="*/ 2147483647 w 174"/>
                  <a:gd name="T55" fmla="*/ 2147483647 h 189"/>
                  <a:gd name="T56" fmla="*/ 2147483647 w 174"/>
                  <a:gd name="T57" fmla="*/ 2147483647 h 189"/>
                  <a:gd name="T58" fmla="*/ 2147483647 w 174"/>
                  <a:gd name="T59" fmla="*/ 2147483647 h 189"/>
                  <a:gd name="T60" fmla="*/ 2147483647 w 174"/>
                  <a:gd name="T61" fmla="*/ 2147483647 h 189"/>
                  <a:gd name="T62" fmla="*/ 2147483647 w 174"/>
                  <a:gd name="T63" fmla="*/ 2147483647 h 189"/>
                  <a:gd name="T64" fmla="*/ 2147483647 w 174"/>
                  <a:gd name="T65" fmla="*/ 2147483647 h 189"/>
                  <a:gd name="T66" fmla="*/ 2147483647 w 174"/>
                  <a:gd name="T67" fmla="*/ 2147483647 h 189"/>
                  <a:gd name="T68" fmla="*/ 2147483647 w 174"/>
                  <a:gd name="T69" fmla="*/ 2147483647 h 189"/>
                  <a:gd name="T70" fmla="*/ 2147483647 w 174"/>
                  <a:gd name="T71" fmla="*/ 2147483647 h 189"/>
                  <a:gd name="T72" fmla="*/ 2147483647 w 174"/>
                  <a:gd name="T73" fmla="*/ 2147483647 h 189"/>
                  <a:gd name="T74" fmla="*/ 2147483647 w 174"/>
                  <a:gd name="T75" fmla="*/ 2147483647 h 189"/>
                  <a:gd name="T76" fmla="*/ 2147483647 w 174"/>
                  <a:gd name="T77" fmla="*/ 2147483647 h 189"/>
                  <a:gd name="T78" fmla="*/ 2147483647 w 174"/>
                  <a:gd name="T79" fmla="*/ 2147483647 h 189"/>
                  <a:gd name="T80" fmla="*/ 2147483647 w 174"/>
                  <a:gd name="T81" fmla="*/ 2147483647 h 189"/>
                  <a:gd name="T82" fmla="*/ 2147483647 w 174"/>
                  <a:gd name="T83" fmla="*/ 2147483647 h 189"/>
                  <a:gd name="T84" fmla="*/ 2147483647 w 174"/>
                  <a:gd name="T85" fmla="*/ 2147483647 h 189"/>
                  <a:gd name="T86" fmla="*/ 2147483647 w 174"/>
                  <a:gd name="T87" fmla="*/ 2147483647 h 189"/>
                  <a:gd name="T88" fmla="*/ 2147483647 w 174"/>
                  <a:gd name="T89" fmla="*/ 2147483647 h 189"/>
                  <a:gd name="T90" fmla="*/ 2147483647 w 174"/>
                  <a:gd name="T91" fmla="*/ 2147483647 h 189"/>
                  <a:gd name="T92" fmla="*/ 2147483647 w 174"/>
                  <a:gd name="T93" fmla="*/ 2147483647 h 189"/>
                  <a:gd name="T94" fmla="*/ 2147483647 w 174"/>
                  <a:gd name="T95" fmla="*/ 2147483647 h 189"/>
                  <a:gd name="T96" fmla="*/ 2147483647 w 174"/>
                  <a:gd name="T97" fmla="*/ 2147483647 h 189"/>
                  <a:gd name="T98" fmla="*/ 2147483647 w 174"/>
                  <a:gd name="T99" fmla="*/ 2147483647 h 189"/>
                  <a:gd name="T100" fmla="*/ 2147483647 w 174"/>
                  <a:gd name="T101" fmla="*/ 0 h 189"/>
                  <a:gd name="T102" fmla="*/ 2147483647 w 174"/>
                  <a:gd name="T103" fmla="*/ 0 h 18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74"/>
                  <a:gd name="T157" fmla="*/ 0 h 189"/>
                  <a:gd name="T158" fmla="*/ 174 w 174"/>
                  <a:gd name="T159" fmla="*/ 189 h 189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74" h="189">
                    <a:moveTo>
                      <a:pt x="58" y="0"/>
                    </a:moveTo>
                    <a:lnTo>
                      <a:pt x="54" y="0"/>
                    </a:lnTo>
                    <a:lnTo>
                      <a:pt x="49" y="1"/>
                    </a:lnTo>
                    <a:lnTo>
                      <a:pt x="45" y="2"/>
                    </a:lnTo>
                    <a:lnTo>
                      <a:pt x="40" y="2"/>
                    </a:lnTo>
                    <a:lnTo>
                      <a:pt x="36" y="5"/>
                    </a:lnTo>
                    <a:lnTo>
                      <a:pt x="33" y="8"/>
                    </a:lnTo>
                    <a:lnTo>
                      <a:pt x="31" y="12"/>
                    </a:lnTo>
                    <a:lnTo>
                      <a:pt x="28" y="14"/>
                    </a:lnTo>
                    <a:lnTo>
                      <a:pt x="23" y="15"/>
                    </a:lnTo>
                    <a:lnTo>
                      <a:pt x="19" y="17"/>
                    </a:lnTo>
                    <a:lnTo>
                      <a:pt x="15" y="23"/>
                    </a:lnTo>
                    <a:lnTo>
                      <a:pt x="13" y="26"/>
                    </a:lnTo>
                    <a:lnTo>
                      <a:pt x="9" y="32"/>
                    </a:lnTo>
                    <a:lnTo>
                      <a:pt x="5" y="32"/>
                    </a:lnTo>
                    <a:lnTo>
                      <a:pt x="3" y="36"/>
                    </a:lnTo>
                    <a:lnTo>
                      <a:pt x="1" y="41"/>
                    </a:lnTo>
                    <a:lnTo>
                      <a:pt x="1" y="45"/>
                    </a:lnTo>
                    <a:lnTo>
                      <a:pt x="0" y="50"/>
                    </a:lnTo>
                    <a:lnTo>
                      <a:pt x="1" y="53"/>
                    </a:lnTo>
                    <a:lnTo>
                      <a:pt x="1" y="58"/>
                    </a:lnTo>
                    <a:lnTo>
                      <a:pt x="6" y="59"/>
                    </a:lnTo>
                    <a:lnTo>
                      <a:pt x="11" y="63"/>
                    </a:lnTo>
                    <a:lnTo>
                      <a:pt x="16" y="63"/>
                    </a:lnTo>
                    <a:lnTo>
                      <a:pt x="19" y="68"/>
                    </a:lnTo>
                    <a:lnTo>
                      <a:pt x="23" y="71"/>
                    </a:lnTo>
                    <a:lnTo>
                      <a:pt x="27" y="75"/>
                    </a:lnTo>
                    <a:lnTo>
                      <a:pt x="29" y="78"/>
                    </a:lnTo>
                    <a:lnTo>
                      <a:pt x="30" y="83"/>
                    </a:lnTo>
                    <a:lnTo>
                      <a:pt x="30" y="86"/>
                    </a:lnTo>
                    <a:lnTo>
                      <a:pt x="31" y="91"/>
                    </a:lnTo>
                    <a:lnTo>
                      <a:pt x="31" y="95"/>
                    </a:lnTo>
                    <a:lnTo>
                      <a:pt x="36" y="99"/>
                    </a:lnTo>
                    <a:lnTo>
                      <a:pt x="41" y="102"/>
                    </a:lnTo>
                    <a:lnTo>
                      <a:pt x="42" y="107"/>
                    </a:lnTo>
                    <a:lnTo>
                      <a:pt x="41" y="110"/>
                    </a:lnTo>
                    <a:lnTo>
                      <a:pt x="38" y="115"/>
                    </a:lnTo>
                    <a:lnTo>
                      <a:pt x="37" y="120"/>
                    </a:lnTo>
                    <a:lnTo>
                      <a:pt x="35" y="123"/>
                    </a:lnTo>
                    <a:lnTo>
                      <a:pt x="31" y="127"/>
                    </a:lnTo>
                    <a:lnTo>
                      <a:pt x="29" y="131"/>
                    </a:lnTo>
                    <a:lnTo>
                      <a:pt x="26" y="133"/>
                    </a:lnTo>
                    <a:lnTo>
                      <a:pt x="30" y="136"/>
                    </a:lnTo>
                    <a:lnTo>
                      <a:pt x="35" y="137"/>
                    </a:lnTo>
                    <a:lnTo>
                      <a:pt x="39" y="138"/>
                    </a:lnTo>
                    <a:lnTo>
                      <a:pt x="44" y="139"/>
                    </a:lnTo>
                    <a:lnTo>
                      <a:pt x="49" y="143"/>
                    </a:lnTo>
                    <a:lnTo>
                      <a:pt x="50" y="147"/>
                    </a:lnTo>
                    <a:lnTo>
                      <a:pt x="55" y="151"/>
                    </a:lnTo>
                    <a:lnTo>
                      <a:pt x="56" y="155"/>
                    </a:lnTo>
                    <a:lnTo>
                      <a:pt x="57" y="159"/>
                    </a:lnTo>
                    <a:lnTo>
                      <a:pt x="61" y="160"/>
                    </a:lnTo>
                    <a:lnTo>
                      <a:pt x="62" y="164"/>
                    </a:lnTo>
                    <a:lnTo>
                      <a:pt x="58" y="166"/>
                    </a:lnTo>
                    <a:lnTo>
                      <a:pt x="55" y="172"/>
                    </a:lnTo>
                    <a:lnTo>
                      <a:pt x="53" y="175"/>
                    </a:lnTo>
                    <a:lnTo>
                      <a:pt x="50" y="179"/>
                    </a:lnTo>
                    <a:lnTo>
                      <a:pt x="50" y="183"/>
                    </a:lnTo>
                    <a:lnTo>
                      <a:pt x="55" y="184"/>
                    </a:lnTo>
                    <a:lnTo>
                      <a:pt x="55" y="188"/>
                    </a:lnTo>
                    <a:lnTo>
                      <a:pt x="60" y="189"/>
                    </a:lnTo>
                    <a:lnTo>
                      <a:pt x="63" y="187"/>
                    </a:lnTo>
                    <a:lnTo>
                      <a:pt x="68" y="186"/>
                    </a:lnTo>
                    <a:lnTo>
                      <a:pt x="67" y="182"/>
                    </a:lnTo>
                    <a:lnTo>
                      <a:pt x="71" y="180"/>
                    </a:lnTo>
                    <a:lnTo>
                      <a:pt x="78" y="179"/>
                    </a:lnTo>
                    <a:lnTo>
                      <a:pt x="82" y="178"/>
                    </a:lnTo>
                    <a:lnTo>
                      <a:pt x="82" y="181"/>
                    </a:lnTo>
                    <a:lnTo>
                      <a:pt x="87" y="181"/>
                    </a:lnTo>
                    <a:lnTo>
                      <a:pt x="92" y="183"/>
                    </a:lnTo>
                    <a:lnTo>
                      <a:pt x="96" y="179"/>
                    </a:lnTo>
                    <a:lnTo>
                      <a:pt x="100" y="179"/>
                    </a:lnTo>
                    <a:lnTo>
                      <a:pt x="105" y="178"/>
                    </a:lnTo>
                    <a:lnTo>
                      <a:pt x="109" y="177"/>
                    </a:lnTo>
                    <a:lnTo>
                      <a:pt x="114" y="177"/>
                    </a:lnTo>
                    <a:lnTo>
                      <a:pt x="119" y="176"/>
                    </a:lnTo>
                    <a:lnTo>
                      <a:pt x="123" y="176"/>
                    </a:lnTo>
                    <a:lnTo>
                      <a:pt x="128" y="175"/>
                    </a:lnTo>
                    <a:lnTo>
                      <a:pt x="132" y="174"/>
                    </a:lnTo>
                    <a:lnTo>
                      <a:pt x="137" y="174"/>
                    </a:lnTo>
                    <a:lnTo>
                      <a:pt x="141" y="173"/>
                    </a:lnTo>
                    <a:lnTo>
                      <a:pt x="144" y="173"/>
                    </a:lnTo>
                    <a:lnTo>
                      <a:pt x="149" y="172"/>
                    </a:lnTo>
                    <a:lnTo>
                      <a:pt x="154" y="172"/>
                    </a:lnTo>
                    <a:lnTo>
                      <a:pt x="158" y="171"/>
                    </a:lnTo>
                    <a:lnTo>
                      <a:pt x="163" y="169"/>
                    </a:lnTo>
                    <a:lnTo>
                      <a:pt x="162" y="165"/>
                    </a:lnTo>
                    <a:lnTo>
                      <a:pt x="161" y="161"/>
                    </a:lnTo>
                    <a:lnTo>
                      <a:pt x="165" y="158"/>
                    </a:lnTo>
                    <a:lnTo>
                      <a:pt x="170" y="154"/>
                    </a:lnTo>
                    <a:lnTo>
                      <a:pt x="169" y="149"/>
                    </a:lnTo>
                    <a:lnTo>
                      <a:pt x="170" y="145"/>
                    </a:lnTo>
                    <a:lnTo>
                      <a:pt x="174" y="144"/>
                    </a:lnTo>
                    <a:lnTo>
                      <a:pt x="172" y="139"/>
                    </a:lnTo>
                    <a:lnTo>
                      <a:pt x="169" y="135"/>
                    </a:lnTo>
                    <a:lnTo>
                      <a:pt x="169" y="131"/>
                    </a:lnTo>
                    <a:lnTo>
                      <a:pt x="163" y="130"/>
                    </a:lnTo>
                    <a:lnTo>
                      <a:pt x="159" y="129"/>
                    </a:lnTo>
                    <a:lnTo>
                      <a:pt x="154" y="129"/>
                    </a:lnTo>
                    <a:lnTo>
                      <a:pt x="150" y="130"/>
                    </a:lnTo>
                    <a:lnTo>
                      <a:pt x="149" y="125"/>
                    </a:lnTo>
                    <a:lnTo>
                      <a:pt x="149" y="122"/>
                    </a:lnTo>
                    <a:lnTo>
                      <a:pt x="148" y="115"/>
                    </a:lnTo>
                    <a:lnTo>
                      <a:pt x="146" y="111"/>
                    </a:lnTo>
                    <a:lnTo>
                      <a:pt x="142" y="106"/>
                    </a:lnTo>
                    <a:lnTo>
                      <a:pt x="138" y="104"/>
                    </a:lnTo>
                    <a:lnTo>
                      <a:pt x="134" y="100"/>
                    </a:lnTo>
                    <a:lnTo>
                      <a:pt x="134" y="97"/>
                    </a:lnTo>
                    <a:lnTo>
                      <a:pt x="138" y="94"/>
                    </a:lnTo>
                    <a:lnTo>
                      <a:pt x="140" y="89"/>
                    </a:lnTo>
                    <a:lnTo>
                      <a:pt x="144" y="86"/>
                    </a:lnTo>
                    <a:lnTo>
                      <a:pt x="146" y="82"/>
                    </a:lnTo>
                    <a:lnTo>
                      <a:pt x="150" y="79"/>
                    </a:lnTo>
                    <a:lnTo>
                      <a:pt x="154" y="79"/>
                    </a:lnTo>
                    <a:lnTo>
                      <a:pt x="159" y="76"/>
                    </a:lnTo>
                    <a:lnTo>
                      <a:pt x="158" y="71"/>
                    </a:lnTo>
                    <a:lnTo>
                      <a:pt x="163" y="72"/>
                    </a:lnTo>
                    <a:lnTo>
                      <a:pt x="162" y="78"/>
                    </a:lnTo>
                    <a:lnTo>
                      <a:pt x="162" y="65"/>
                    </a:lnTo>
                    <a:lnTo>
                      <a:pt x="165" y="60"/>
                    </a:lnTo>
                    <a:lnTo>
                      <a:pt x="159" y="59"/>
                    </a:lnTo>
                    <a:lnTo>
                      <a:pt x="162" y="56"/>
                    </a:lnTo>
                    <a:lnTo>
                      <a:pt x="167" y="56"/>
                    </a:lnTo>
                    <a:lnTo>
                      <a:pt x="167" y="52"/>
                    </a:lnTo>
                    <a:lnTo>
                      <a:pt x="166" y="46"/>
                    </a:lnTo>
                    <a:lnTo>
                      <a:pt x="164" y="42"/>
                    </a:lnTo>
                    <a:lnTo>
                      <a:pt x="163" y="38"/>
                    </a:lnTo>
                    <a:lnTo>
                      <a:pt x="162" y="33"/>
                    </a:lnTo>
                    <a:lnTo>
                      <a:pt x="162" y="30"/>
                    </a:lnTo>
                    <a:lnTo>
                      <a:pt x="158" y="26"/>
                    </a:lnTo>
                    <a:lnTo>
                      <a:pt x="154" y="24"/>
                    </a:lnTo>
                    <a:lnTo>
                      <a:pt x="149" y="23"/>
                    </a:lnTo>
                    <a:lnTo>
                      <a:pt x="145" y="23"/>
                    </a:lnTo>
                    <a:lnTo>
                      <a:pt x="138" y="24"/>
                    </a:lnTo>
                    <a:lnTo>
                      <a:pt x="134" y="27"/>
                    </a:lnTo>
                    <a:lnTo>
                      <a:pt x="130" y="30"/>
                    </a:lnTo>
                    <a:lnTo>
                      <a:pt x="124" y="28"/>
                    </a:lnTo>
                    <a:lnTo>
                      <a:pt x="121" y="29"/>
                    </a:lnTo>
                    <a:lnTo>
                      <a:pt x="117" y="29"/>
                    </a:lnTo>
                    <a:lnTo>
                      <a:pt x="112" y="30"/>
                    </a:lnTo>
                    <a:lnTo>
                      <a:pt x="108" y="28"/>
                    </a:lnTo>
                    <a:lnTo>
                      <a:pt x="103" y="29"/>
                    </a:lnTo>
                    <a:lnTo>
                      <a:pt x="99" y="28"/>
                    </a:lnTo>
                    <a:lnTo>
                      <a:pt x="96" y="24"/>
                    </a:lnTo>
                    <a:lnTo>
                      <a:pt x="93" y="20"/>
                    </a:lnTo>
                    <a:lnTo>
                      <a:pt x="92" y="15"/>
                    </a:lnTo>
                    <a:lnTo>
                      <a:pt x="87" y="15"/>
                    </a:lnTo>
                    <a:lnTo>
                      <a:pt x="83" y="16"/>
                    </a:lnTo>
                    <a:lnTo>
                      <a:pt x="79" y="17"/>
                    </a:lnTo>
                    <a:lnTo>
                      <a:pt x="75" y="18"/>
                    </a:lnTo>
                    <a:lnTo>
                      <a:pt x="69" y="18"/>
                    </a:lnTo>
                    <a:lnTo>
                      <a:pt x="65" y="14"/>
                    </a:lnTo>
                    <a:lnTo>
                      <a:pt x="61" y="0"/>
                    </a:lnTo>
                    <a:lnTo>
                      <a:pt x="60" y="2"/>
                    </a:lnTo>
                    <a:lnTo>
                      <a:pt x="56" y="2"/>
                    </a:lnTo>
                    <a:lnTo>
                      <a:pt x="58" y="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8" name="Freeform 88"/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1593806" y="3396296"/>
                <a:ext cx="179587" cy="155995"/>
              </a:xfrm>
              <a:custGeom>
                <a:avLst/>
                <a:gdLst>
                  <a:gd name="T0" fmla="*/ 2147483647 w 145"/>
                  <a:gd name="T1" fmla="*/ 2147483647 h 130"/>
                  <a:gd name="T2" fmla="*/ 2147483647 w 145"/>
                  <a:gd name="T3" fmla="*/ 2147483647 h 130"/>
                  <a:gd name="T4" fmla="*/ 2147483647 w 145"/>
                  <a:gd name="T5" fmla="*/ 2147483647 h 130"/>
                  <a:gd name="T6" fmla="*/ 2147483647 w 145"/>
                  <a:gd name="T7" fmla="*/ 2147483647 h 130"/>
                  <a:gd name="T8" fmla="*/ 2147483647 w 145"/>
                  <a:gd name="T9" fmla="*/ 2147483647 h 130"/>
                  <a:gd name="T10" fmla="*/ 2147483647 w 145"/>
                  <a:gd name="T11" fmla="*/ 2147483647 h 130"/>
                  <a:gd name="T12" fmla="*/ 2147483647 w 145"/>
                  <a:gd name="T13" fmla="*/ 2147483647 h 130"/>
                  <a:gd name="T14" fmla="*/ 2147483647 w 145"/>
                  <a:gd name="T15" fmla="*/ 2147483647 h 130"/>
                  <a:gd name="T16" fmla="*/ 2147483647 w 145"/>
                  <a:gd name="T17" fmla="*/ 2147483647 h 130"/>
                  <a:gd name="T18" fmla="*/ 2147483647 w 145"/>
                  <a:gd name="T19" fmla="*/ 0 h 130"/>
                  <a:gd name="T20" fmla="*/ 2147483647 w 145"/>
                  <a:gd name="T21" fmla="*/ 2147483647 h 130"/>
                  <a:gd name="T22" fmla="*/ 2147483647 w 145"/>
                  <a:gd name="T23" fmla="*/ 2147483647 h 130"/>
                  <a:gd name="T24" fmla="*/ 2147483647 w 145"/>
                  <a:gd name="T25" fmla="*/ 2147483647 h 130"/>
                  <a:gd name="T26" fmla="*/ 2147483647 w 145"/>
                  <a:gd name="T27" fmla="*/ 2147483647 h 130"/>
                  <a:gd name="T28" fmla="*/ 2147483647 w 145"/>
                  <a:gd name="T29" fmla="*/ 2147483647 h 130"/>
                  <a:gd name="T30" fmla="*/ 2147483647 w 145"/>
                  <a:gd name="T31" fmla="*/ 2147483647 h 130"/>
                  <a:gd name="T32" fmla="*/ 2147483647 w 145"/>
                  <a:gd name="T33" fmla="*/ 2147483647 h 130"/>
                  <a:gd name="T34" fmla="*/ 2147483647 w 145"/>
                  <a:gd name="T35" fmla="*/ 2147483647 h 130"/>
                  <a:gd name="T36" fmla="*/ 2147483647 w 145"/>
                  <a:gd name="T37" fmla="*/ 2147483647 h 130"/>
                  <a:gd name="T38" fmla="*/ 2147483647 w 145"/>
                  <a:gd name="T39" fmla="*/ 2147483647 h 130"/>
                  <a:gd name="T40" fmla="*/ 2147483647 w 145"/>
                  <a:gd name="T41" fmla="*/ 2147483647 h 130"/>
                  <a:gd name="T42" fmla="*/ 2147483647 w 145"/>
                  <a:gd name="T43" fmla="*/ 2147483647 h 130"/>
                  <a:gd name="T44" fmla="*/ 2147483647 w 145"/>
                  <a:gd name="T45" fmla="*/ 2147483647 h 130"/>
                  <a:gd name="T46" fmla="*/ 2147483647 w 145"/>
                  <a:gd name="T47" fmla="*/ 2147483647 h 130"/>
                  <a:gd name="T48" fmla="*/ 2147483647 w 145"/>
                  <a:gd name="T49" fmla="*/ 2147483647 h 130"/>
                  <a:gd name="T50" fmla="*/ 2147483647 w 145"/>
                  <a:gd name="T51" fmla="*/ 2147483647 h 130"/>
                  <a:gd name="T52" fmla="*/ 2147483647 w 145"/>
                  <a:gd name="T53" fmla="*/ 2147483647 h 130"/>
                  <a:gd name="T54" fmla="*/ 2147483647 w 145"/>
                  <a:gd name="T55" fmla="*/ 2147483647 h 130"/>
                  <a:gd name="T56" fmla="*/ 2147483647 w 145"/>
                  <a:gd name="T57" fmla="*/ 2147483647 h 130"/>
                  <a:gd name="T58" fmla="*/ 2147483647 w 145"/>
                  <a:gd name="T59" fmla="*/ 2147483647 h 130"/>
                  <a:gd name="T60" fmla="*/ 2147483647 w 145"/>
                  <a:gd name="T61" fmla="*/ 2147483647 h 130"/>
                  <a:gd name="T62" fmla="*/ 2147483647 w 145"/>
                  <a:gd name="T63" fmla="*/ 2147483647 h 130"/>
                  <a:gd name="T64" fmla="*/ 2147483647 w 145"/>
                  <a:gd name="T65" fmla="*/ 2147483647 h 130"/>
                  <a:gd name="T66" fmla="*/ 2147483647 w 145"/>
                  <a:gd name="T67" fmla="*/ 2147483647 h 130"/>
                  <a:gd name="T68" fmla="*/ 2147483647 w 145"/>
                  <a:gd name="T69" fmla="*/ 2147483647 h 130"/>
                  <a:gd name="T70" fmla="*/ 2147483647 w 145"/>
                  <a:gd name="T71" fmla="*/ 2147483647 h 130"/>
                  <a:gd name="T72" fmla="*/ 2147483647 w 145"/>
                  <a:gd name="T73" fmla="*/ 2147483647 h 130"/>
                  <a:gd name="T74" fmla="*/ 2147483647 w 145"/>
                  <a:gd name="T75" fmla="*/ 2147483647 h 130"/>
                  <a:gd name="T76" fmla="*/ 2147483647 w 145"/>
                  <a:gd name="T77" fmla="*/ 2147483647 h 130"/>
                  <a:gd name="T78" fmla="*/ 2147483647 w 145"/>
                  <a:gd name="T79" fmla="*/ 2147483647 h 130"/>
                  <a:gd name="T80" fmla="*/ 2147483647 w 145"/>
                  <a:gd name="T81" fmla="*/ 2147483647 h 130"/>
                  <a:gd name="T82" fmla="*/ 2147483647 w 145"/>
                  <a:gd name="T83" fmla="*/ 2147483647 h 130"/>
                  <a:gd name="T84" fmla="*/ 2147483647 w 145"/>
                  <a:gd name="T85" fmla="*/ 2147483647 h 130"/>
                  <a:gd name="T86" fmla="*/ 2147483647 w 145"/>
                  <a:gd name="T87" fmla="*/ 2147483647 h 130"/>
                  <a:gd name="T88" fmla="*/ 2147483647 w 145"/>
                  <a:gd name="T89" fmla="*/ 2147483647 h 130"/>
                  <a:gd name="T90" fmla="*/ 2147483647 w 145"/>
                  <a:gd name="T91" fmla="*/ 2147483647 h 130"/>
                  <a:gd name="T92" fmla="*/ 2147483647 w 145"/>
                  <a:gd name="T93" fmla="*/ 2147483647 h 130"/>
                  <a:gd name="T94" fmla="*/ 2147483647 w 145"/>
                  <a:gd name="T95" fmla="*/ 2147483647 h 130"/>
                  <a:gd name="T96" fmla="*/ 2147483647 w 145"/>
                  <a:gd name="T97" fmla="*/ 2147483647 h 130"/>
                  <a:gd name="T98" fmla="*/ 2147483647 w 145"/>
                  <a:gd name="T99" fmla="*/ 2147483647 h 130"/>
                  <a:gd name="T100" fmla="*/ 2147483647 w 145"/>
                  <a:gd name="T101" fmla="*/ 2147483647 h 130"/>
                  <a:gd name="T102" fmla="*/ 2147483647 w 145"/>
                  <a:gd name="T103" fmla="*/ 2147483647 h 130"/>
                  <a:gd name="T104" fmla="*/ 2147483647 w 145"/>
                  <a:gd name="T105" fmla="*/ 2147483647 h 130"/>
                  <a:gd name="T106" fmla="*/ 2147483647 w 145"/>
                  <a:gd name="T107" fmla="*/ 2147483647 h 130"/>
                  <a:gd name="T108" fmla="*/ 2147483647 w 145"/>
                  <a:gd name="T109" fmla="*/ 2147483647 h 13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45"/>
                  <a:gd name="T166" fmla="*/ 0 h 130"/>
                  <a:gd name="T167" fmla="*/ 145 w 145"/>
                  <a:gd name="T168" fmla="*/ 130 h 13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45" h="130">
                    <a:moveTo>
                      <a:pt x="140" y="52"/>
                    </a:moveTo>
                    <a:lnTo>
                      <a:pt x="140" y="47"/>
                    </a:lnTo>
                    <a:lnTo>
                      <a:pt x="141" y="44"/>
                    </a:lnTo>
                    <a:lnTo>
                      <a:pt x="141" y="40"/>
                    </a:lnTo>
                    <a:lnTo>
                      <a:pt x="143" y="34"/>
                    </a:lnTo>
                    <a:lnTo>
                      <a:pt x="143" y="32"/>
                    </a:lnTo>
                    <a:lnTo>
                      <a:pt x="144" y="26"/>
                    </a:lnTo>
                    <a:lnTo>
                      <a:pt x="139" y="25"/>
                    </a:lnTo>
                    <a:lnTo>
                      <a:pt x="136" y="21"/>
                    </a:lnTo>
                    <a:lnTo>
                      <a:pt x="134" y="18"/>
                    </a:lnTo>
                    <a:lnTo>
                      <a:pt x="128" y="16"/>
                    </a:lnTo>
                    <a:lnTo>
                      <a:pt x="126" y="12"/>
                    </a:lnTo>
                    <a:lnTo>
                      <a:pt x="123" y="9"/>
                    </a:lnTo>
                    <a:lnTo>
                      <a:pt x="118" y="7"/>
                    </a:lnTo>
                    <a:lnTo>
                      <a:pt x="114" y="5"/>
                    </a:lnTo>
                    <a:lnTo>
                      <a:pt x="109" y="4"/>
                    </a:lnTo>
                    <a:lnTo>
                      <a:pt x="104" y="1"/>
                    </a:lnTo>
                    <a:lnTo>
                      <a:pt x="99" y="2"/>
                    </a:lnTo>
                    <a:lnTo>
                      <a:pt x="95" y="0"/>
                    </a:lnTo>
                    <a:lnTo>
                      <a:pt x="90" y="0"/>
                    </a:lnTo>
                    <a:lnTo>
                      <a:pt x="85" y="4"/>
                    </a:lnTo>
                    <a:lnTo>
                      <a:pt x="86" y="7"/>
                    </a:lnTo>
                    <a:lnTo>
                      <a:pt x="84" y="11"/>
                    </a:lnTo>
                    <a:lnTo>
                      <a:pt x="83" y="16"/>
                    </a:lnTo>
                    <a:lnTo>
                      <a:pt x="78" y="17"/>
                    </a:lnTo>
                    <a:lnTo>
                      <a:pt x="74" y="16"/>
                    </a:lnTo>
                    <a:lnTo>
                      <a:pt x="70" y="13"/>
                    </a:lnTo>
                    <a:lnTo>
                      <a:pt x="65" y="10"/>
                    </a:lnTo>
                    <a:lnTo>
                      <a:pt x="60" y="7"/>
                    </a:lnTo>
                    <a:lnTo>
                      <a:pt x="55" y="5"/>
                    </a:lnTo>
                    <a:lnTo>
                      <a:pt x="50" y="6"/>
                    </a:lnTo>
                    <a:lnTo>
                      <a:pt x="46" y="4"/>
                    </a:lnTo>
                    <a:lnTo>
                      <a:pt x="41" y="5"/>
                    </a:lnTo>
                    <a:lnTo>
                      <a:pt x="37" y="5"/>
                    </a:lnTo>
                    <a:lnTo>
                      <a:pt x="32" y="6"/>
                    </a:lnTo>
                    <a:lnTo>
                      <a:pt x="28" y="9"/>
                    </a:lnTo>
                    <a:lnTo>
                      <a:pt x="24" y="9"/>
                    </a:lnTo>
                    <a:lnTo>
                      <a:pt x="20" y="13"/>
                    </a:lnTo>
                    <a:lnTo>
                      <a:pt x="15" y="14"/>
                    </a:lnTo>
                    <a:lnTo>
                      <a:pt x="14" y="19"/>
                    </a:lnTo>
                    <a:lnTo>
                      <a:pt x="9" y="24"/>
                    </a:lnTo>
                    <a:lnTo>
                      <a:pt x="6" y="27"/>
                    </a:lnTo>
                    <a:lnTo>
                      <a:pt x="1" y="28"/>
                    </a:lnTo>
                    <a:lnTo>
                      <a:pt x="2" y="33"/>
                    </a:lnTo>
                    <a:lnTo>
                      <a:pt x="0" y="38"/>
                    </a:lnTo>
                    <a:lnTo>
                      <a:pt x="1" y="42"/>
                    </a:lnTo>
                    <a:lnTo>
                      <a:pt x="1" y="46"/>
                    </a:lnTo>
                    <a:lnTo>
                      <a:pt x="4" y="50"/>
                    </a:lnTo>
                    <a:lnTo>
                      <a:pt x="9" y="50"/>
                    </a:lnTo>
                    <a:lnTo>
                      <a:pt x="13" y="50"/>
                    </a:lnTo>
                    <a:lnTo>
                      <a:pt x="13" y="54"/>
                    </a:lnTo>
                    <a:lnTo>
                      <a:pt x="14" y="59"/>
                    </a:lnTo>
                    <a:lnTo>
                      <a:pt x="14" y="62"/>
                    </a:lnTo>
                    <a:lnTo>
                      <a:pt x="15" y="67"/>
                    </a:lnTo>
                    <a:lnTo>
                      <a:pt x="22" y="68"/>
                    </a:lnTo>
                    <a:lnTo>
                      <a:pt x="23" y="73"/>
                    </a:lnTo>
                    <a:lnTo>
                      <a:pt x="28" y="72"/>
                    </a:lnTo>
                    <a:lnTo>
                      <a:pt x="28" y="75"/>
                    </a:lnTo>
                    <a:lnTo>
                      <a:pt x="29" y="79"/>
                    </a:lnTo>
                    <a:lnTo>
                      <a:pt x="33" y="79"/>
                    </a:lnTo>
                    <a:lnTo>
                      <a:pt x="38" y="82"/>
                    </a:lnTo>
                    <a:lnTo>
                      <a:pt x="43" y="83"/>
                    </a:lnTo>
                    <a:lnTo>
                      <a:pt x="43" y="88"/>
                    </a:lnTo>
                    <a:lnTo>
                      <a:pt x="44" y="92"/>
                    </a:lnTo>
                    <a:lnTo>
                      <a:pt x="40" y="94"/>
                    </a:lnTo>
                    <a:lnTo>
                      <a:pt x="38" y="99"/>
                    </a:lnTo>
                    <a:lnTo>
                      <a:pt x="34" y="102"/>
                    </a:lnTo>
                    <a:lnTo>
                      <a:pt x="35" y="107"/>
                    </a:lnTo>
                    <a:lnTo>
                      <a:pt x="37" y="109"/>
                    </a:lnTo>
                    <a:lnTo>
                      <a:pt x="38" y="113"/>
                    </a:lnTo>
                    <a:lnTo>
                      <a:pt x="38" y="116"/>
                    </a:lnTo>
                    <a:lnTo>
                      <a:pt x="42" y="125"/>
                    </a:lnTo>
                    <a:lnTo>
                      <a:pt x="45" y="125"/>
                    </a:lnTo>
                    <a:lnTo>
                      <a:pt x="53" y="125"/>
                    </a:lnTo>
                    <a:lnTo>
                      <a:pt x="57" y="122"/>
                    </a:lnTo>
                    <a:lnTo>
                      <a:pt x="62" y="123"/>
                    </a:lnTo>
                    <a:lnTo>
                      <a:pt x="64" y="126"/>
                    </a:lnTo>
                    <a:lnTo>
                      <a:pt x="67" y="130"/>
                    </a:lnTo>
                    <a:lnTo>
                      <a:pt x="72" y="130"/>
                    </a:lnTo>
                    <a:lnTo>
                      <a:pt x="71" y="125"/>
                    </a:lnTo>
                    <a:lnTo>
                      <a:pt x="71" y="122"/>
                    </a:lnTo>
                    <a:lnTo>
                      <a:pt x="72" y="117"/>
                    </a:lnTo>
                    <a:lnTo>
                      <a:pt x="77" y="116"/>
                    </a:lnTo>
                    <a:lnTo>
                      <a:pt x="82" y="118"/>
                    </a:lnTo>
                    <a:lnTo>
                      <a:pt x="86" y="118"/>
                    </a:lnTo>
                    <a:lnTo>
                      <a:pt x="90" y="117"/>
                    </a:lnTo>
                    <a:lnTo>
                      <a:pt x="87" y="122"/>
                    </a:lnTo>
                    <a:lnTo>
                      <a:pt x="98" y="123"/>
                    </a:lnTo>
                    <a:lnTo>
                      <a:pt x="101" y="123"/>
                    </a:lnTo>
                    <a:lnTo>
                      <a:pt x="103" y="111"/>
                    </a:lnTo>
                    <a:lnTo>
                      <a:pt x="107" y="110"/>
                    </a:lnTo>
                    <a:lnTo>
                      <a:pt x="109" y="107"/>
                    </a:lnTo>
                    <a:lnTo>
                      <a:pt x="109" y="102"/>
                    </a:lnTo>
                    <a:lnTo>
                      <a:pt x="112" y="99"/>
                    </a:lnTo>
                    <a:lnTo>
                      <a:pt x="117" y="98"/>
                    </a:lnTo>
                    <a:lnTo>
                      <a:pt x="121" y="96"/>
                    </a:lnTo>
                    <a:lnTo>
                      <a:pt x="122" y="92"/>
                    </a:lnTo>
                    <a:lnTo>
                      <a:pt x="122" y="88"/>
                    </a:lnTo>
                    <a:lnTo>
                      <a:pt x="119" y="83"/>
                    </a:lnTo>
                    <a:lnTo>
                      <a:pt x="121" y="80"/>
                    </a:lnTo>
                    <a:lnTo>
                      <a:pt x="125" y="77"/>
                    </a:lnTo>
                    <a:lnTo>
                      <a:pt x="129" y="74"/>
                    </a:lnTo>
                    <a:lnTo>
                      <a:pt x="134" y="71"/>
                    </a:lnTo>
                    <a:lnTo>
                      <a:pt x="133" y="68"/>
                    </a:lnTo>
                    <a:lnTo>
                      <a:pt x="133" y="63"/>
                    </a:lnTo>
                    <a:lnTo>
                      <a:pt x="134" y="59"/>
                    </a:lnTo>
                    <a:lnTo>
                      <a:pt x="139" y="58"/>
                    </a:lnTo>
                    <a:lnTo>
                      <a:pt x="141" y="54"/>
                    </a:lnTo>
                    <a:lnTo>
                      <a:pt x="145" y="51"/>
                    </a:lnTo>
                    <a:lnTo>
                      <a:pt x="140" y="52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09" name="Freeform 89"/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1479320" y="3424235"/>
                <a:ext cx="168362" cy="162979"/>
              </a:xfrm>
              <a:custGeom>
                <a:avLst/>
                <a:gdLst>
                  <a:gd name="T0" fmla="*/ 2147483647 w 135"/>
                  <a:gd name="T1" fmla="*/ 2147483647 h 138"/>
                  <a:gd name="T2" fmla="*/ 2147483647 w 135"/>
                  <a:gd name="T3" fmla="*/ 2147483647 h 138"/>
                  <a:gd name="T4" fmla="*/ 2147483647 w 135"/>
                  <a:gd name="T5" fmla="*/ 2147483647 h 138"/>
                  <a:gd name="T6" fmla="*/ 2147483647 w 135"/>
                  <a:gd name="T7" fmla="*/ 2147483647 h 138"/>
                  <a:gd name="T8" fmla="*/ 2147483647 w 135"/>
                  <a:gd name="T9" fmla="*/ 2147483647 h 138"/>
                  <a:gd name="T10" fmla="*/ 2147483647 w 135"/>
                  <a:gd name="T11" fmla="*/ 0 h 138"/>
                  <a:gd name="T12" fmla="*/ 2147483647 w 135"/>
                  <a:gd name="T13" fmla="*/ 2147483647 h 138"/>
                  <a:gd name="T14" fmla="*/ 2147483647 w 135"/>
                  <a:gd name="T15" fmla="*/ 2147483647 h 138"/>
                  <a:gd name="T16" fmla="*/ 2147483647 w 135"/>
                  <a:gd name="T17" fmla="*/ 2147483647 h 138"/>
                  <a:gd name="T18" fmla="*/ 2147483647 w 135"/>
                  <a:gd name="T19" fmla="*/ 2147483647 h 138"/>
                  <a:gd name="T20" fmla="*/ 2147483647 w 135"/>
                  <a:gd name="T21" fmla="*/ 2147483647 h 138"/>
                  <a:gd name="T22" fmla="*/ 2147483647 w 135"/>
                  <a:gd name="T23" fmla="*/ 2147483647 h 138"/>
                  <a:gd name="T24" fmla="*/ 0 w 135"/>
                  <a:gd name="T25" fmla="*/ 2147483647 h 138"/>
                  <a:gd name="T26" fmla="*/ 2147483647 w 135"/>
                  <a:gd name="T27" fmla="*/ 2147483647 h 138"/>
                  <a:gd name="T28" fmla="*/ 2147483647 w 135"/>
                  <a:gd name="T29" fmla="*/ 2147483647 h 138"/>
                  <a:gd name="T30" fmla="*/ 2147483647 w 135"/>
                  <a:gd name="T31" fmla="*/ 2147483647 h 138"/>
                  <a:gd name="T32" fmla="*/ 2147483647 w 135"/>
                  <a:gd name="T33" fmla="*/ 2147483647 h 138"/>
                  <a:gd name="T34" fmla="*/ 2147483647 w 135"/>
                  <a:gd name="T35" fmla="*/ 2147483647 h 138"/>
                  <a:gd name="T36" fmla="*/ 2147483647 w 135"/>
                  <a:gd name="T37" fmla="*/ 2147483647 h 138"/>
                  <a:gd name="T38" fmla="*/ 2147483647 w 135"/>
                  <a:gd name="T39" fmla="*/ 2147483647 h 138"/>
                  <a:gd name="T40" fmla="*/ 2147483647 w 135"/>
                  <a:gd name="T41" fmla="*/ 2147483647 h 138"/>
                  <a:gd name="T42" fmla="*/ 2147483647 w 135"/>
                  <a:gd name="T43" fmla="*/ 2147483647 h 138"/>
                  <a:gd name="T44" fmla="*/ 2147483647 w 135"/>
                  <a:gd name="T45" fmla="*/ 2147483647 h 138"/>
                  <a:gd name="T46" fmla="*/ 2147483647 w 135"/>
                  <a:gd name="T47" fmla="*/ 2147483647 h 138"/>
                  <a:gd name="T48" fmla="*/ 2147483647 w 135"/>
                  <a:gd name="T49" fmla="*/ 2147483647 h 138"/>
                  <a:gd name="T50" fmla="*/ 2147483647 w 135"/>
                  <a:gd name="T51" fmla="*/ 2147483647 h 138"/>
                  <a:gd name="T52" fmla="*/ 2147483647 w 135"/>
                  <a:gd name="T53" fmla="*/ 2147483647 h 138"/>
                  <a:gd name="T54" fmla="*/ 2147483647 w 135"/>
                  <a:gd name="T55" fmla="*/ 2147483647 h 138"/>
                  <a:gd name="T56" fmla="*/ 2147483647 w 135"/>
                  <a:gd name="T57" fmla="*/ 2147483647 h 138"/>
                  <a:gd name="T58" fmla="*/ 2147483647 w 135"/>
                  <a:gd name="T59" fmla="*/ 2147483647 h 138"/>
                  <a:gd name="T60" fmla="*/ 2147483647 w 135"/>
                  <a:gd name="T61" fmla="*/ 2147483647 h 138"/>
                  <a:gd name="T62" fmla="*/ 2147483647 w 135"/>
                  <a:gd name="T63" fmla="*/ 2147483647 h 138"/>
                  <a:gd name="T64" fmla="*/ 2147483647 w 135"/>
                  <a:gd name="T65" fmla="*/ 2147483647 h 138"/>
                  <a:gd name="T66" fmla="*/ 2147483647 w 135"/>
                  <a:gd name="T67" fmla="*/ 2147483647 h 138"/>
                  <a:gd name="T68" fmla="*/ 2147483647 w 135"/>
                  <a:gd name="T69" fmla="*/ 2147483647 h 138"/>
                  <a:gd name="T70" fmla="*/ 2147483647 w 135"/>
                  <a:gd name="T71" fmla="*/ 2147483647 h 138"/>
                  <a:gd name="T72" fmla="*/ 2147483647 w 135"/>
                  <a:gd name="T73" fmla="*/ 2147483647 h 138"/>
                  <a:gd name="T74" fmla="*/ 2147483647 w 135"/>
                  <a:gd name="T75" fmla="*/ 2147483647 h 138"/>
                  <a:gd name="T76" fmla="*/ 2147483647 w 135"/>
                  <a:gd name="T77" fmla="*/ 2147483647 h 138"/>
                  <a:gd name="T78" fmla="*/ 2147483647 w 135"/>
                  <a:gd name="T79" fmla="*/ 2147483647 h 138"/>
                  <a:gd name="T80" fmla="*/ 2147483647 w 135"/>
                  <a:gd name="T81" fmla="*/ 2147483647 h 138"/>
                  <a:gd name="T82" fmla="*/ 2147483647 w 135"/>
                  <a:gd name="T83" fmla="*/ 2147483647 h 138"/>
                  <a:gd name="T84" fmla="*/ 2147483647 w 135"/>
                  <a:gd name="T85" fmla="*/ 2147483647 h 138"/>
                  <a:gd name="T86" fmla="*/ 2147483647 w 135"/>
                  <a:gd name="T87" fmla="*/ 2147483647 h 138"/>
                  <a:gd name="T88" fmla="*/ 2147483647 w 135"/>
                  <a:gd name="T89" fmla="*/ 2147483647 h 138"/>
                  <a:gd name="T90" fmla="*/ 2147483647 w 135"/>
                  <a:gd name="T91" fmla="*/ 2147483647 h 13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35"/>
                  <a:gd name="T139" fmla="*/ 0 h 138"/>
                  <a:gd name="T140" fmla="*/ 135 w 135"/>
                  <a:gd name="T141" fmla="*/ 138 h 13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35" h="138">
                    <a:moveTo>
                      <a:pt x="96" y="20"/>
                    </a:moveTo>
                    <a:lnTo>
                      <a:pt x="94" y="15"/>
                    </a:lnTo>
                    <a:lnTo>
                      <a:pt x="91" y="12"/>
                    </a:lnTo>
                    <a:lnTo>
                      <a:pt x="91" y="7"/>
                    </a:lnTo>
                    <a:lnTo>
                      <a:pt x="85" y="4"/>
                    </a:lnTo>
                    <a:lnTo>
                      <a:pt x="81" y="5"/>
                    </a:lnTo>
                    <a:lnTo>
                      <a:pt x="76" y="5"/>
                    </a:lnTo>
                    <a:lnTo>
                      <a:pt x="72" y="6"/>
                    </a:lnTo>
                    <a:lnTo>
                      <a:pt x="67" y="4"/>
                    </a:lnTo>
                    <a:lnTo>
                      <a:pt x="63" y="4"/>
                    </a:lnTo>
                    <a:lnTo>
                      <a:pt x="59" y="1"/>
                    </a:lnTo>
                    <a:lnTo>
                      <a:pt x="54" y="0"/>
                    </a:lnTo>
                    <a:lnTo>
                      <a:pt x="50" y="3"/>
                    </a:lnTo>
                    <a:lnTo>
                      <a:pt x="43" y="8"/>
                    </a:lnTo>
                    <a:lnTo>
                      <a:pt x="40" y="12"/>
                    </a:lnTo>
                    <a:lnTo>
                      <a:pt x="35" y="15"/>
                    </a:lnTo>
                    <a:lnTo>
                      <a:pt x="32" y="18"/>
                    </a:lnTo>
                    <a:lnTo>
                      <a:pt x="27" y="19"/>
                    </a:lnTo>
                    <a:lnTo>
                      <a:pt x="22" y="16"/>
                    </a:lnTo>
                    <a:lnTo>
                      <a:pt x="17" y="17"/>
                    </a:lnTo>
                    <a:lnTo>
                      <a:pt x="13" y="18"/>
                    </a:lnTo>
                    <a:lnTo>
                      <a:pt x="9" y="18"/>
                    </a:lnTo>
                    <a:lnTo>
                      <a:pt x="7" y="24"/>
                    </a:lnTo>
                    <a:lnTo>
                      <a:pt x="6" y="27"/>
                    </a:lnTo>
                    <a:lnTo>
                      <a:pt x="1" y="30"/>
                    </a:lnTo>
                    <a:lnTo>
                      <a:pt x="0" y="35"/>
                    </a:lnTo>
                    <a:lnTo>
                      <a:pt x="0" y="38"/>
                    </a:lnTo>
                    <a:lnTo>
                      <a:pt x="1" y="43"/>
                    </a:lnTo>
                    <a:lnTo>
                      <a:pt x="3" y="46"/>
                    </a:lnTo>
                    <a:lnTo>
                      <a:pt x="4" y="50"/>
                    </a:lnTo>
                    <a:lnTo>
                      <a:pt x="7" y="65"/>
                    </a:lnTo>
                    <a:lnTo>
                      <a:pt x="4" y="54"/>
                    </a:lnTo>
                    <a:lnTo>
                      <a:pt x="13" y="72"/>
                    </a:lnTo>
                    <a:lnTo>
                      <a:pt x="22" y="71"/>
                    </a:lnTo>
                    <a:lnTo>
                      <a:pt x="31" y="71"/>
                    </a:lnTo>
                    <a:lnTo>
                      <a:pt x="25" y="71"/>
                    </a:lnTo>
                    <a:lnTo>
                      <a:pt x="33" y="65"/>
                    </a:lnTo>
                    <a:lnTo>
                      <a:pt x="39" y="69"/>
                    </a:lnTo>
                    <a:lnTo>
                      <a:pt x="41" y="72"/>
                    </a:lnTo>
                    <a:lnTo>
                      <a:pt x="42" y="76"/>
                    </a:lnTo>
                    <a:lnTo>
                      <a:pt x="42" y="81"/>
                    </a:lnTo>
                    <a:lnTo>
                      <a:pt x="43" y="84"/>
                    </a:lnTo>
                    <a:lnTo>
                      <a:pt x="45" y="89"/>
                    </a:lnTo>
                    <a:lnTo>
                      <a:pt x="49" y="93"/>
                    </a:lnTo>
                    <a:lnTo>
                      <a:pt x="49" y="97"/>
                    </a:lnTo>
                    <a:lnTo>
                      <a:pt x="50" y="103"/>
                    </a:lnTo>
                    <a:lnTo>
                      <a:pt x="51" y="107"/>
                    </a:lnTo>
                    <a:lnTo>
                      <a:pt x="53" y="110"/>
                    </a:lnTo>
                    <a:lnTo>
                      <a:pt x="54" y="115"/>
                    </a:lnTo>
                    <a:lnTo>
                      <a:pt x="54" y="118"/>
                    </a:lnTo>
                    <a:lnTo>
                      <a:pt x="55" y="123"/>
                    </a:lnTo>
                    <a:lnTo>
                      <a:pt x="57" y="127"/>
                    </a:lnTo>
                    <a:lnTo>
                      <a:pt x="58" y="130"/>
                    </a:lnTo>
                    <a:lnTo>
                      <a:pt x="63" y="132"/>
                    </a:lnTo>
                    <a:lnTo>
                      <a:pt x="67" y="134"/>
                    </a:lnTo>
                    <a:lnTo>
                      <a:pt x="73" y="138"/>
                    </a:lnTo>
                    <a:lnTo>
                      <a:pt x="78" y="137"/>
                    </a:lnTo>
                    <a:lnTo>
                      <a:pt x="81" y="137"/>
                    </a:lnTo>
                    <a:lnTo>
                      <a:pt x="84" y="129"/>
                    </a:lnTo>
                    <a:lnTo>
                      <a:pt x="89" y="131"/>
                    </a:lnTo>
                    <a:lnTo>
                      <a:pt x="93" y="128"/>
                    </a:lnTo>
                    <a:lnTo>
                      <a:pt x="98" y="127"/>
                    </a:lnTo>
                    <a:lnTo>
                      <a:pt x="101" y="123"/>
                    </a:lnTo>
                    <a:lnTo>
                      <a:pt x="101" y="119"/>
                    </a:lnTo>
                    <a:lnTo>
                      <a:pt x="100" y="114"/>
                    </a:lnTo>
                    <a:lnTo>
                      <a:pt x="100" y="111"/>
                    </a:lnTo>
                    <a:lnTo>
                      <a:pt x="104" y="108"/>
                    </a:lnTo>
                    <a:lnTo>
                      <a:pt x="108" y="105"/>
                    </a:lnTo>
                    <a:lnTo>
                      <a:pt x="110" y="100"/>
                    </a:lnTo>
                    <a:lnTo>
                      <a:pt x="114" y="100"/>
                    </a:lnTo>
                    <a:lnTo>
                      <a:pt x="119" y="97"/>
                    </a:lnTo>
                    <a:lnTo>
                      <a:pt x="123" y="97"/>
                    </a:lnTo>
                    <a:lnTo>
                      <a:pt x="128" y="98"/>
                    </a:lnTo>
                    <a:lnTo>
                      <a:pt x="130" y="95"/>
                    </a:lnTo>
                    <a:lnTo>
                      <a:pt x="133" y="91"/>
                    </a:lnTo>
                    <a:lnTo>
                      <a:pt x="133" y="87"/>
                    </a:lnTo>
                    <a:lnTo>
                      <a:pt x="135" y="82"/>
                    </a:lnTo>
                    <a:lnTo>
                      <a:pt x="135" y="79"/>
                    </a:lnTo>
                    <a:lnTo>
                      <a:pt x="134" y="74"/>
                    </a:lnTo>
                    <a:lnTo>
                      <a:pt x="134" y="70"/>
                    </a:lnTo>
                    <a:lnTo>
                      <a:pt x="135" y="67"/>
                    </a:lnTo>
                    <a:lnTo>
                      <a:pt x="132" y="62"/>
                    </a:lnTo>
                    <a:lnTo>
                      <a:pt x="129" y="59"/>
                    </a:lnTo>
                    <a:lnTo>
                      <a:pt x="124" y="55"/>
                    </a:lnTo>
                    <a:lnTo>
                      <a:pt x="119" y="52"/>
                    </a:lnTo>
                    <a:lnTo>
                      <a:pt x="114" y="47"/>
                    </a:lnTo>
                    <a:lnTo>
                      <a:pt x="112" y="45"/>
                    </a:lnTo>
                    <a:lnTo>
                      <a:pt x="108" y="40"/>
                    </a:lnTo>
                    <a:lnTo>
                      <a:pt x="106" y="37"/>
                    </a:lnTo>
                    <a:lnTo>
                      <a:pt x="105" y="33"/>
                    </a:lnTo>
                    <a:lnTo>
                      <a:pt x="103" y="29"/>
                    </a:lnTo>
                    <a:lnTo>
                      <a:pt x="96" y="20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10" name="Freeform 90"/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 rot="21140016">
                <a:off x="2036039" y="3233317"/>
                <a:ext cx="401825" cy="204888"/>
              </a:xfrm>
              <a:custGeom>
                <a:avLst/>
                <a:gdLst>
                  <a:gd name="T0" fmla="*/ 2147483647 w 288"/>
                  <a:gd name="T1" fmla="*/ 2147483647 h 153"/>
                  <a:gd name="T2" fmla="*/ 2147483647 w 288"/>
                  <a:gd name="T3" fmla="*/ 2147483647 h 153"/>
                  <a:gd name="T4" fmla="*/ 2147483647 w 288"/>
                  <a:gd name="T5" fmla="*/ 0 h 153"/>
                  <a:gd name="T6" fmla="*/ 2147483647 w 288"/>
                  <a:gd name="T7" fmla="*/ 2147483647 h 153"/>
                  <a:gd name="T8" fmla="*/ 2147483647 w 288"/>
                  <a:gd name="T9" fmla="*/ 2147483647 h 153"/>
                  <a:gd name="T10" fmla="*/ 2147483647 w 288"/>
                  <a:gd name="T11" fmla="*/ 2147483647 h 153"/>
                  <a:gd name="T12" fmla="*/ 2147483647 w 288"/>
                  <a:gd name="T13" fmla="*/ 2147483647 h 153"/>
                  <a:gd name="T14" fmla="*/ 2147483647 w 288"/>
                  <a:gd name="T15" fmla="*/ 2147483647 h 153"/>
                  <a:gd name="T16" fmla="*/ 2147483647 w 288"/>
                  <a:gd name="T17" fmla="*/ 2147483647 h 153"/>
                  <a:gd name="T18" fmla="*/ 2147483647 w 288"/>
                  <a:gd name="T19" fmla="*/ 2147483647 h 153"/>
                  <a:gd name="T20" fmla="*/ 0 w 288"/>
                  <a:gd name="T21" fmla="*/ 2147483647 h 153"/>
                  <a:gd name="T22" fmla="*/ 2147483647 w 288"/>
                  <a:gd name="T23" fmla="*/ 2147483647 h 153"/>
                  <a:gd name="T24" fmla="*/ 2147483647 w 288"/>
                  <a:gd name="T25" fmla="*/ 2147483647 h 153"/>
                  <a:gd name="T26" fmla="*/ 2147483647 w 288"/>
                  <a:gd name="T27" fmla="*/ 2147483647 h 153"/>
                  <a:gd name="T28" fmla="*/ 2147483647 w 288"/>
                  <a:gd name="T29" fmla="*/ 2147483647 h 153"/>
                  <a:gd name="T30" fmla="*/ 2147483647 w 288"/>
                  <a:gd name="T31" fmla="*/ 2147483647 h 153"/>
                  <a:gd name="T32" fmla="*/ 2147483647 w 288"/>
                  <a:gd name="T33" fmla="*/ 2147483647 h 153"/>
                  <a:gd name="T34" fmla="*/ 2147483647 w 288"/>
                  <a:gd name="T35" fmla="*/ 2147483647 h 153"/>
                  <a:gd name="T36" fmla="*/ 2147483647 w 288"/>
                  <a:gd name="T37" fmla="*/ 2147483647 h 153"/>
                  <a:gd name="T38" fmla="*/ 2147483647 w 288"/>
                  <a:gd name="T39" fmla="*/ 2147483647 h 153"/>
                  <a:gd name="T40" fmla="*/ 2147483647 w 288"/>
                  <a:gd name="T41" fmla="*/ 2147483647 h 153"/>
                  <a:gd name="T42" fmla="*/ 2147483647 w 288"/>
                  <a:gd name="T43" fmla="*/ 2147483647 h 153"/>
                  <a:gd name="T44" fmla="*/ 2147483647 w 288"/>
                  <a:gd name="T45" fmla="*/ 2147483647 h 153"/>
                  <a:gd name="T46" fmla="*/ 2147483647 w 288"/>
                  <a:gd name="T47" fmla="*/ 2147483647 h 153"/>
                  <a:gd name="T48" fmla="*/ 2147483647 w 288"/>
                  <a:gd name="T49" fmla="*/ 2147483647 h 153"/>
                  <a:gd name="T50" fmla="*/ 2147483647 w 288"/>
                  <a:gd name="T51" fmla="*/ 2147483647 h 153"/>
                  <a:gd name="T52" fmla="*/ 2147483647 w 288"/>
                  <a:gd name="T53" fmla="*/ 2147483647 h 153"/>
                  <a:gd name="T54" fmla="*/ 2147483647 w 288"/>
                  <a:gd name="T55" fmla="*/ 2147483647 h 153"/>
                  <a:gd name="T56" fmla="*/ 2147483647 w 288"/>
                  <a:gd name="T57" fmla="*/ 2147483647 h 153"/>
                  <a:gd name="T58" fmla="*/ 2147483647 w 288"/>
                  <a:gd name="T59" fmla="*/ 2147483647 h 153"/>
                  <a:gd name="T60" fmla="*/ 2147483647 w 288"/>
                  <a:gd name="T61" fmla="*/ 2147483647 h 153"/>
                  <a:gd name="T62" fmla="*/ 2147483647 w 288"/>
                  <a:gd name="T63" fmla="*/ 2147483647 h 153"/>
                  <a:gd name="T64" fmla="*/ 2147483647 w 288"/>
                  <a:gd name="T65" fmla="*/ 2147483647 h 153"/>
                  <a:gd name="T66" fmla="*/ 2147483647 w 288"/>
                  <a:gd name="T67" fmla="*/ 2147483647 h 153"/>
                  <a:gd name="T68" fmla="*/ 2147483647 w 288"/>
                  <a:gd name="T69" fmla="*/ 2147483647 h 153"/>
                  <a:gd name="T70" fmla="*/ 2147483647 w 288"/>
                  <a:gd name="T71" fmla="*/ 2147483647 h 153"/>
                  <a:gd name="T72" fmla="*/ 2147483647 w 288"/>
                  <a:gd name="T73" fmla="*/ 2147483647 h 153"/>
                  <a:gd name="T74" fmla="*/ 2147483647 w 288"/>
                  <a:gd name="T75" fmla="*/ 2147483647 h 153"/>
                  <a:gd name="T76" fmla="*/ 2147483647 w 288"/>
                  <a:gd name="T77" fmla="*/ 2147483647 h 153"/>
                  <a:gd name="T78" fmla="*/ 2147483647 w 288"/>
                  <a:gd name="T79" fmla="*/ 2147483647 h 153"/>
                  <a:gd name="T80" fmla="*/ 2147483647 w 288"/>
                  <a:gd name="T81" fmla="*/ 2147483647 h 153"/>
                  <a:gd name="T82" fmla="*/ 2147483647 w 288"/>
                  <a:gd name="T83" fmla="*/ 2147483647 h 153"/>
                  <a:gd name="T84" fmla="*/ 2147483647 w 288"/>
                  <a:gd name="T85" fmla="*/ 2147483647 h 153"/>
                  <a:gd name="T86" fmla="*/ 2147483647 w 288"/>
                  <a:gd name="T87" fmla="*/ 2147483647 h 153"/>
                  <a:gd name="T88" fmla="*/ 2147483647 w 288"/>
                  <a:gd name="T89" fmla="*/ 2147483647 h 153"/>
                  <a:gd name="T90" fmla="*/ 2147483647 w 288"/>
                  <a:gd name="T91" fmla="*/ 2147483647 h 153"/>
                  <a:gd name="T92" fmla="*/ 2147483647 w 288"/>
                  <a:gd name="T93" fmla="*/ 2147483647 h 153"/>
                  <a:gd name="T94" fmla="*/ 2147483647 w 288"/>
                  <a:gd name="T95" fmla="*/ 2147483647 h 153"/>
                  <a:gd name="T96" fmla="*/ 2147483647 w 288"/>
                  <a:gd name="T97" fmla="*/ 2147483647 h 15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88"/>
                  <a:gd name="T148" fmla="*/ 0 h 153"/>
                  <a:gd name="T149" fmla="*/ 288 w 288"/>
                  <a:gd name="T150" fmla="*/ 153 h 15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88" h="153">
                    <a:moveTo>
                      <a:pt x="148" y="2"/>
                    </a:moveTo>
                    <a:lnTo>
                      <a:pt x="144" y="2"/>
                    </a:lnTo>
                    <a:lnTo>
                      <a:pt x="141" y="4"/>
                    </a:lnTo>
                    <a:lnTo>
                      <a:pt x="137" y="4"/>
                    </a:lnTo>
                    <a:lnTo>
                      <a:pt x="133" y="4"/>
                    </a:lnTo>
                    <a:lnTo>
                      <a:pt x="129" y="4"/>
                    </a:lnTo>
                    <a:lnTo>
                      <a:pt x="125" y="4"/>
                    </a:lnTo>
                    <a:lnTo>
                      <a:pt x="121" y="4"/>
                    </a:lnTo>
                    <a:lnTo>
                      <a:pt x="117" y="4"/>
                    </a:lnTo>
                    <a:lnTo>
                      <a:pt x="113" y="4"/>
                    </a:lnTo>
                    <a:lnTo>
                      <a:pt x="109" y="2"/>
                    </a:lnTo>
                    <a:lnTo>
                      <a:pt x="105" y="0"/>
                    </a:lnTo>
                    <a:lnTo>
                      <a:pt x="101" y="0"/>
                    </a:lnTo>
                    <a:lnTo>
                      <a:pt x="97" y="2"/>
                    </a:lnTo>
                    <a:lnTo>
                      <a:pt x="93" y="4"/>
                    </a:lnTo>
                    <a:lnTo>
                      <a:pt x="87" y="5"/>
                    </a:lnTo>
                    <a:lnTo>
                      <a:pt x="83" y="7"/>
                    </a:lnTo>
                    <a:lnTo>
                      <a:pt x="79" y="9"/>
                    </a:lnTo>
                    <a:lnTo>
                      <a:pt x="75" y="13"/>
                    </a:lnTo>
                    <a:lnTo>
                      <a:pt x="75" y="16"/>
                    </a:lnTo>
                    <a:lnTo>
                      <a:pt x="77" y="20"/>
                    </a:lnTo>
                    <a:lnTo>
                      <a:pt x="77" y="24"/>
                    </a:lnTo>
                    <a:lnTo>
                      <a:pt x="73" y="24"/>
                    </a:lnTo>
                    <a:lnTo>
                      <a:pt x="69" y="26"/>
                    </a:lnTo>
                    <a:lnTo>
                      <a:pt x="65" y="26"/>
                    </a:lnTo>
                    <a:lnTo>
                      <a:pt x="59" y="27"/>
                    </a:lnTo>
                    <a:lnTo>
                      <a:pt x="55" y="29"/>
                    </a:lnTo>
                    <a:lnTo>
                      <a:pt x="51" y="29"/>
                    </a:lnTo>
                    <a:lnTo>
                      <a:pt x="48" y="29"/>
                    </a:lnTo>
                    <a:lnTo>
                      <a:pt x="44" y="29"/>
                    </a:lnTo>
                    <a:lnTo>
                      <a:pt x="40" y="29"/>
                    </a:lnTo>
                    <a:lnTo>
                      <a:pt x="36" y="29"/>
                    </a:lnTo>
                    <a:lnTo>
                      <a:pt x="30" y="29"/>
                    </a:lnTo>
                    <a:lnTo>
                      <a:pt x="26" y="29"/>
                    </a:lnTo>
                    <a:lnTo>
                      <a:pt x="22" y="29"/>
                    </a:lnTo>
                    <a:lnTo>
                      <a:pt x="20" y="33"/>
                    </a:lnTo>
                    <a:lnTo>
                      <a:pt x="18" y="37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8" y="46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51"/>
                    </a:lnTo>
                    <a:lnTo>
                      <a:pt x="0" y="55"/>
                    </a:lnTo>
                    <a:lnTo>
                      <a:pt x="4" y="55"/>
                    </a:lnTo>
                    <a:lnTo>
                      <a:pt x="8" y="59"/>
                    </a:lnTo>
                    <a:lnTo>
                      <a:pt x="12" y="60"/>
                    </a:lnTo>
                    <a:lnTo>
                      <a:pt x="16" y="62"/>
                    </a:lnTo>
                    <a:lnTo>
                      <a:pt x="20" y="60"/>
                    </a:lnTo>
                    <a:lnTo>
                      <a:pt x="22" y="64"/>
                    </a:lnTo>
                    <a:lnTo>
                      <a:pt x="26" y="66"/>
                    </a:lnTo>
                    <a:lnTo>
                      <a:pt x="30" y="68"/>
                    </a:lnTo>
                    <a:lnTo>
                      <a:pt x="34" y="70"/>
                    </a:lnTo>
                    <a:lnTo>
                      <a:pt x="38" y="71"/>
                    </a:lnTo>
                    <a:lnTo>
                      <a:pt x="42" y="71"/>
                    </a:lnTo>
                    <a:lnTo>
                      <a:pt x="46" y="75"/>
                    </a:lnTo>
                    <a:lnTo>
                      <a:pt x="48" y="71"/>
                    </a:lnTo>
                    <a:lnTo>
                      <a:pt x="46" y="68"/>
                    </a:lnTo>
                    <a:lnTo>
                      <a:pt x="49" y="68"/>
                    </a:lnTo>
                    <a:lnTo>
                      <a:pt x="53" y="68"/>
                    </a:lnTo>
                    <a:lnTo>
                      <a:pt x="57" y="70"/>
                    </a:lnTo>
                    <a:lnTo>
                      <a:pt x="59" y="73"/>
                    </a:lnTo>
                    <a:lnTo>
                      <a:pt x="59" y="77"/>
                    </a:lnTo>
                    <a:lnTo>
                      <a:pt x="61" y="81"/>
                    </a:lnTo>
                    <a:lnTo>
                      <a:pt x="61" y="84"/>
                    </a:lnTo>
                    <a:lnTo>
                      <a:pt x="61" y="88"/>
                    </a:lnTo>
                    <a:lnTo>
                      <a:pt x="65" y="90"/>
                    </a:lnTo>
                    <a:lnTo>
                      <a:pt x="69" y="92"/>
                    </a:lnTo>
                    <a:lnTo>
                      <a:pt x="73" y="92"/>
                    </a:lnTo>
                    <a:lnTo>
                      <a:pt x="77" y="92"/>
                    </a:lnTo>
                    <a:lnTo>
                      <a:pt x="81" y="92"/>
                    </a:lnTo>
                    <a:lnTo>
                      <a:pt x="85" y="92"/>
                    </a:lnTo>
                    <a:lnTo>
                      <a:pt x="87" y="97"/>
                    </a:lnTo>
                    <a:lnTo>
                      <a:pt x="87" y="101"/>
                    </a:lnTo>
                    <a:lnTo>
                      <a:pt x="83" y="101"/>
                    </a:lnTo>
                    <a:lnTo>
                      <a:pt x="81" y="104"/>
                    </a:lnTo>
                    <a:lnTo>
                      <a:pt x="81" y="108"/>
                    </a:lnTo>
                    <a:lnTo>
                      <a:pt x="85" y="110"/>
                    </a:lnTo>
                    <a:lnTo>
                      <a:pt x="89" y="110"/>
                    </a:lnTo>
                    <a:lnTo>
                      <a:pt x="93" y="110"/>
                    </a:lnTo>
                    <a:lnTo>
                      <a:pt x="97" y="110"/>
                    </a:lnTo>
                    <a:lnTo>
                      <a:pt x="101" y="112"/>
                    </a:lnTo>
                    <a:lnTo>
                      <a:pt x="103" y="115"/>
                    </a:lnTo>
                    <a:lnTo>
                      <a:pt x="105" y="119"/>
                    </a:lnTo>
                    <a:lnTo>
                      <a:pt x="105" y="123"/>
                    </a:lnTo>
                    <a:lnTo>
                      <a:pt x="103" y="126"/>
                    </a:lnTo>
                    <a:lnTo>
                      <a:pt x="103" y="130"/>
                    </a:lnTo>
                    <a:lnTo>
                      <a:pt x="107" y="132"/>
                    </a:lnTo>
                    <a:lnTo>
                      <a:pt x="111" y="132"/>
                    </a:lnTo>
                    <a:lnTo>
                      <a:pt x="115" y="132"/>
                    </a:lnTo>
                    <a:lnTo>
                      <a:pt x="119" y="132"/>
                    </a:lnTo>
                    <a:lnTo>
                      <a:pt x="123" y="132"/>
                    </a:lnTo>
                    <a:lnTo>
                      <a:pt x="127" y="132"/>
                    </a:lnTo>
                    <a:lnTo>
                      <a:pt x="131" y="132"/>
                    </a:lnTo>
                    <a:lnTo>
                      <a:pt x="135" y="132"/>
                    </a:lnTo>
                    <a:lnTo>
                      <a:pt x="139" y="134"/>
                    </a:lnTo>
                    <a:lnTo>
                      <a:pt x="143" y="134"/>
                    </a:lnTo>
                    <a:lnTo>
                      <a:pt x="146" y="132"/>
                    </a:lnTo>
                    <a:lnTo>
                      <a:pt x="148" y="128"/>
                    </a:lnTo>
                    <a:lnTo>
                      <a:pt x="152" y="126"/>
                    </a:lnTo>
                    <a:lnTo>
                      <a:pt x="154" y="123"/>
                    </a:lnTo>
                    <a:lnTo>
                      <a:pt x="158" y="121"/>
                    </a:lnTo>
                    <a:lnTo>
                      <a:pt x="162" y="121"/>
                    </a:lnTo>
                    <a:lnTo>
                      <a:pt x="166" y="123"/>
                    </a:lnTo>
                    <a:lnTo>
                      <a:pt x="166" y="126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68" y="137"/>
                    </a:lnTo>
                    <a:lnTo>
                      <a:pt x="172" y="139"/>
                    </a:lnTo>
                    <a:lnTo>
                      <a:pt x="172" y="143"/>
                    </a:lnTo>
                    <a:lnTo>
                      <a:pt x="172" y="147"/>
                    </a:lnTo>
                    <a:lnTo>
                      <a:pt x="176" y="148"/>
                    </a:lnTo>
                    <a:lnTo>
                      <a:pt x="180" y="148"/>
                    </a:lnTo>
                    <a:lnTo>
                      <a:pt x="184" y="148"/>
                    </a:lnTo>
                    <a:lnTo>
                      <a:pt x="188" y="147"/>
                    </a:lnTo>
                    <a:lnTo>
                      <a:pt x="194" y="148"/>
                    </a:lnTo>
                    <a:lnTo>
                      <a:pt x="200" y="150"/>
                    </a:lnTo>
                    <a:lnTo>
                      <a:pt x="204" y="150"/>
                    </a:lnTo>
                    <a:lnTo>
                      <a:pt x="208" y="152"/>
                    </a:lnTo>
                    <a:lnTo>
                      <a:pt x="212" y="150"/>
                    </a:lnTo>
                    <a:lnTo>
                      <a:pt x="212" y="147"/>
                    </a:lnTo>
                    <a:lnTo>
                      <a:pt x="216" y="145"/>
                    </a:lnTo>
                    <a:lnTo>
                      <a:pt x="220" y="143"/>
                    </a:lnTo>
                    <a:lnTo>
                      <a:pt x="224" y="141"/>
                    </a:lnTo>
                    <a:lnTo>
                      <a:pt x="228" y="139"/>
                    </a:lnTo>
                    <a:lnTo>
                      <a:pt x="232" y="139"/>
                    </a:lnTo>
                    <a:lnTo>
                      <a:pt x="236" y="137"/>
                    </a:lnTo>
                    <a:lnTo>
                      <a:pt x="240" y="137"/>
                    </a:lnTo>
                    <a:lnTo>
                      <a:pt x="245" y="137"/>
                    </a:lnTo>
                    <a:lnTo>
                      <a:pt x="249" y="137"/>
                    </a:lnTo>
                    <a:lnTo>
                      <a:pt x="253" y="137"/>
                    </a:lnTo>
                    <a:lnTo>
                      <a:pt x="257" y="137"/>
                    </a:lnTo>
                    <a:lnTo>
                      <a:pt x="261" y="137"/>
                    </a:lnTo>
                    <a:lnTo>
                      <a:pt x="265" y="137"/>
                    </a:lnTo>
                    <a:lnTo>
                      <a:pt x="269" y="137"/>
                    </a:lnTo>
                    <a:lnTo>
                      <a:pt x="273" y="139"/>
                    </a:lnTo>
                    <a:lnTo>
                      <a:pt x="275" y="136"/>
                    </a:lnTo>
                    <a:lnTo>
                      <a:pt x="273" y="132"/>
                    </a:lnTo>
                    <a:lnTo>
                      <a:pt x="273" y="128"/>
                    </a:lnTo>
                    <a:lnTo>
                      <a:pt x="275" y="125"/>
                    </a:lnTo>
                    <a:lnTo>
                      <a:pt x="279" y="123"/>
                    </a:lnTo>
                    <a:lnTo>
                      <a:pt x="283" y="121"/>
                    </a:lnTo>
                    <a:lnTo>
                      <a:pt x="281" y="115"/>
                    </a:lnTo>
                    <a:lnTo>
                      <a:pt x="279" y="112"/>
                    </a:lnTo>
                    <a:lnTo>
                      <a:pt x="281" y="108"/>
                    </a:lnTo>
                    <a:lnTo>
                      <a:pt x="285" y="106"/>
                    </a:lnTo>
                    <a:lnTo>
                      <a:pt x="287" y="103"/>
                    </a:lnTo>
                    <a:lnTo>
                      <a:pt x="287" y="99"/>
                    </a:lnTo>
                    <a:lnTo>
                      <a:pt x="285" y="95"/>
                    </a:lnTo>
                    <a:lnTo>
                      <a:pt x="281" y="93"/>
                    </a:lnTo>
                    <a:lnTo>
                      <a:pt x="277" y="92"/>
                    </a:lnTo>
                    <a:lnTo>
                      <a:pt x="273" y="92"/>
                    </a:lnTo>
                    <a:lnTo>
                      <a:pt x="269" y="92"/>
                    </a:lnTo>
                    <a:lnTo>
                      <a:pt x="263" y="93"/>
                    </a:lnTo>
                    <a:lnTo>
                      <a:pt x="259" y="93"/>
                    </a:lnTo>
                    <a:lnTo>
                      <a:pt x="255" y="95"/>
                    </a:lnTo>
                    <a:lnTo>
                      <a:pt x="251" y="97"/>
                    </a:lnTo>
                    <a:lnTo>
                      <a:pt x="247" y="97"/>
                    </a:lnTo>
                    <a:lnTo>
                      <a:pt x="243" y="97"/>
                    </a:lnTo>
                    <a:lnTo>
                      <a:pt x="240" y="97"/>
                    </a:lnTo>
                    <a:lnTo>
                      <a:pt x="236" y="97"/>
                    </a:lnTo>
                    <a:lnTo>
                      <a:pt x="234" y="93"/>
                    </a:lnTo>
                    <a:lnTo>
                      <a:pt x="230" y="90"/>
                    </a:lnTo>
                    <a:lnTo>
                      <a:pt x="228" y="86"/>
                    </a:lnTo>
                    <a:lnTo>
                      <a:pt x="226" y="82"/>
                    </a:lnTo>
                    <a:lnTo>
                      <a:pt x="226" y="79"/>
                    </a:lnTo>
                    <a:lnTo>
                      <a:pt x="224" y="75"/>
                    </a:lnTo>
                    <a:lnTo>
                      <a:pt x="220" y="71"/>
                    </a:lnTo>
                    <a:lnTo>
                      <a:pt x="216" y="70"/>
                    </a:lnTo>
                    <a:lnTo>
                      <a:pt x="210" y="68"/>
                    </a:lnTo>
                    <a:lnTo>
                      <a:pt x="206" y="66"/>
                    </a:lnTo>
                    <a:lnTo>
                      <a:pt x="202" y="66"/>
                    </a:lnTo>
                    <a:lnTo>
                      <a:pt x="200" y="62"/>
                    </a:lnTo>
                    <a:lnTo>
                      <a:pt x="200" y="57"/>
                    </a:lnTo>
                    <a:lnTo>
                      <a:pt x="200" y="53"/>
                    </a:lnTo>
                    <a:lnTo>
                      <a:pt x="198" y="49"/>
                    </a:lnTo>
                    <a:lnTo>
                      <a:pt x="198" y="46"/>
                    </a:lnTo>
                    <a:lnTo>
                      <a:pt x="194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0" y="44"/>
                    </a:lnTo>
                    <a:lnTo>
                      <a:pt x="176" y="42"/>
                    </a:lnTo>
                    <a:lnTo>
                      <a:pt x="172" y="42"/>
                    </a:lnTo>
                    <a:lnTo>
                      <a:pt x="170" y="37"/>
                    </a:lnTo>
                    <a:lnTo>
                      <a:pt x="168" y="33"/>
                    </a:lnTo>
                    <a:lnTo>
                      <a:pt x="170" y="29"/>
                    </a:lnTo>
                    <a:lnTo>
                      <a:pt x="166" y="27"/>
                    </a:lnTo>
                    <a:lnTo>
                      <a:pt x="162" y="26"/>
                    </a:lnTo>
                    <a:lnTo>
                      <a:pt x="158" y="26"/>
                    </a:lnTo>
                    <a:lnTo>
                      <a:pt x="154" y="24"/>
                    </a:lnTo>
                    <a:lnTo>
                      <a:pt x="152" y="18"/>
                    </a:lnTo>
                    <a:lnTo>
                      <a:pt x="154" y="15"/>
                    </a:lnTo>
                    <a:lnTo>
                      <a:pt x="154" y="11"/>
                    </a:lnTo>
                    <a:lnTo>
                      <a:pt x="152" y="7"/>
                    </a:lnTo>
                    <a:lnTo>
                      <a:pt x="148" y="7"/>
                    </a:lnTo>
                    <a:lnTo>
                      <a:pt x="144" y="7"/>
                    </a:lnTo>
                    <a:lnTo>
                      <a:pt x="148" y="2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11" name="Freeform 91"/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 rot="21140016">
                <a:off x="1973184" y="3319464"/>
                <a:ext cx="217748" cy="132711"/>
              </a:xfrm>
              <a:custGeom>
                <a:avLst/>
                <a:gdLst>
                  <a:gd name="T0" fmla="*/ 2147483647 w 157"/>
                  <a:gd name="T1" fmla="*/ 2147483647 h 98"/>
                  <a:gd name="T2" fmla="*/ 2147483647 w 157"/>
                  <a:gd name="T3" fmla="*/ 2147483647 h 98"/>
                  <a:gd name="T4" fmla="*/ 2147483647 w 157"/>
                  <a:gd name="T5" fmla="*/ 2147483647 h 98"/>
                  <a:gd name="T6" fmla="*/ 2147483647 w 157"/>
                  <a:gd name="T7" fmla="*/ 2147483647 h 98"/>
                  <a:gd name="T8" fmla="*/ 2147483647 w 157"/>
                  <a:gd name="T9" fmla="*/ 2147483647 h 98"/>
                  <a:gd name="T10" fmla="*/ 2147483647 w 157"/>
                  <a:gd name="T11" fmla="*/ 2147483647 h 98"/>
                  <a:gd name="T12" fmla="*/ 2147483647 w 157"/>
                  <a:gd name="T13" fmla="*/ 2147483647 h 98"/>
                  <a:gd name="T14" fmla="*/ 2147483647 w 157"/>
                  <a:gd name="T15" fmla="*/ 2147483647 h 98"/>
                  <a:gd name="T16" fmla="*/ 2147483647 w 157"/>
                  <a:gd name="T17" fmla="*/ 2147483647 h 98"/>
                  <a:gd name="T18" fmla="*/ 2147483647 w 157"/>
                  <a:gd name="T19" fmla="*/ 2147483647 h 98"/>
                  <a:gd name="T20" fmla="*/ 2147483647 w 157"/>
                  <a:gd name="T21" fmla="*/ 2147483647 h 98"/>
                  <a:gd name="T22" fmla="*/ 2147483647 w 157"/>
                  <a:gd name="T23" fmla="*/ 2147483647 h 98"/>
                  <a:gd name="T24" fmla="*/ 2147483647 w 157"/>
                  <a:gd name="T25" fmla="*/ 2147483647 h 98"/>
                  <a:gd name="T26" fmla="*/ 2147483647 w 157"/>
                  <a:gd name="T27" fmla="*/ 2147483647 h 98"/>
                  <a:gd name="T28" fmla="*/ 2147483647 w 157"/>
                  <a:gd name="T29" fmla="*/ 2147483647 h 98"/>
                  <a:gd name="T30" fmla="*/ 2147483647 w 157"/>
                  <a:gd name="T31" fmla="*/ 2147483647 h 98"/>
                  <a:gd name="T32" fmla="*/ 2147483647 w 157"/>
                  <a:gd name="T33" fmla="*/ 2147483647 h 98"/>
                  <a:gd name="T34" fmla="*/ 2147483647 w 157"/>
                  <a:gd name="T35" fmla="*/ 2147483647 h 98"/>
                  <a:gd name="T36" fmla="*/ 2147483647 w 157"/>
                  <a:gd name="T37" fmla="*/ 2147483647 h 98"/>
                  <a:gd name="T38" fmla="*/ 2147483647 w 157"/>
                  <a:gd name="T39" fmla="*/ 0 h 98"/>
                  <a:gd name="T40" fmla="*/ 2147483647 w 157"/>
                  <a:gd name="T41" fmla="*/ 2147483647 h 98"/>
                  <a:gd name="T42" fmla="*/ 2147483647 w 157"/>
                  <a:gd name="T43" fmla="*/ 2147483647 h 98"/>
                  <a:gd name="T44" fmla="*/ 2147483647 w 157"/>
                  <a:gd name="T45" fmla="*/ 2147483647 h 98"/>
                  <a:gd name="T46" fmla="*/ 0 w 157"/>
                  <a:gd name="T47" fmla="*/ 2147483647 h 98"/>
                  <a:gd name="T48" fmla="*/ 0 w 157"/>
                  <a:gd name="T49" fmla="*/ 2147483647 h 98"/>
                  <a:gd name="T50" fmla="*/ 2147483647 w 157"/>
                  <a:gd name="T51" fmla="*/ 2147483647 h 98"/>
                  <a:gd name="T52" fmla="*/ 2147483647 w 157"/>
                  <a:gd name="T53" fmla="*/ 2147483647 h 98"/>
                  <a:gd name="T54" fmla="*/ 2147483647 w 157"/>
                  <a:gd name="T55" fmla="*/ 2147483647 h 98"/>
                  <a:gd name="T56" fmla="*/ 2147483647 w 157"/>
                  <a:gd name="T57" fmla="*/ 2147483647 h 98"/>
                  <a:gd name="T58" fmla="*/ 2147483647 w 157"/>
                  <a:gd name="T59" fmla="*/ 2147483647 h 98"/>
                  <a:gd name="T60" fmla="*/ 2147483647 w 157"/>
                  <a:gd name="T61" fmla="*/ 2147483647 h 98"/>
                  <a:gd name="T62" fmla="*/ 2147483647 w 157"/>
                  <a:gd name="T63" fmla="*/ 2147483647 h 98"/>
                  <a:gd name="T64" fmla="*/ 2147483647 w 157"/>
                  <a:gd name="T65" fmla="*/ 2147483647 h 98"/>
                  <a:gd name="T66" fmla="*/ 2147483647 w 157"/>
                  <a:gd name="T67" fmla="*/ 2147483647 h 98"/>
                  <a:gd name="T68" fmla="*/ 2147483647 w 157"/>
                  <a:gd name="T69" fmla="*/ 2147483647 h 98"/>
                  <a:gd name="T70" fmla="*/ 2147483647 w 157"/>
                  <a:gd name="T71" fmla="*/ 2147483647 h 98"/>
                  <a:gd name="T72" fmla="*/ 2147483647 w 157"/>
                  <a:gd name="T73" fmla="*/ 2147483647 h 98"/>
                  <a:gd name="T74" fmla="*/ 2147483647 w 157"/>
                  <a:gd name="T75" fmla="*/ 2147483647 h 98"/>
                  <a:gd name="T76" fmla="*/ 2147483647 w 157"/>
                  <a:gd name="T77" fmla="*/ 2147483647 h 98"/>
                  <a:gd name="T78" fmla="*/ 2147483647 w 157"/>
                  <a:gd name="T79" fmla="*/ 2147483647 h 98"/>
                  <a:gd name="T80" fmla="*/ 2147483647 w 157"/>
                  <a:gd name="T81" fmla="*/ 2147483647 h 98"/>
                  <a:gd name="T82" fmla="*/ 2147483647 w 157"/>
                  <a:gd name="T83" fmla="*/ 2147483647 h 98"/>
                  <a:gd name="T84" fmla="*/ 2147483647 w 157"/>
                  <a:gd name="T85" fmla="*/ 2147483647 h 98"/>
                  <a:gd name="T86" fmla="*/ 2147483647 w 157"/>
                  <a:gd name="T87" fmla="*/ 2147483647 h 98"/>
                  <a:gd name="T88" fmla="*/ 2147483647 w 157"/>
                  <a:gd name="T89" fmla="*/ 2147483647 h 98"/>
                  <a:gd name="T90" fmla="*/ 2147483647 w 157"/>
                  <a:gd name="T91" fmla="*/ 2147483647 h 98"/>
                  <a:gd name="T92" fmla="*/ 2147483647 w 157"/>
                  <a:gd name="T93" fmla="*/ 2147483647 h 98"/>
                  <a:gd name="T94" fmla="*/ 2147483647 w 157"/>
                  <a:gd name="T95" fmla="*/ 2147483647 h 98"/>
                  <a:gd name="T96" fmla="*/ 2147483647 w 157"/>
                  <a:gd name="T97" fmla="*/ 2147483647 h 98"/>
                  <a:gd name="T98" fmla="*/ 2147483647 w 157"/>
                  <a:gd name="T99" fmla="*/ 2147483647 h 98"/>
                  <a:gd name="T100" fmla="*/ 2147483647 w 157"/>
                  <a:gd name="T101" fmla="*/ 2147483647 h 98"/>
                  <a:gd name="T102" fmla="*/ 2147483647 w 157"/>
                  <a:gd name="T103" fmla="*/ 2147483647 h 98"/>
                  <a:gd name="T104" fmla="*/ 2147483647 w 157"/>
                  <a:gd name="T105" fmla="*/ 2147483647 h 9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57"/>
                  <a:gd name="T160" fmla="*/ 0 h 98"/>
                  <a:gd name="T161" fmla="*/ 157 w 157"/>
                  <a:gd name="T162" fmla="*/ 98 h 9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57" h="98">
                    <a:moveTo>
                      <a:pt x="150" y="73"/>
                    </a:moveTo>
                    <a:lnTo>
                      <a:pt x="154" y="73"/>
                    </a:lnTo>
                    <a:lnTo>
                      <a:pt x="156" y="70"/>
                    </a:lnTo>
                    <a:lnTo>
                      <a:pt x="156" y="66"/>
                    </a:lnTo>
                    <a:lnTo>
                      <a:pt x="152" y="62"/>
                    </a:lnTo>
                    <a:lnTo>
                      <a:pt x="148" y="62"/>
                    </a:lnTo>
                    <a:lnTo>
                      <a:pt x="144" y="60"/>
                    </a:lnTo>
                    <a:lnTo>
                      <a:pt x="140" y="60"/>
                    </a:lnTo>
                    <a:lnTo>
                      <a:pt x="136" y="59"/>
                    </a:lnTo>
                    <a:lnTo>
                      <a:pt x="134" y="55"/>
                    </a:lnTo>
                    <a:lnTo>
                      <a:pt x="134" y="51"/>
                    </a:lnTo>
                    <a:lnTo>
                      <a:pt x="132" y="48"/>
                    </a:lnTo>
                    <a:lnTo>
                      <a:pt x="132" y="44"/>
                    </a:lnTo>
                    <a:lnTo>
                      <a:pt x="130" y="40"/>
                    </a:lnTo>
                    <a:lnTo>
                      <a:pt x="126" y="40"/>
                    </a:lnTo>
                    <a:lnTo>
                      <a:pt x="122" y="42"/>
                    </a:lnTo>
                    <a:lnTo>
                      <a:pt x="118" y="42"/>
                    </a:lnTo>
                    <a:lnTo>
                      <a:pt x="115" y="42"/>
                    </a:lnTo>
                    <a:lnTo>
                      <a:pt x="113" y="38"/>
                    </a:lnTo>
                    <a:lnTo>
                      <a:pt x="111" y="35"/>
                    </a:lnTo>
                    <a:lnTo>
                      <a:pt x="111" y="31"/>
                    </a:lnTo>
                    <a:lnTo>
                      <a:pt x="111" y="27"/>
                    </a:lnTo>
                    <a:lnTo>
                      <a:pt x="109" y="24"/>
                    </a:lnTo>
                    <a:lnTo>
                      <a:pt x="105" y="24"/>
                    </a:lnTo>
                    <a:lnTo>
                      <a:pt x="101" y="22"/>
                    </a:lnTo>
                    <a:lnTo>
                      <a:pt x="95" y="18"/>
                    </a:lnTo>
                    <a:lnTo>
                      <a:pt x="91" y="16"/>
                    </a:lnTo>
                    <a:lnTo>
                      <a:pt x="87" y="15"/>
                    </a:lnTo>
                    <a:lnTo>
                      <a:pt x="83" y="15"/>
                    </a:lnTo>
                    <a:lnTo>
                      <a:pt x="77" y="15"/>
                    </a:lnTo>
                    <a:lnTo>
                      <a:pt x="71" y="15"/>
                    </a:lnTo>
                    <a:lnTo>
                      <a:pt x="67" y="15"/>
                    </a:lnTo>
                    <a:lnTo>
                      <a:pt x="63" y="15"/>
                    </a:lnTo>
                    <a:lnTo>
                      <a:pt x="57" y="13"/>
                    </a:lnTo>
                    <a:lnTo>
                      <a:pt x="53" y="9"/>
                    </a:lnTo>
                    <a:lnTo>
                      <a:pt x="49" y="5"/>
                    </a:lnTo>
                    <a:lnTo>
                      <a:pt x="45" y="4"/>
                    </a:lnTo>
                    <a:lnTo>
                      <a:pt x="41" y="2"/>
                    </a:lnTo>
                    <a:lnTo>
                      <a:pt x="38" y="2"/>
                    </a:lnTo>
                    <a:lnTo>
                      <a:pt x="34" y="0"/>
                    </a:lnTo>
                    <a:lnTo>
                      <a:pt x="28" y="2"/>
                    </a:lnTo>
                    <a:lnTo>
                      <a:pt x="24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2" y="2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13"/>
                    </a:lnTo>
                    <a:lnTo>
                      <a:pt x="2" y="16"/>
                    </a:lnTo>
                    <a:lnTo>
                      <a:pt x="2" y="20"/>
                    </a:lnTo>
                    <a:lnTo>
                      <a:pt x="2" y="24"/>
                    </a:lnTo>
                    <a:lnTo>
                      <a:pt x="2" y="27"/>
                    </a:lnTo>
                    <a:lnTo>
                      <a:pt x="2" y="31"/>
                    </a:lnTo>
                    <a:lnTo>
                      <a:pt x="6" y="33"/>
                    </a:lnTo>
                    <a:lnTo>
                      <a:pt x="10" y="35"/>
                    </a:lnTo>
                    <a:lnTo>
                      <a:pt x="14" y="37"/>
                    </a:lnTo>
                    <a:lnTo>
                      <a:pt x="18" y="40"/>
                    </a:lnTo>
                    <a:lnTo>
                      <a:pt x="20" y="44"/>
                    </a:lnTo>
                    <a:lnTo>
                      <a:pt x="22" y="48"/>
                    </a:lnTo>
                    <a:lnTo>
                      <a:pt x="24" y="51"/>
                    </a:lnTo>
                    <a:lnTo>
                      <a:pt x="26" y="55"/>
                    </a:lnTo>
                    <a:lnTo>
                      <a:pt x="30" y="59"/>
                    </a:lnTo>
                    <a:lnTo>
                      <a:pt x="34" y="60"/>
                    </a:lnTo>
                    <a:lnTo>
                      <a:pt x="36" y="64"/>
                    </a:lnTo>
                    <a:lnTo>
                      <a:pt x="38" y="68"/>
                    </a:lnTo>
                    <a:lnTo>
                      <a:pt x="39" y="71"/>
                    </a:lnTo>
                    <a:lnTo>
                      <a:pt x="43" y="71"/>
                    </a:lnTo>
                    <a:lnTo>
                      <a:pt x="47" y="71"/>
                    </a:lnTo>
                    <a:lnTo>
                      <a:pt x="51" y="71"/>
                    </a:lnTo>
                    <a:lnTo>
                      <a:pt x="53" y="75"/>
                    </a:lnTo>
                    <a:lnTo>
                      <a:pt x="53" y="79"/>
                    </a:lnTo>
                    <a:lnTo>
                      <a:pt x="53" y="82"/>
                    </a:lnTo>
                    <a:lnTo>
                      <a:pt x="53" y="86"/>
                    </a:lnTo>
                    <a:lnTo>
                      <a:pt x="57" y="86"/>
                    </a:lnTo>
                    <a:lnTo>
                      <a:pt x="61" y="90"/>
                    </a:lnTo>
                    <a:lnTo>
                      <a:pt x="63" y="93"/>
                    </a:lnTo>
                    <a:lnTo>
                      <a:pt x="65" y="97"/>
                    </a:lnTo>
                    <a:lnTo>
                      <a:pt x="69" y="97"/>
                    </a:lnTo>
                    <a:lnTo>
                      <a:pt x="73" y="97"/>
                    </a:lnTo>
                    <a:lnTo>
                      <a:pt x="77" y="97"/>
                    </a:lnTo>
                    <a:lnTo>
                      <a:pt x="79" y="93"/>
                    </a:lnTo>
                    <a:lnTo>
                      <a:pt x="81" y="90"/>
                    </a:lnTo>
                    <a:lnTo>
                      <a:pt x="85" y="88"/>
                    </a:lnTo>
                    <a:lnTo>
                      <a:pt x="89" y="88"/>
                    </a:lnTo>
                    <a:lnTo>
                      <a:pt x="93" y="86"/>
                    </a:lnTo>
                    <a:lnTo>
                      <a:pt x="97" y="86"/>
                    </a:lnTo>
                    <a:lnTo>
                      <a:pt x="101" y="88"/>
                    </a:lnTo>
                    <a:lnTo>
                      <a:pt x="105" y="88"/>
                    </a:lnTo>
                    <a:lnTo>
                      <a:pt x="109" y="90"/>
                    </a:lnTo>
                    <a:lnTo>
                      <a:pt x="113" y="90"/>
                    </a:lnTo>
                    <a:lnTo>
                      <a:pt x="117" y="92"/>
                    </a:lnTo>
                    <a:lnTo>
                      <a:pt x="120" y="93"/>
                    </a:lnTo>
                    <a:lnTo>
                      <a:pt x="124" y="93"/>
                    </a:lnTo>
                    <a:lnTo>
                      <a:pt x="124" y="90"/>
                    </a:lnTo>
                    <a:lnTo>
                      <a:pt x="124" y="86"/>
                    </a:lnTo>
                    <a:lnTo>
                      <a:pt x="128" y="84"/>
                    </a:lnTo>
                    <a:lnTo>
                      <a:pt x="132" y="84"/>
                    </a:lnTo>
                    <a:lnTo>
                      <a:pt x="136" y="81"/>
                    </a:lnTo>
                    <a:lnTo>
                      <a:pt x="140" y="79"/>
                    </a:lnTo>
                    <a:lnTo>
                      <a:pt x="144" y="79"/>
                    </a:lnTo>
                    <a:lnTo>
                      <a:pt x="148" y="79"/>
                    </a:lnTo>
                    <a:lnTo>
                      <a:pt x="152" y="79"/>
                    </a:lnTo>
                    <a:lnTo>
                      <a:pt x="152" y="75"/>
                    </a:lnTo>
                    <a:lnTo>
                      <a:pt x="150" y="73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12" name="Freeform 92"/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auto">
              <a:xfrm rot="21140016">
                <a:off x="1876655" y="3314807"/>
                <a:ext cx="193056" cy="197903"/>
              </a:xfrm>
              <a:custGeom>
                <a:avLst/>
                <a:gdLst>
                  <a:gd name="T0" fmla="*/ 2147483647 w 137"/>
                  <a:gd name="T1" fmla="*/ 2147483647 h 149"/>
                  <a:gd name="T2" fmla="*/ 2147483647 w 137"/>
                  <a:gd name="T3" fmla="*/ 2147483647 h 149"/>
                  <a:gd name="T4" fmla="*/ 2147483647 w 137"/>
                  <a:gd name="T5" fmla="*/ 2147483647 h 149"/>
                  <a:gd name="T6" fmla="*/ 2147483647 w 137"/>
                  <a:gd name="T7" fmla="*/ 2147483647 h 149"/>
                  <a:gd name="T8" fmla="*/ 2147483647 w 137"/>
                  <a:gd name="T9" fmla="*/ 2147483647 h 149"/>
                  <a:gd name="T10" fmla="*/ 2147483647 w 137"/>
                  <a:gd name="T11" fmla="*/ 2147483647 h 149"/>
                  <a:gd name="T12" fmla="*/ 2147483647 w 137"/>
                  <a:gd name="T13" fmla="*/ 2147483647 h 149"/>
                  <a:gd name="T14" fmla="*/ 2147483647 w 137"/>
                  <a:gd name="T15" fmla="*/ 2147483647 h 149"/>
                  <a:gd name="T16" fmla="*/ 2147483647 w 137"/>
                  <a:gd name="T17" fmla="*/ 2147483647 h 149"/>
                  <a:gd name="T18" fmla="*/ 2147483647 w 137"/>
                  <a:gd name="T19" fmla="*/ 2147483647 h 149"/>
                  <a:gd name="T20" fmla="*/ 2147483647 w 137"/>
                  <a:gd name="T21" fmla="*/ 2147483647 h 149"/>
                  <a:gd name="T22" fmla="*/ 2147483647 w 137"/>
                  <a:gd name="T23" fmla="*/ 0 h 149"/>
                  <a:gd name="T24" fmla="*/ 2147483647 w 137"/>
                  <a:gd name="T25" fmla="*/ 2147483647 h 149"/>
                  <a:gd name="T26" fmla="*/ 2147483647 w 137"/>
                  <a:gd name="T27" fmla="*/ 2147483647 h 149"/>
                  <a:gd name="T28" fmla="*/ 2147483647 w 137"/>
                  <a:gd name="T29" fmla="*/ 2147483647 h 149"/>
                  <a:gd name="T30" fmla="*/ 2147483647 w 137"/>
                  <a:gd name="T31" fmla="*/ 2147483647 h 149"/>
                  <a:gd name="T32" fmla="*/ 0 w 137"/>
                  <a:gd name="T33" fmla="*/ 2147483647 h 149"/>
                  <a:gd name="T34" fmla="*/ 2147483647 w 137"/>
                  <a:gd name="T35" fmla="*/ 2147483647 h 149"/>
                  <a:gd name="T36" fmla="*/ 2147483647 w 137"/>
                  <a:gd name="T37" fmla="*/ 2147483647 h 149"/>
                  <a:gd name="T38" fmla="*/ 2147483647 w 137"/>
                  <a:gd name="T39" fmla="*/ 2147483647 h 149"/>
                  <a:gd name="T40" fmla="*/ 2147483647 w 137"/>
                  <a:gd name="T41" fmla="*/ 2147483647 h 149"/>
                  <a:gd name="T42" fmla="*/ 2147483647 w 137"/>
                  <a:gd name="T43" fmla="*/ 2147483647 h 149"/>
                  <a:gd name="T44" fmla="*/ 2147483647 w 137"/>
                  <a:gd name="T45" fmla="*/ 2147483647 h 149"/>
                  <a:gd name="T46" fmla="*/ 2147483647 w 137"/>
                  <a:gd name="T47" fmla="*/ 2147483647 h 149"/>
                  <a:gd name="T48" fmla="*/ 2147483647 w 137"/>
                  <a:gd name="T49" fmla="*/ 2147483647 h 149"/>
                  <a:gd name="T50" fmla="*/ 2147483647 w 137"/>
                  <a:gd name="T51" fmla="*/ 2147483647 h 149"/>
                  <a:gd name="T52" fmla="*/ 2147483647 w 137"/>
                  <a:gd name="T53" fmla="*/ 2147483647 h 149"/>
                  <a:gd name="T54" fmla="*/ 2147483647 w 137"/>
                  <a:gd name="T55" fmla="*/ 2147483647 h 149"/>
                  <a:gd name="T56" fmla="*/ 2147483647 w 137"/>
                  <a:gd name="T57" fmla="*/ 2147483647 h 149"/>
                  <a:gd name="T58" fmla="*/ 2147483647 w 137"/>
                  <a:gd name="T59" fmla="*/ 2147483647 h 149"/>
                  <a:gd name="T60" fmla="*/ 2147483647 w 137"/>
                  <a:gd name="T61" fmla="*/ 2147483647 h 149"/>
                  <a:gd name="T62" fmla="*/ 2147483647 w 137"/>
                  <a:gd name="T63" fmla="*/ 2147483647 h 149"/>
                  <a:gd name="T64" fmla="*/ 2147483647 w 137"/>
                  <a:gd name="T65" fmla="*/ 2147483647 h 149"/>
                  <a:gd name="T66" fmla="*/ 2147483647 w 137"/>
                  <a:gd name="T67" fmla="*/ 2147483647 h 149"/>
                  <a:gd name="T68" fmla="*/ 2147483647 w 137"/>
                  <a:gd name="T69" fmla="*/ 2147483647 h 149"/>
                  <a:gd name="T70" fmla="*/ 2147483647 w 137"/>
                  <a:gd name="T71" fmla="*/ 2147483647 h 149"/>
                  <a:gd name="T72" fmla="*/ 2147483647 w 137"/>
                  <a:gd name="T73" fmla="*/ 2147483647 h 149"/>
                  <a:gd name="T74" fmla="*/ 2147483647 w 137"/>
                  <a:gd name="T75" fmla="*/ 2147483647 h 149"/>
                  <a:gd name="T76" fmla="*/ 2147483647 w 137"/>
                  <a:gd name="T77" fmla="*/ 2147483647 h 149"/>
                  <a:gd name="T78" fmla="*/ 2147483647 w 137"/>
                  <a:gd name="T79" fmla="*/ 2147483647 h 149"/>
                  <a:gd name="T80" fmla="*/ 2147483647 w 137"/>
                  <a:gd name="T81" fmla="*/ 2147483647 h 149"/>
                  <a:gd name="T82" fmla="*/ 2147483647 w 137"/>
                  <a:gd name="T83" fmla="*/ 2147483647 h 149"/>
                  <a:gd name="T84" fmla="*/ 2147483647 w 137"/>
                  <a:gd name="T85" fmla="*/ 2147483647 h 149"/>
                  <a:gd name="T86" fmla="*/ 2147483647 w 137"/>
                  <a:gd name="T87" fmla="*/ 2147483647 h 149"/>
                  <a:gd name="T88" fmla="*/ 2147483647 w 137"/>
                  <a:gd name="T89" fmla="*/ 2147483647 h 149"/>
                  <a:gd name="T90" fmla="*/ 2147483647 w 137"/>
                  <a:gd name="T91" fmla="*/ 2147483647 h 149"/>
                  <a:gd name="T92" fmla="*/ 2147483647 w 137"/>
                  <a:gd name="T93" fmla="*/ 2147483647 h 149"/>
                  <a:gd name="T94" fmla="*/ 2147483647 w 137"/>
                  <a:gd name="T95" fmla="*/ 2147483647 h 149"/>
                  <a:gd name="T96" fmla="*/ 2147483647 w 137"/>
                  <a:gd name="T97" fmla="*/ 2147483647 h 149"/>
                  <a:gd name="T98" fmla="*/ 2147483647 w 137"/>
                  <a:gd name="T99" fmla="*/ 2147483647 h 149"/>
                  <a:gd name="T100" fmla="*/ 2147483647 w 137"/>
                  <a:gd name="T101" fmla="*/ 2147483647 h 149"/>
                  <a:gd name="T102" fmla="*/ 2147483647 w 137"/>
                  <a:gd name="T103" fmla="*/ 2147483647 h 149"/>
                  <a:gd name="T104" fmla="*/ 2147483647 w 137"/>
                  <a:gd name="T105" fmla="*/ 2147483647 h 149"/>
                  <a:gd name="T106" fmla="*/ 2147483647 w 137"/>
                  <a:gd name="T107" fmla="*/ 2147483647 h 149"/>
                  <a:gd name="T108" fmla="*/ 2147483647 w 137"/>
                  <a:gd name="T109" fmla="*/ 2147483647 h 149"/>
                  <a:gd name="T110" fmla="*/ 2147483647 w 137"/>
                  <a:gd name="T111" fmla="*/ 2147483647 h 149"/>
                  <a:gd name="T112" fmla="*/ 2147483647 w 137"/>
                  <a:gd name="T113" fmla="*/ 2147483647 h 149"/>
                  <a:gd name="T114" fmla="*/ 2147483647 w 137"/>
                  <a:gd name="T115" fmla="*/ 2147483647 h 149"/>
                  <a:gd name="T116" fmla="*/ 2147483647 w 137"/>
                  <a:gd name="T117" fmla="*/ 2147483647 h 14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37"/>
                  <a:gd name="T178" fmla="*/ 0 h 149"/>
                  <a:gd name="T179" fmla="*/ 137 w 137"/>
                  <a:gd name="T180" fmla="*/ 149 h 149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37" h="149">
                    <a:moveTo>
                      <a:pt x="89" y="62"/>
                    </a:moveTo>
                    <a:lnTo>
                      <a:pt x="87" y="57"/>
                    </a:lnTo>
                    <a:lnTo>
                      <a:pt x="85" y="53"/>
                    </a:lnTo>
                    <a:lnTo>
                      <a:pt x="81" y="51"/>
                    </a:lnTo>
                    <a:lnTo>
                      <a:pt x="77" y="49"/>
                    </a:lnTo>
                    <a:lnTo>
                      <a:pt x="73" y="48"/>
                    </a:lnTo>
                    <a:lnTo>
                      <a:pt x="71" y="44"/>
                    </a:lnTo>
                    <a:lnTo>
                      <a:pt x="69" y="40"/>
                    </a:lnTo>
                    <a:lnTo>
                      <a:pt x="69" y="37"/>
                    </a:lnTo>
                    <a:lnTo>
                      <a:pt x="71" y="33"/>
                    </a:lnTo>
                    <a:lnTo>
                      <a:pt x="71" y="29"/>
                    </a:lnTo>
                    <a:lnTo>
                      <a:pt x="69" y="26"/>
                    </a:lnTo>
                    <a:lnTo>
                      <a:pt x="65" y="22"/>
                    </a:lnTo>
                    <a:lnTo>
                      <a:pt x="61" y="20"/>
                    </a:lnTo>
                    <a:lnTo>
                      <a:pt x="57" y="18"/>
                    </a:lnTo>
                    <a:lnTo>
                      <a:pt x="53" y="18"/>
                    </a:lnTo>
                    <a:lnTo>
                      <a:pt x="49" y="18"/>
                    </a:lnTo>
                    <a:lnTo>
                      <a:pt x="45" y="16"/>
                    </a:lnTo>
                    <a:lnTo>
                      <a:pt x="43" y="13"/>
                    </a:lnTo>
                    <a:lnTo>
                      <a:pt x="41" y="9"/>
                    </a:lnTo>
                    <a:lnTo>
                      <a:pt x="39" y="5"/>
                    </a:lnTo>
                    <a:lnTo>
                      <a:pt x="37" y="2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24" y="4"/>
                    </a:lnTo>
                    <a:lnTo>
                      <a:pt x="22" y="7"/>
                    </a:lnTo>
                    <a:lnTo>
                      <a:pt x="20" y="11"/>
                    </a:lnTo>
                    <a:lnTo>
                      <a:pt x="16" y="13"/>
                    </a:lnTo>
                    <a:lnTo>
                      <a:pt x="12" y="15"/>
                    </a:lnTo>
                    <a:lnTo>
                      <a:pt x="10" y="18"/>
                    </a:lnTo>
                    <a:lnTo>
                      <a:pt x="8" y="22"/>
                    </a:lnTo>
                    <a:lnTo>
                      <a:pt x="4" y="24"/>
                    </a:lnTo>
                    <a:lnTo>
                      <a:pt x="2" y="27"/>
                    </a:lnTo>
                    <a:lnTo>
                      <a:pt x="0" y="31"/>
                    </a:lnTo>
                    <a:lnTo>
                      <a:pt x="2" y="35"/>
                    </a:lnTo>
                    <a:lnTo>
                      <a:pt x="4" y="38"/>
                    </a:lnTo>
                    <a:lnTo>
                      <a:pt x="8" y="40"/>
                    </a:lnTo>
                    <a:lnTo>
                      <a:pt x="10" y="44"/>
                    </a:lnTo>
                    <a:lnTo>
                      <a:pt x="10" y="48"/>
                    </a:lnTo>
                    <a:lnTo>
                      <a:pt x="10" y="51"/>
                    </a:lnTo>
                    <a:lnTo>
                      <a:pt x="10" y="55"/>
                    </a:lnTo>
                    <a:lnTo>
                      <a:pt x="12" y="59"/>
                    </a:lnTo>
                    <a:lnTo>
                      <a:pt x="14" y="62"/>
                    </a:lnTo>
                    <a:lnTo>
                      <a:pt x="18" y="64"/>
                    </a:lnTo>
                    <a:lnTo>
                      <a:pt x="22" y="66"/>
                    </a:lnTo>
                    <a:lnTo>
                      <a:pt x="22" y="69"/>
                    </a:lnTo>
                    <a:lnTo>
                      <a:pt x="22" y="73"/>
                    </a:lnTo>
                    <a:lnTo>
                      <a:pt x="22" y="79"/>
                    </a:lnTo>
                    <a:lnTo>
                      <a:pt x="18" y="82"/>
                    </a:lnTo>
                    <a:lnTo>
                      <a:pt x="14" y="86"/>
                    </a:lnTo>
                    <a:lnTo>
                      <a:pt x="12" y="90"/>
                    </a:lnTo>
                    <a:lnTo>
                      <a:pt x="12" y="93"/>
                    </a:lnTo>
                    <a:lnTo>
                      <a:pt x="12" y="97"/>
                    </a:lnTo>
                    <a:lnTo>
                      <a:pt x="12" y="101"/>
                    </a:lnTo>
                    <a:lnTo>
                      <a:pt x="10" y="104"/>
                    </a:lnTo>
                    <a:lnTo>
                      <a:pt x="8" y="108"/>
                    </a:lnTo>
                    <a:lnTo>
                      <a:pt x="8" y="112"/>
                    </a:lnTo>
                    <a:lnTo>
                      <a:pt x="10" y="115"/>
                    </a:lnTo>
                    <a:lnTo>
                      <a:pt x="14" y="115"/>
                    </a:lnTo>
                    <a:lnTo>
                      <a:pt x="18" y="117"/>
                    </a:lnTo>
                    <a:lnTo>
                      <a:pt x="24" y="119"/>
                    </a:lnTo>
                    <a:lnTo>
                      <a:pt x="26" y="122"/>
                    </a:lnTo>
                    <a:lnTo>
                      <a:pt x="28" y="126"/>
                    </a:lnTo>
                    <a:lnTo>
                      <a:pt x="28" y="130"/>
                    </a:lnTo>
                    <a:lnTo>
                      <a:pt x="32" y="130"/>
                    </a:lnTo>
                    <a:lnTo>
                      <a:pt x="34" y="133"/>
                    </a:lnTo>
                    <a:lnTo>
                      <a:pt x="37" y="137"/>
                    </a:lnTo>
                    <a:lnTo>
                      <a:pt x="41" y="139"/>
                    </a:lnTo>
                    <a:lnTo>
                      <a:pt x="41" y="143"/>
                    </a:lnTo>
                    <a:lnTo>
                      <a:pt x="43" y="146"/>
                    </a:lnTo>
                    <a:lnTo>
                      <a:pt x="47" y="148"/>
                    </a:lnTo>
                    <a:lnTo>
                      <a:pt x="51" y="146"/>
                    </a:lnTo>
                    <a:lnTo>
                      <a:pt x="51" y="143"/>
                    </a:lnTo>
                    <a:lnTo>
                      <a:pt x="55" y="143"/>
                    </a:lnTo>
                    <a:lnTo>
                      <a:pt x="59" y="143"/>
                    </a:lnTo>
                    <a:lnTo>
                      <a:pt x="63" y="141"/>
                    </a:lnTo>
                    <a:lnTo>
                      <a:pt x="67" y="141"/>
                    </a:lnTo>
                    <a:lnTo>
                      <a:pt x="71" y="141"/>
                    </a:lnTo>
                    <a:lnTo>
                      <a:pt x="75" y="141"/>
                    </a:lnTo>
                    <a:lnTo>
                      <a:pt x="75" y="137"/>
                    </a:lnTo>
                    <a:lnTo>
                      <a:pt x="77" y="133"/>
                    </a:lnTo>
                    <a:lnTo>
                      <a:pt x="81" y="132"/>
                    </a:lnTo>
                    <a:lnTo>
                      <a:pt x="85" y="132"/>
                    </a:lnTo>
                    <a:lnTo>
                      <a:pt x="89" y="132"/>
                    </a:lnTo>
                    <a:lnTo>
                      <a:pt x="93" y="132"/>
                    </a:lnTo>
                    <a:lnTo>
                      <a:pt x="97" y="130"/>
                    </a:lnTo>
                    <a:lnTo>
                      <a:pt x="101" y="128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12" y="126"/>
                    </a:lnTo>
                    <a:lnTo>
                      <a:pt x="116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6" y="121"/>
                    </a:lnTo>
                    <a:lnTo>
                      <a:pt x="130" y="121"/>
                    </a:lnTo>
                    <a:lnTo>
                      <a:pt x="134" y="121"/>
                    </a:lnTo>
                    <a:lnTo>
                      <a:pt x="136" y="117"/>
                    </a:lnTo>
                    <a:lnTo>
                      <a:pt x="136" y="113"/>
                    </a:lnTo>
                    <a:lnTo>
                      <a:pt x="132" y="110"/>
                    </a:lnTo>
                    <a:lnTo>
                      <a:pt x="132" y="106"/>
                    </a:lnTo>
                    <a:lnTo>
                      <a:pt x="130" y="102"/>
                    </a:lnTo>
                    <a:lnTo>
                      <a:pt x="126" y="101"/>
                    </a:lnTo>
                    <a:lnTo>
                      <a:pt x="126" y="97"/>
                    </a:lnTo>
                    <a:lnTo>
                      <a:pt x="124" y="93"/>
                    </a:lnTo>
                    <a:lnTo>
                      <a:pt x="122" y="90"/>
                    </a:lnTo>
                    <a:lnTo>
                      <a:pt x="122" y="86"/>
                    </a:lnTo>
                    <a:lnTo>
                      <a:pt x="118" y="84"/>
                    </a:lnTo>
                    <a:lnTo>
                      <a:pt x="114" y="86"/>
                    </a:lnTo>
                    <a:lnTo>
                      <a:pt x="110" y="86"/>
                    </a:lnTo>
                    <a:lnTo>
                      <a:pt x="106" y="84"/>
                    </a:lnTo>
                    <a:lnTo>
                      <a:pt x="103" y="82"/>
                    </a:lnTo>
                    <a:lnTo>
                      <a:pt x="101" y="79"/>
                    </a:lnTo>
                    <a:lnTo>
                      <a:pt x="99" y="75"/>
                    </a:lnTo>
                    <a:lnTo>
                      <a:pt x="99" y="71"/>
                    </a:lnTo>
                    <a:lnTo>
                      <a:pt x="97" y="68"/>
                    </a:lnTo>
                    <a:lnTo>
                      <a:pt x="93" y="68"/>
                    </a:lnTo>
                    <a:lnTo>
                      <a:pt x="91" y="64"/>
                    </a:lnTo>
                    <a:lnTo>
                      <a:pt x="87" y="60"/>
                    </a:lnTo>
                    <a:lnTo>
                      <a:pt x="89" y="62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13" name="Freeform 93"/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 rot="21140016">
                <a:off x="1715027" y="3452175"/>
                <a:ext cx="269380" cy="160652"/>
              </a:xfrm>
              <a:custGeom>
                <a:avLst/>
                <a:gdLst>
                  <a:gd name="T0" fmla="*/ 2147483647 w 191"/>
                  <a:gd name="T1" fmla="*/ 2147483647 h 121"/>
                  <a:gd name="T2" fmla="*/ 2147483647 w 191"/>
                  <a:gd name="T3" fmla="*/ 2147483647 h 121"/>
                  <a:gd name="T4" fmla="*/ 2147483647 w 191"/>
                  <a:gd name="T5" fmla="*/ 2147483647 h 121"/>
                  <a:gd name="T6" fmla="*/ 2147483647 w 191"/>
                  <a:gd name="T7" fmla="*/ 2147483647 h 121"/>
                  <a:gd name="T8" fmla="*/ 2147483647 w 191"/>
                  <a:gd name="T9" fmla="*/ 2147483647 h 121"/>
                  <a:gd name="T10" fmla="*/ 2147483647 w 191"/>
                  <a:gd name="T11" fmla="*/ 2147483647 h 121"/>
                  <a:gd name="T12" fmla="*/ 2147483647 w 191"/>
                  <a:gd name="T13" fmla="*/ 0 h 121"/>
                  <a:gd name="T14" fmla="*/ 2147483647 w 191"/>
                  <a:gd name="T15" fmla="*/ 2147483647 h 121"/>
                  <a:gd name="T16" fmla="*/ 2147483647 w 191"/>
                  <a:gd name="T17" fmla="*/ 2147483647 h 121"/>
                  <a:gd name="T18" fmla="*/ 2147483647 w 191"/>
                  <a:gd name="T19" fmla="*/ 2147483647 h 121"/>
                  <a:gd name="T20" fmla="*/ 2147483647 w 191"/>
                  <a:gd name="T21" fmla="*/ 2147483647 h 121"/>
                  <a:gd name="T22" fmla="*/ 2147483647 w 191"/>
                  <a:gd name="T23" fmla="*/ 2147483647 h 121"/>
                  <a:gd name="T24" fmla="*/ 2147483647 w 191"/>
                  <a:gd name="T25" fmla="*/ 2147483647 h 121"/>
                  <a:gd name="T26" fmla="*/ 2147483647 w 191"/>
                  <a:gd name="T27" fmla="*/ 2147483647 h 121"/>
                  <a:gd name="T28" fmla="*/ 2147483647 w 191"/>
                  <a:gd name="T29" fmla="*/ 2147483647 h 121"/>
                  <a:gd name="T30" fmla="*/ 2147483647 w 191"/>
                  <a:gd name="T31" fmla="*/ 2147483647 h 121"/>
                  <a:gd name="T32" fmla="*/ 2147483647 w 191"/>
                  <a:gd name="T33" fmla="*/ 2147483647 h 121"/>
                  <a:gd name="T34" fmla="*/ 2147483647 w 191"/>
                  <a:gd name="T35" fmla="*/ 2147483647 h 121"/>
                  <a:gd name="T36" fmla="*/ 2147483647 w 191"/>
                  <a:gd name="T37" fmla="*/ 2147483647 h 121"/>
                  <a:gd name="T38" fmla="*/ 2147483647 w 191"/>
                  <a:gd name="T39" fmla="*/ 2147483647 h 121"/>
                  <a:gd name="T40" fmla="*/ 2147483647 w 191"/>
                  <a:gd name="T41" fmla="*/ 2147483647 h 121"/>
                  <a:gd name="T42" fmla="*/ 2147483647 w 191"/>
                  <a:gd name="T43" fmla="*/ 2147483647 h 121"/>
                  <a:gd name="T44" fmla="*/ 2147483647 w 191"/>
                  <a:gd name="T45" fmla="*/ 2147483647 h 121"/>
                  <a:gd name="T46" fmla="*/ 2147483647 w 191"/>
                  <a:gd name="T47" fmla="*/ 2147483647 h 121"/>
                  <a:gd name="T48" fmla="*/ 2147483647 w 191"/>
                  <a:gd name="T49" fmla="*/ 2147483647 h 121"/>
                  <a:gd name="T50" fmla="*/ 2147483647 w 191"/>
                  <a:gd name="T51" fmla="*/ 2147483647 h 121"/>
                  <a:gd name="T52" fmla="*/ 2147483647 w 191"/>
                  <a:gd name="T53" fmla="*/ 2147483647 h 121"/>
                  <a:gd name="T54" fmla="*/ 2147483647 w 191"/>
                  <a:gd name="T55" fmla="*/ 2147483647 h 121"/>
                  <a:gd name="T56" fmla="*/ 2147483647 w 191"/>
                  <a:gd name="T57" fmla="*/ 2147483647 h 121"/>
                  <a:gd name="T58" fmla="*/ 2147483647 w 191"/>
                  <a:gd name="T59" fmla="*/ 2147483647 h 121"/>
                  <a:gd name="T60" fmla="*/ 2147483647 w 191"/>
                  <a:gd name="T61" fmla="*/ 2147483647 h 121"/>
                  <a:gd name="T62" fmla="*/ 2147483647 w 191"/>
                  <a:gd name="T63" fmla="*/ 2147483647 h 121"/>
                  <a:gd name="T64" fmla="*/ 2147483647 w 191"/>
                  <a:gd name="T65" fmla="*/ 2147483647 h 121"/>
                  <a:gd name="T66" fmla="*/ 2147483647 w 191"/>
                  <a:gd name="T67" fmla="*/ 2147483647 h 121"/>
                  <a:gd name="T68" fmla="*/ 2147483647 w 191"/>
                  <a:gd name="T69" fmla="*/ 2147483647 h 121"/>
                  <a:gd name="T70" fmla="*/ 2147483647 w 191"/>
                  <a:gd name="T71" fmla="*/ 2147483647 h 121"/>
                  <a:gd name="T72" fmla="*/ 2147483647 w 191"/>
                  <a:gd name="T73" fmla="*/ 2147483647 h 121"/>
                  <a:gd name="T74" fmla="*/ 2147483647 w 191"/>
                  <a:gd name="T75" fmla="*/ 2147483647 h 121"/>
                  <a:gd name="T76" fmla="*/ 2147483647 w 191"/>
                  <a:gd name="T77" fmla="*/ 2147483647 h 121"/>
                  <a:gd name="T78" fmla="*/ 2147483647 w 191"/>
                  <a:gd name="T79" fmla="*/ 2147483647 h 121"/>
                  <a:gd name="T80" fmla="*/ 2147483647 w 191"/>
                  <a:gd name="T81" fmla="*/ 2147483647 h 121"/>
                  <a:gd name="T82" fmla="*/ 2147483647 w 191"/>
                  <a:gd name="T83" fmla="*/ 2147483647 h 121"/>
                  <a:gd name="T84" fmla="*/ 2147483647 w 191"/>
                  <a:gd name="T85" fmla="*/ 2147483647 h 121"/>
                  <a:gd name="T86" fmla="*/ 2147483647 w 191"/>
                  <a:gd name="T87" fmla="*/ 2147483647 h 121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91"/>
                  <a:gd name="T133" fmla="*/ 0 h 121"/>
                  <a:gd name="T134" fmla="*/ 191 w 191"/>
                  <a:gd name="T135" fmla="*/ 121 h 121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91" h="121">
                    <a:moveTo>
                      <a:pt x="137" y="5"/>
                    </a:moveTo>
                    <a:lnTo>
                      <a:pt x="133" y="5"/>
                    </a:lnTo>
                    <a:lnTo>
                      <a:pt x="127" y="4"/>
                    </a:lnTo>
                    <a:lnTo>
                      <a:pt x="123" y="2"/>
                    </a:lnTo>
                    <a:lnTo>
                      <a:pt x="119" y="2"/>
                    </a:lnTo>
                    <a:lnTo>
                      <a:pt x="115" y="2"/>
                    </a:lnTo>
                    <a:lnTo>
                      <a:pt x="111" y="2"/>
                    </a:lnTo>
                    <a:lnTo>
                      <a:pt x="107" y="2"/>
                    </a:lnTo>
                    <a:lnTo>
                      <a:pt x="103" y="4"/>
                    </a:lnTo>
                    <a:lnTo>
                      <a:pt x="99" y="4"/>
                    </a:lnTo>
                    <a:lnTo>
                      <a:pt x="95" y="5"/>
                    </a:lnTo>
                    <a:lnTo>
                      <a:pt x="91" y="5"/>
                    </a:lnTo>
                    <a:lnTo>
                      <a:pt x="87" y="5"/>
                    </a:lnTo>
                    <a:lnTo>
                      <a:pt x="83" y="4"/>
                    </a:lnTo>
                    <a:lnTo>
                      <a:pt x="77" y="4"/>
                    </a:lnTo>
                    <a:lnTo>
                      <a:pt x="73" y="4"/>
                    </a:lnTo>
                    <a:lnTo>
                      <a:pt x="69" y="4"/>
                    </a:lnTo>
                    <a:lnTo>
                      <a:pt x="65" y="2"/>
                    </a:lnTo>
                    <a:lnTo>
                      <a:pt x="61" y="2"/>
                    </a:lnTo>
                    <a:lnTo>
                      <a:pt x="57" y="0"/>
                    </a:lnTo>
                    <a:lnTo>
                      <a:pt x="53" y="0"/>
                    </a:lnTo>
                    <a:lnTo>
                      <a:pt x="49" y="0"/>
                    </a:lnTo>
                    <a:lnTo>
                      <a:pt x="48" y="4"/>
                    </a:lnTo>
                    <a:lnTo>
                      <a:pt x="46" y="7"/>
                    </a:lnTo>
                    <a:lnTo>
                      <a:pt x="44" y="11"/>
                    </a:lnTo>
                    <a:lnTo>
                      <a:pt x="40" y="11"/>
                    </a:lnTo>
                    <a:lnTo>
                      <a:pt x="36" y="11"/>
                    </a:lnTo>
                    <a:lnTo>
                      <a:pt x="32" y="11"/>
                    </a:lnTo>
                    <a:lnTo>
                      <a:pt x="28" y="11"/>
                    </a:lnTo>
                    <a:lnTo>
                      <a:pt x="28" y="15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26" y="25"/>
                    </a:lnTo>
                    <a:lnTo>
                      <a:pt x="24" y="29"/>
                    </a:lnTo>
                    <a:lnTo>
                      <a:pt x="20" y="31"/>
                    </a:lnTo>
                    <a:lnTo>
                      <a:pt x="18" y="35"/>
                    </a:lnTo>
                    <a:lnTo>
                      <a:pt x="18" y="38"/>
                    </a:lnTo>
                    <a:lnTo>
                      <a:pt x="14" y="40"/>
                    </a:lnTo>
                    <a:lnTo>
                      <a:pt x="12" y="44"/>
                    </a:lnTo>
                    <a:lnTo>
                      <a:pt x="8" y="45"/>
                    </a:lnTo>
                    <a:lnTo>
                      <a:pt x="4" y="45"/>
                    </a:lnTo>
                    <a:lnTo>
                      <a:pt x="2" y="49"/>
                    </a:lnTo>
                    <a:lnTo>
                      <a:pt x="0" y="53"/>
                    </a:lnTo>
                    <a:lnTo>
                      <a:pt x="0" y="56"/>
                    </a:lnTo>
                    <a:lnTo>
                      <a:pt x="4" y="58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6" y="62"/>
                    </a:lnTo>
                    <a:lnTo>
                      <a:pt x="20" y="62"/>
                    </a:lnTo>
                    <a:lnTo>
                      <a:pt x="24" y="62"/>
                    </a:lnTo>
                    <a:lnTo>
                      <a:pt x="28" y="64"/>
                    </a:lnTo>
                    <a:lnTo>
                      <a:pt x="32" y="66"/>
                    </a:lnTo>
                    <a:lnTo>
                      <a:pt x="32" y="69"/>
                    </a:lnTo>
                    <a:lnTo>
                      <a:pt x="32" y="73"/>
                    </a:lnTo>
                    <a:lnTo>
                      <a:pt x="32" y="76"/>
                    </a:lnTo>
                    <a:lnTo>
                      <a:pt x="32" y="80"/>
                    </a:lnTo>
                    <a:lnTo>
                      <a:pt x="32" y="84"/>
                    </a:lnTo>
                    <a:lnTo>
                      <a:pt x="34" y="87"/>
                    </a:lnTo>
                    <a:lnTo>
                      <a:pt x="38" y="89"/>
                    </a:lnTo>
                    <a:lnTo>
                      <a:pt x="42" y="91"/>
                    </a:lnTo>
                    <a:lnTo>
                      <a:pt x="46" y="91"/>
                    </a:lnTo>
                    <a:lnTo>
                      <a:pt x="49" y="89"/>
                    </a:lnTo>
                    <a:lnTo>
                      <a:pt x="53" y="89"/>
                    </a:lnTo>
                    <a:lnTo>
                      <a:pt x="57" y="89"/>
                    </a:lnTo>
                    <a:lnTo>
                      <a:pt x="61" y="91"/>
                    </a:lnTo>
                    <a:lnTo>
                      <a:pt x="63" y="95"/>
                    </a:lnTo>
                    <a:lnTo>
                      <a:pt x="65" y="98"/>
                    </a:lnTo>
                    <a:lnTo>
                      <a:pt x="67" y="102"/>
                    </a:lnTo>
                    <a:lnTo>
                      <a:pt x="69" y="106"/>
                    </a:lnTo>
                    <a:lnTo>
                      <a:pt x="73" y="106"/>
                    </a:lnTo>
                    <a:lnTo>
                      <a:pt x="77" y="104"/>
                    </a:lnTo>
                    <a:lnTo>
                      <a:pt x="81" y="102"/>
                    </a:lnTo>
                    <a:lnTo>
                      <a:pt x="85" y="100"/>
                    </a:lnTo>
                    <a:lnTo>
                      <a:pt x="89" y="100"/>
                    </a:lnTo>
                    <a:lnTo>
                      <a:pt x="93" y="102"/>
                    </a:lnTo>
                    <a:lnTo>
                      <a:pt x="97" y="106"/>
                    </a:lnTo>
                    <a:lnTo>
                      <a:pt x="101" y="107"/>
                    </a:lnTo>
                    <a:lnTo>
                      <a:pt x="101" y="111"/>
                    </a:lnTo>
                    <a:lnTo>
                      <a:pt x="105" y="113"/>
                    </a:lnTo>
                    <a:lnTo>
                      <a:pt x="111" y="115"/>
                    </a:lnTo>
                    <a:lnTo>
                      <a:pt x="113" y="118"/>
                    </a:lnTo>
                    <a:lnTo>
                      <a:pt x="117" y="120"/>
                    </a:lnTo>
                    <a:lnTo>
                      <a:pt x="121" y="120"/>
                    </a:lnTo>
                    <a:lnTo>
                      <a:pt x="125" y="120"/>
                    </a:lnTo>
                    <a:lnTo>
                      <a:pt x="129" y="118"/>
                    </a:lnTo>
                    <a:lnTo>
                      <a:pt x="133" y="118"/>
                    </a:lnTo>
                    <a:lnTo>
                      <a:pt x="137" y="116"/>
                    </a:lnTo>
                    <a:lnTo>
                      <a:pt x="137" y="113"/>
                    </a:lnTo>
                    <a:lnTo>
                      <a:pt x="135" y="109"/>
                    </a:lnTo>
                    <a:lnTo>
                      <a:pt x="139" y="107"/>
                    </a:lnTo>
                    <a:lnTo>
                      <a:pt x="143" y="107"/>
                    </a:lnTo>
                    <a:lnTo>
                      <a:pt x="146" y="109"/>
                    </a:lnTo>
                    <a:lnTo>
                      <a:pt x="150" y="107"/>
                    </a:lnTo>
                    <a:lnTo>
                      <a:pt x="150" y="104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62" y="102"/>
                    </a:lnTo>
                    <a:lnTo>
                      <a:pt x="166" y="102"/>
                    </a:lnTo>
                    <a:lnTo>
                      <a:pt x="166" y="98"/>
                    </a:lnTo>
                    <a:lnTo>
                      <a:pt x="170" y="96"/>
                    </a:lnTo>
                    <a:lnTo>
                      <a:pt x="174" y="95"/>
                    </a:lnTo>
                    <a:lnTo>
                      <a:pt x="178" y="93"/>
                    </a:lnTo>
                    <a:lnTo>
                      <a:pt x="180" y="89"/>
                    </a:lnTo>
                    <a:lnTo>
                      <a:pt x="178" y="86"/>
                    </a:lnTo>
                    <a:lnTo>
                      <a:pt x="178" y="82"/>
                    </a:lnTo>
                    <a:lnTo>
                      <a:pt x="182" y="78"/>
                    </a:lnTo>
                    <a:lnTo>
                      <a:pt x="186" y="78"/>
                    </a:lnTo>
                    <a:lnTo>
                      <a:pt x="188" y="75"/>
                    </a:lnTo>
                    <a:lnTo>
                      <a:pt x="190" y="71"/>
                    </a:lnTo>
                    <a:lnTo>
                      <a:pt x="186" y="71"/>
                    </a:lnTo>
                    <a:lnTo>
                      <a:pt x="184" y="67"/>
                    </a:lnTo>
                    <a:lnTo>
                      <a:pt x="180" y="66"/>
                    </a:lnTo>
                    <a:lnTo>
                      <a:pt x="176" y="64"/>
                    </a:lnTo>
                    <a:lnTo>
                      <a:pt x="176" y="60"/>
                    </a:lnTo>
                    <a:lnTo>
                      <a:pt x="172" y="58"/>
                    </a:lnTo>
                    <a:lnTo>
                      <a:pt x="172" y="55"/>
                    </a:lnTo>
                    <a:lnTo>
                      <a:pt x="172" y="51"/>
                    </a:lnTo>
                    <a:lnTo>
                      <a:pt x="170" y="47"/>
                    </a:lnTo>
                    <a:lnTo>
                      <a:pt x="166" y="45"/>
                    </a:lnTo>
                    <a:lnTo>
                      <a:pt x="162" y="42"/>
                    </a:lnTo>
                    <a:lnTo>
                      <a:pt x="158" y="40"/>
                    </a:lnTo>
                    <a:lnTo>
                      <a:pt x="156" y="36"/>
                    </a:lnTo>
                    <a:lnTo>
                      <a:pt x="154" y="33"/>
                    </a:lnTo>
                    <a:lnTo>
                      <a:pt x="150" y="29"/>
                    </a:lnTo>
                    <a:lnTo>
                      <a:pt x="146" y="25"/>
                    </a:lnTo>
                    <a:lnTo>
                      <a:pt x="143" y="24"/>
                    </a:lnTo>
                    <a:lnTo>
                      <a:pt x="139" y="24"/>
                    </a:lnTo>
                    <a:lnTo>
                      <a:pt x="135" y="24"/>
                    </a:lnTo>
                    <a:lnTo>
                      <a:pt x="133" y="20"/>
                    </a:lnTo>
                    <a:lnTo>
                      <a:pt x="131" y="16"/>
                    </a:lnTo>
                    <a:lnTo>
                      <a:pt x="133" y="13"/>
                    </a:lnTo>
                    <a:lnTo>
                      <a:pt x="135" y="9"/>
                    </a:lnTo>
                    <a:lnTo>
                      <a:pt x="137" y="5"/>
                    </a:lnTo>
                  </a:path>
                </a:pathLst>
              </a:custGeom>
              <a:solidFill>
                <a:srgbClr val="FFFFFF">
                  <a:lumMod val="85000"/>
                </a:srgbClr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14" name="Freeform 94"/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auto">
              <a:xfrm rot="-459984">
                <a:off x="1560134" y="3538322"/>
                <a:ext cx="208769" cy="142024"/>
              </a:xfrm>
              <a:custGeom>
                <a:avLst/>
                <a:gdLst>
                  <a:gd name="T0" fmla="*/ 2147483647 w 150"/>
                  <a:gd name="T1" fmla="*/ 2147483647 h 108"/>
                  <a:gd name="T2" fmla="*/ 2147483647 w 150"/>
                  <a:gd name="T3" fmla="*/ 2147483647 h 108"/>
                  <a:gd name="T4" fmla="*/ 2147483647 w 150"/>
                  <a:gd name="T5" fmla="*/ 2147483647 h 108"/>
                  <a:gd name="T6" fmla="*/ 2147483647 w 150"/>
                  <a:gd name="T7" fmla="*/ 2147483647 h 108"/>
                  <a:gd name="T8" fmla="*/ 2147483647 w 150"/>
                  <a:gd name="T9" fmla="*/ 2147483647 h 108"/>
                  <a:gd name="T10" fmla="*/ 2147483647 w 150"/>
                  <a:gd name="T11" fmla="*/ 2147483647 h 108"/>
                  <a:gd name="T12" fmla="*/ 2147483647 w 150"/>
                  <a:gd name="T13" fmla="*/ 2147483647 h 108"/>
                  <a:gd name="T14" fmla="*/ 2147483647 w 150"/>
                  <a:gd name="T15" fmla="*/ 2147483647 h 108"/>
                  <a:gd name="T16" fmla="*/ 2147483647 w 150"/>
                  <a:gd name="T17" fmla="*/ 2147483647 h 108"/>
                  <a:gd name="T18" fmla="*/ 2147483647 w 150"/>
                  <a:gd name="T19" fmla="*/ 2147483647 h 108"/>
                  <a:gd name="T20" fmla="*/ 2147483647 w 150"/>
                  <a:gd name="T21" fmla="*/ 2147483647 h 108"/>
                  <a:gd name="T22" fmla="*/ 2147483647 w 150"/>
                  <a:gd name="T23" fmla="*/ 2147483647 h 108"/>
                  <a:gd name="T24" fmla="*/ 2147483647 w 150"/>
                  <a:gd name="T25" fmla="*/ 2147483647 h 108"/>
                  <a:gd name="T26" fmla="*/ 2147483647 w 150"/>
                  <a:gd name="T27" fmla="*/ 0 h 108"/>
                  <a:gd name="T28" fmla="*/ 2147483647 w 150"/>
                  <a:gd name="T29" fmla="*/ 2147483647 h 108"/>
                  <a:gd name="T30" fmla="*/ 2147483647 w 150"/>
                  <a:gd name="T31" fmla="*/ 2147483647 h 108"/>
                  <a:gd name="T32" fmla="*/ 2147483647 w 150"/>
                  <a:gd name="T33" fmla="*/ 2147483647 h 108"/>
                  <a:gd name="T34" fmla="*/ 2147483647 w 150"/>
                  <a:gd name="T35" fmla="*/ 2147483647 h 108"/>
                  <a:gd name="T36" fmla="*/ 2147483647 w 150"/>
                  <a:gd name="T37" fmla="*/ 2147483647 h 108"/>
                  <a:gd name="T38" fmla="*/ 2147483647 w 150"/>
                  <a:gd name="T39" fmla="*/ 2147483647 h 108"/>
                  <a:gd name="T40" fmla="*/ 2147483647 w 150"/>
                  <a:gd name="T41" fmla="*/ 2147483647 h 108"/>
                  <a:gd name="T42" fmla="*/ 0 w 150"/>
                  <a:gd name="T43" fmla="*/ 2147483647 h 108"/>
                  <a:gd name="T44" fmla="*/ 0 w 150"/>
                  <a:gd name="T45" fmla="*/ 2147483647 h 108"/>
                  <a:gd name="T46" fmla="*/ 2147483647 w 150"/>
                  <a:gd name="T47" fmla="*/ 2147483647 h 108"/>
                  <a:gd name="T48" fmla="*/ 2147483647 w 150"/>
                  <a:gd name="T49" fmla="*/ 2147483647 h 108"/>
                  <a:gd name="T50" fmla="*/ 2147483647 w 150"/>
                  <a:gd name="T51" fmla="*/ 2147483647 h 108"/>
                  <a:gd name="T52" fmla="*/ 2147483647 w 150"/>
                  <a:gd name="T53" fmla="*/ 2147483647 h 108"/>
                  <a:gd name="T54" fmla="*/ 2147483647 w 150"/>
                  <a:gd name="T55" fmla="*/ 2147483647 h 108"/>
                  <a:gd name="T56" fmla="*/ 2147483647 w 150"/>
                  <a:gd name="T57" fmla="*/ 2147483647 h 108"/>
                  <a:gd name="T58" fmla="*/ 2147483647 w 150"/>
                  <a:gd name="T59" fmla="*/ 2147483647 h 108"/>
                  <a:gd name="T60" fmla="*/ 2147483647 w 150"/>
                  <a:gd name="T61" fmla="*/ 2147483647 h 108"/>
                  <a:gd name="T62" fmla="*/ 2147483647 w 150"/>
                  <a:gd name="T63" fmla="*/ 2147483647 h 108"/>
                  <a:gd name="T64" fmla="*/ 2147483647 w 150"/>
                  <a:gd name="T65" fmla="*/ 2147483647 h 108"/>
                  <a:gd name="T66" fmla="*/ 2147483647 w 150"/>
                  <a:gd name="T67" fmla="*/ 2147483647 h 108"/>
                  <a:gd name="T68" fmla="*/ 2147483647 w 150"/>
                  <a:gd name="T69" fmla="*/ 2147483647 h 108"/>
                  <a:gd name="T70" fmla="*/ 2147483647 w 150"/>
                  <a:gd name="T71" fmla="*/ 2147483647 h 108"/>
                  <a:gd name="T72" fmla="*/ 2147483647 w 150"/>
                  <a:gd name="T73" fmla="*/ 2147483647 h 108"/>
                  <a:gd name="T74" fmla="*/ 2147483647 w 150"/>
                  <a:gd name="T75" fmla="*/ 2147483647 h 108"/>
                  <a:gd name="T76" fmla="*/ 2147483647 w 150"/>
                  <a:gd name="T77" fmla="*/ 2147483647 h 108"/>
                  <a:gd name="T78" fmla="*/ 2147483647 w 150"/>
                  <a:gd name="T79" fmla="*/ 2147483647 h 108"/>
                  <a:gd name="T80" fmla="*/ 2147483647 w 150"/>
                  <a:gd name="T81" fmla="*/ 2147483647 h 108"/>
                  <a:gd name="T82" fmla="*/ 2147483647 w 150"/>
                  <a:gd name="T83" fmla="*/ 2147483647 h 108"/>
                  <a:gd name="T84" fmla="*/ 2147483647 w 150"/>
                  <a:gd name="T85" fmla="*/ 2147483647 h 108"/>
                  <a:gd name="T86" fmla="*/ 2147483647 w 150"/>
                  <a:gd name="T87" fmla="*/ 2147483647 h 108"/>
                  <a:gd name="T88" fmla="*/ 2147483647 w 150"/>
                  <a:gd name="T89" fmla="*/ 2147483647 h 108"/>
                  <a:gd name="T90" fmla="*/ 2147483647 w 150"/>
                  <a:gd name="T91" fmla="*/ 2147483647 h 108"/>
                  <a:gd name="T92" fmla="*/ 2147483647 w 150"/>
                  <a:gd name="T93" fmla="*/ 2147483647 h 108"/>
                  <a:gd name="T94" fmla="*/ 2147483647 w 150"/>
                  <a:gd name="T95" fmla="*/ 2147483647 h 108"/>
                  <a:gd name="T96" fmla="*/ 2147483647 w 150"/>
                  <a:gd name="T97" fmla="*/ 2147483647 h 108"/>
                  <a:gd name="T98" fmla="*/ 2147483647 w 150"/>
                  <a:gd name="T99" fmla="*/ 2147483647 h 108"/>
                  <a:gd name="T100" fmla="*/ 2147483647 w 150"/>
                  <a:gd name="T101" fmla="*/ 2147483647 h 108"/>
                  <a:gd name="T102" fmla="*/ 2147483647 w 150"/>
                  <a:gd name="T103" fmla="*/ 2147483647 h 108"/>
                  <a:gd name="T104" fmla="*/ 2147483647 w 150"/>
                  <a:gd name="T105" fmla="*/ 2147483647 h 108"/>
                  <a:gd name="T106" fmla="*/ 2147483647 w 150"/>
                  <a:gd name="T107" fmla="*/ 2147483647 h 10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50"/>
                  <a:gd name="T163" fmla="*/ 0 h 108"/>
                  <a:gd name="T164" fmla="*/ 150 w 150"/>
                  <a:gd name="T165" fmla="*/ 108 h 108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50" h="108">
                    <a:moveTo>
                      <a:pt x="147" y="36"/>
                    </a:moveTo>
                    <a:lnTo>
                      <a:pt x="145" y="33"/>
                    </a:lnTo>
                    <a:lnTo>
                      <a:pt x="145" y="29"/>
                    </a:lnTo>
                    <a:lnTo>
                      <a:pt x="145" y="25"/>
                    </a:lnTo>
                    <a:lnTo>
                      <a:pt x="143" y="20"/>
                    </a:lnTo>
                    <a:lnTo>
                      <a:pt x="139" y="18"/>
                    </a:lnTo>
                    <a:lnTo>
                      <a:pt x="137" y="15"/>
                    </a:lnTo>
                    <a:lnTo>
                      <a:pt x="133" y="13"/>
                    </a:lnTo>
                    <a:lnTo>
                      <a:pt x="129" y="13"/>
                    </a:lnTo>
                    <a:lnTo>
                      <a:pt x="125" y="13"/>
                    </a:lnTo>
                    <a:lnTo>
                      <a:pt x="121" y="13"/>
                    </a:lnTo>
                    <a:lnTo>
                      <a:pt x="117" y="11"/>
                    </a:lnTo>
                    <a:lnTo>
                      <a:pt x="115" y="7"/>
                    </a:lnTo>
                    <a:lnTo>
                      <a:pt x="111" y="5"/>
                    </a:lnTo>
                    <a:lnTo>
                      <a:pt x="107" y="5"/>
                    </a:lnTo>
                    <a:lnTo>
                      <a:pt x="101" y="5"/>
                    </a:lnTo>
                    <a:lnTo>
                      <a:pt x="97" y="5"/>
                    </a:lnTo>
                    <a:lnTo>
                      <a:pt x="93" y="5"/>
                    </a:lnTo>
                    <a:lnTo>
                      <a:pt x="89" y="9"/>
                    </a:lnTo>
                    <a:lnTo>
                      <a:pt x="85" y="11"/>
                    </a:lnTo>
                    <a:lnTo>
                      <a:pt x="83" y="15"/>
                    </a:lnTo>
                    <a:lnTo>
                      <a:pt x="81" y="11"/>
                    </a:lnTo>
                    <a:lnTo>
                      <a:pt x="77" y="7"/>
                    </a:lnTo>
                    <a:lnTo>
                      <a:pt x="75" y="4"/>
                    </a:lnTo>
                    <a:lnTo>
                      <a:pt x="72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2" y="2"/>
                    </a:lnTo>
                    <a:lnTo>
                      <a:pt x="48" y="4"/>
                    </a:lnTo>
                    <a:lnTo>
                      <a:pt x="44" y="5"/>
                    </a:lnTo>
                    <a:lnTo>
                      <a:pt x="42" y="9"/>
                    </a:lnTo>
                    <a:lnTo>
                      <a:pt x="38" y="13"/>
                    </a:lnTo>
                    <a:lnTo>
                      <a:pt x="34" y="16"/>
                    </a:lnTo>
                    <a:lnTo>
                      <a:pt x="30" y="20"/>
                    </a:lnTo>
                    <a:lnTo>
                      <a:pt x="28" y="24"/>
                    </a:lnTo>
                    <a:lnTo>
                      <a:pt x="24" y="25"/>
                    </a:lnTo>
                    <a:lnTo>
                      <a:pt x="20" y="25"/>
                    </a:lnTo>
                    <a:lnTo>
                      <a:pt x="16" y="25"/>
                    </a:lnTo>
                    <a:lnTo>
                      <a:pt x="12" y="27"/>
                    </a:lnTo>
                    <a:lnTo>
                      <a:pt x="8" y="25"/>
                    </a:lnTo>
                    <a:lnTo>
                      <a:pt x="4" y="24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2" y="42"/>
                    </a:lnTo>
                    <a:lnTo>
                      <a:pt x="6" y="44"/>
                    </a:lnTo>
                    <a:lnTo>
                      <a:pt x="10" y="45"/>
                    </a:lnTo>
                    <a:lnTo>
                      <a:pt x="14" y="47"/>
                    </a:lnTo>
                    <a:lnTo>
                      <a:pt x="18" y="49"/>
                    </a:lnTo>
                    <a:lnTo>
                      <a:pt x="22" y="49"/>
                    </a:lnTo>
                    <a:lnTo>
                      <a:pt x="24" y="53"/>
                    </a:lnTo>
                    <a:lnTo>
                      <a:pt x="28" y="54"/>
                    </a:lnTo>
                    <a:lnTo>
                      <a:pt x="32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50" y="58"/>
                    </a:lnTo>
                    <a:lnTo>
                      <a:pt x="54" y="58"/>
                    </a:lnTo>
                    <a:lnTo>
                      <a:pt x="58" y="60"/>
                    </a:lnTo>
                    <a:lnTo>
                      <a:pt x="60" y="64"/>
                    </a:lnTo>
                    <a:lnTo>
                      <a:pt x="58" y="67"/>
                    </a:lnTo>
                    <a:lnTo>
                      <a:pt x="56" y="71"/>
                    </a:lnTo>
                    <a:lnTo>
                      <a:pt x="58" y="74"/>
                    </a:lnTo>
                    <a:lnTo>
                      <a:pt x="62" y="74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5"/>
                    </a:lnTo>
                    <a:lnTo>
                      <a:pt x="66" y="89"/>
                    </a:lnTo>
                    <a:lnTo>
                      <a:pt x="70" y="91"/>
                    </a:lnTo>
                    <a:lnTo>
                      <a:pt x="74" y="91"/>
                    </a:lnTo>
                    <a:lnTo>
                      <a:pt x="77" y="93"/>
                    </a:lnTo>
                    <a:lnTo>
                      <a:pt x="77" y="96"/>
                    </a:lnTo>
                    <a:lnTo>
                      <a:pt x="77" y="100"/>
                    </a:lnTo>
                    <a:lnTo>
                      <a:pt x="81" y="102"/>
                    </a:lnTo>
                    <a:lnTo>
                      <a:pt x="85" y="102"/>
                    </a:lnTo>
                    <a:lnTo>
                      <a:pt x="89" y="103"/>
                    </a:lnTo>
                    <a:lnTo>
                      <a:pt x="91" y="107"/>
                    </a:lnTo>
                    <a:lnTo>
                      <a:pt x="95" y="107"/>
                    </a:lnTo>
                    <a:lnTo>
                      <a:pt x="99" y="105"/>
                    </a:lnTo>
                    <a:lnTo>
                      <a:pt x="103" y="103"/>
                    </a:lnTo>
                    <a:lnTo>
                      <a:pt x="107" y="103"/>
                    </a:lnTo>
                    <a:lnTo>
                      <a:pt x="109" y="100"/>
                    </a:lnTo>
                    <a:lnTo>
                      <a:pt x="107" y="96"/>
                    </a:lnTo>
                    <a:lnTo>
                      <a:pt x="107" y="93"/>
                    </a:lnTo>
                    <a:lnTo>
                      <a:pt x="105" y="89"/>
                    </a:lnTo>
                    <a:lnTo>
                      <a:pt x="105" y="83"/>
                    </a:lnTo>
                    <a:lnTo>
                      <a:pt x="103" y="80"/>
                    </a:lnTo>
                    <a:lnTo>
                      <a:pt x="103" y="76"/>
                    </a:lnTo>
                    <a:lnTo>
                      <a:pt x="103" y="73"/>
                    </a:lnTo>
                    <a:lnTo>
                      <a:pt x="103" y="69"/>
                    </a:lnTo>
                    <a:lnTo>
                      <a:pt x="105" y="65"/>
                    </a:lnTo>
                    <a:lnTo>
                      <a:pt x="109" y="62"/>
                    </a:lnTo>
                    <a:lnTo>
                      <a:pt x="113" y="60"/>
                    </a:lnTo>
                    <a:lnTo>
                      <a:pt x="117" y="60"/>
                    </a:lnTo>
                    <a:lnTo>
                      <a:pt x="121" y="60"/>
                    </a:lnTo>
                    <a:lnTo>
                      <a:pt x="125" y="56"/>
                    </a:lnTo>
                    <a:lnTo>
                      <a:pt x="127" y="53"/>
                    </a:lnTo>
                    <a:lnTo>
                      <a:pt x="131" y="53"/>
                    </a:lnTo>
                    <a:lnTo>
                      <a:pt x="135" y="51"/>
                    </a:lnTo>
                    <a:lnTo>
                      <a:pt x="139" y="49"/>
                    </a:lnTo>
                    <a:lnTo>
                      <a:pt x="143" y="49"/>
                    </a:lnTo>
                    <a:lnTo>
                      <a:pt x="147" y="47"/>
                    </a:lnTo>
                    <a:lnTo>
                      <a:pt x="149" y="44"/>
                    </a:lnTo>
                    <a:lnTo>
                      <a:pt x="147" y="40"/>
                    </a:lnTo>
                    <a:lnTo>
                      <a:pt x="145" y="36"/>
                    </a:lnTo>
                    <a:lnTo>
                      <a:pt x="147" y="36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15" name="Freeform 95"/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auto">
              <a:xfrm rot="-459984">
                <a:off x="1495033" y="3608170"/>
                <a:ext cx="267136" cy="218858"/>
              </a:xfrm>
              <a:custGeom>
                <a:avLst/>
                <a:gdLst>
                  <a:gd name="T0" fmla="*/ 2147483647 w 190"/>
                  <a:gd name="T1" fmla="*/ 2147483647 h 165"/>
                  <a:gd name="T2" fmla="*/ 2147483647 w 190"/>
                  <a:gd name="T3" fmla="*/ 2147483647 h 165"/>
                  <a:gd name="T4" fmla="*/ 2147483647 w 190"/>
                  <a:gd name="T5" fmla="*/ 2147483647 h 165"/>
                  <a:gd name="T6" fmla="*/ 2147483647 w 190"/>
                  <a:gd name="T7" fmla="*/ 2147483647 h 165"/>
                  <a:gd name="T8" fmla="*/ 2147483647 w 190"/>
                  <a:gd name="T9" fmla="*/ 0 h 165"/>
                  <a:gd name="T10" fmla="*/ 2147483647 w 190"/>
                  <a:gd name="T11" fmla="*/ 2147483647 h 165"/>
                  <a:gd name="T12" fmla="*/ 2147483647 w 190"/>
                  <a:gd name="T13" fmla="*/ 2147483647 h 165"/>
                  <a:gd name="T14" fmla="*/ 2147483647 w 190"/>
                  <a:gd name="T15" fmla="*/ 2147483647 h 165"/>
                  <a:gd name="T16" fmla="*/ 2147483647 w 190"/>
                  <a:gd name="T17" fmla="*/ 2147483647 h 165"/>
                  <a:gd name="T18" fmla="*/ 2147483647 w 190"/>
                  <a:gd name="T19" fmla="*/ 2147483647 h 165"/>
                  <a:gd name="T20" fmla="*/ 2147483647 w 190"/>
                  <a:gd name="T21" fmla="*/ 2147483647 h 165"/>
                  <a:gd name="T22" fmla="*/ 2147483647 w 190"/>
                  <a:gd name="T23" fmla="*/ 2147483647 h 165"/>
                  <a:gd name="T24" fmla="*/ 2147483647 w 190"/>
                  <a:gd name="T25" fmla="*/ 2147483647 h 165"/>
                  <a:gd name="T26" fmla="*/ 2147483647 w 190"/>
                  <a:gd name="T27" fmla="*/ 2147483647 h 165"/>
                  <a:gd name="T28" fmla="*/ 2147483647 w 190"/>
                  <a:gd name="T29" fmla="*/ 2147483647 h 165"/>
                  <a:gd name="T30" fmla="*/ 2147483647 w 190"/>
                  <a:gd name="T31" fmla="*/ 2147483647 h 165"/>
                  <a:gd name="T32" fmla="*/ 2147483647 w 190"/>
                  <a:gd name="T33" fmla="*/ 2147483647 h 165"/>
                  <a:gd name="T34" fmla="*/ 2147483647 w 190"/>
                  <a:gd name="T35" fmla="*/ 2147483647 h 165"/>
                  <a:gd name="T36" fmla="*/ 2147483647 w 190"/>
                  <a:gd name="T37" fmla="*/ 2147483647 h 165"/>
                  <a:gd name="T38" fmla="*/ 2147483647 w 190"/>
                  <a:gd name="T39" fmla="*/ 2147483647 h 165"/>
                  <a:gd name="T40" fmla="*/ 2147483647 w 190"/>
                  <a:gd name="T41" fmla="*/ 2147483647 h 165"/>
                  <a:gd name="T42" fmla="*/ 2147483647 w 190"/>
                  <a:gd name="T43" fmla="*/ 2147483647 h 165"/>
                  <a:gd name="T44" fmla="*/ 2147483647 w 190"/>
                  <a:gd name="T45" fmla="*/ 2147483647 h 165"/>
                  <a:gd name="T46" fmla="*/ 2147483647 w 190"/>
                  <a:gd name="T47" fmla="*/ 2147483647 h 165"/>
                  <a:gd name="T48" fmla="*/ 2147483647 w 190"/>
                  <a:gd name="T49" fmla="*/ 2147483647 h 165"/>
                  <a:gd name="T50" fmla="*/ 2147483647 w 190"/>
                  <a:gd name="T51" fmla="*/ 2147483647 h 165"/>
                  <a:gd name="T52" fmla="*/ 2147483647 w 190"/>
                  <a:gd name="T53" fmla="*/ 2147483647 h 165"/>
                  <a:gd name="T54" fmla="*/ 2147483647 w 190"/>
                  <a:gd name="T55" fmla="*/ 2147483647 h 165"/>
                  <a:gd name="T56" fmla="*/ 2147483647 w 190"/>
                  <a:gd name="T57" fmla="*/ 2147483647 h 165"/>
                  <a:gd name="T58" fmla="*/ 2147483647 w 190"/>
                  <a:gd name="T59" fmla="*/ 2147483647 h 165"/>
                  <a:gd name="T60" fmla="*/ 2147483647 w 190"/>
                  <a:gd name="T61" fmla="*/ 2147483647 h 165"/>
                  <a:gd name="T62" fmla="*/ 2147483647 w 190"/>
                  <a:gd name="T63" fmla="*/ 2147483647 h 165"/>
                  <a:gd name="T64" fmla="*/ 2147483647 w 190"/>
                  <a:gd name="T65" fmla="*/ 2147483647 h 165"/>
                  <a:gd name="T66" fmla="*/ 2147483647 w 190"/>
                  <a:gd name="T67" fmla="*/ 2147483647 h 165"/>
                  <a:gd name="T68" fmla="*/ 2147483647 w 190"/>
                  <a:gd name="T69" fmla="*/ 2147483647 h 165"/>
                  <a:gd name="T70" fmla="*/ 2147483647 w 190"/>
                  <a:gd name="T71" fmla="*/ 2147483647 h 165"/>
                  <a:gd name="T72" fmla="*/ 2147483647 w 190"/>
                  <a:gd name="T73" fmla="*/ 2147483647 h 165"/>
                  <a:gd name="T74" fmla="*/ 2147483647 w 190"/>
                  <a:gd name="T75" fmla="*/ 2147483647 h 165"/>
                  <a:gd name="T76" fmla="*/ 2147483647 w 190"/>
                  <a:gd name="T77" fmla="*/ 2147483647 h 165"/>
                  <a:gd name="T78" fmla="*/ 2147483647 w 190"/>
                  <a:gd name="T79" fmla="*/ 2147483647 h 165"/>
                  <a:gd name="T80" fmla="*/ 2147483647 w 190"/>
                  <a:gd name="T81" fmla="*/ 2147483647 h 165"/>
                  <a:gd name="T82" fmla="*/ 2147483647 w 190"/>
                  <a:gd name="T83" fmla="*/ 2147483647 h 165"/>
                  <a:gd name="T84" fmla="*/ 2147483647 w 190"/>
                  <a:gd name="T85" fmla="*/ 2147483647 h 165"/>
                  <a:gd name="T86" fmla="*/ 2147483647 w 190"/>
                  <a:gd name="T87" fmla="*/ 2147483647 h 165"/>
                  <a:gd name="T88" fmla="*/ 2147483647 w 190"/>
                  <a:gd name="T89" fmla="*/ 2147483647 h 165"/>
                  <a:gd name="T90" fmla="*/ 2147483647 w 190"/>
                  <a:gd name="T91" fmla="*/ 2147483647 h 165"/>
                  <a:gd name="T92" fmla="*/ 2147483647 w 190"/>
                  <a:gd name="T93" fmla="*/ 2147483647 h 165"/>
                  <a:gd name="T94" fmla="*/ 2147483647 w 190"/>
                  <a:gd name="T95" fmla="*/ 2147483647 h 165"/>
                  <a:gd name="T96" fmla="*/ 2147483647 w 190"/>
                  <a:gd name="T97" fmla="*/ 2147483647 h 165"/>
                  <a:gd name="T98" fmla="*/ 2147483647 w 190"/>
                  <a:gd name="T99" fmla="*/ 2147483647 h 165"/>
                  <a:gd name="T100" fmla="*/ 2147483647 w 190"/>
                  <a:gd name="T101" fmla="*/ 2147483647 h 165"/>
                  <a:gd name="T102" fmla="*/ 2147483647 w 190"/>
                  <a:gd name="T103" fmla="*/ 2147483647 h 165"/>
                  <a:gd name="T104" fmla="*/ 2147483647 w 190"/>
                  <a:gd name="T105" fmla="*/ 2147483647 h 165"/>
                  <a:gd name="T106" fmla="*/ 2147483647 w 190"/>
                  <a:gd name="T107" fmla="*/ 2147483647 h 16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90"/>
                  <a:gd name="T163" fmla="*/ 0 h 165"/>
                  <a:gd name="T164" fmla="*/ 190 w 190"/>
                  <a:gd name="T165" fmla="*/ 165 h 165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90" h="165">
                    <a:moveTo>
                      <a:pt x="120" y="22"/>
                    </a:moveTo>
                    <a:lnTo>
                      <a:pt x="116" y="20"/>
                    </a:lnTo>
                    <a:lnTo>
                      <a:pt x="114" y="16"/>
                    </a:lnTo>
                    <a:lnTo>
                      <a:pt x="110" y="16"/>
                    </a:lnTo>
                    <a:lnTo>
                      <a:pt x="108" y="13"/>
                    </a:lnTo>
                    <a:lnTo>
                      <a:pt x="104" y="13"/>
                    </a:lnTo>
                    <a:lnTo>
                      <a:pt x="100" y="11"/>
                    </a:lnTo>
                    <a:lnTo>
                      <a:pt x="96" y="11"/>
                    </a:lnTo>
                    <a:lnTo>
                      <a:pt x="93" y="9"/>
                    </a:lnTo>
                    <a:lnTo>
                      <a:pt x="89" y="9"/>
                    </a:lnTo>
                    <a:lnTo>
                      <a:pt x="85" y="7"/>
                    </a:lnTo>
                    <a:lnTo>
                      <a:pt x="81" y="7"/>
                    </a:lnTo>
                    <a:lnTo>
                      <a:pt x="75" y="4"/>
                    </a:lnTo>
                    <a:lnTo>
                      <a:pt x="69" y="2"/>
                    </a:lnTo>
                    <a:lnTo>
                      <a:pt x="65" y="0"/>
                    </a:lnTo>
                    <a:lnTo>
                      <a:pt x="61" y="0"/>
                    </a:lnTo>
                    <a:lnTo>
                      <a:pt x="57" y="0"/>
                    </a:lnTo>
                    <a:lnTo>
                      <a:pt x="55" y="4"/>
                    </a:lnTo>
                    <a:lnTo>
                      <a:pt x="53" y="9"/>
                    </a:lnTo>
                    <a:lnTo>
                      <a:pt x="51" y="13"/>
                    </a:lnTo>
                    <a:lnTo>
                      <a:pt x="51" y="16"/>
                    </a:lnTo>
                    <a:lnTo>
                      <a:pt x="51" y="20"/>
                    </a:lnTo>
                    <a:lnTo>
                      <a:pt x="47" y="24"/>
                    </a:lnTo>
                    <a:lnTo>
                      <a:pt x="43" y="26"/>
                    </a:lnTo>
                    <a:lnTo>
                      <a:pt x="39" y="27"/>
                    </a:lnTo>
                    <a:lnTo>
                      <a:pt x="39" y="31"/>
                    </a:lnTo>
                    <a:lnTo>
                      <a:pt x="37" y="36"/>
                    </a:lnTo>
                    <a:lnTo>
                      <a:pt x="37" y="40"/>
                    </a:lnTo>
                    <a:lnTo>
                      <a:pt x="37" y="46"/>
                    </a:lnTo>
                    <a:lnTo>
                      <a:pt x="39" y="49"/>
                    </a:lnTo>
                    <a:lnTo>
                      <a:pt x="39" y="53"/>
                    </a:lnTo>
                    <a:lnTo>
                      <a:pt x="37" y="57"/>
                    </a:lnTo>
                    <a:lnTo>
                      <a:pt x="37" y="60"/>
                    </a:lnTo>
                    <a:lnTo>
                      <a:pt x="35" y="64"/>
                    </a:lnTo>
                    <a:lnTo>
                      <a:pt x="33" y="67"/>
                    </a:lnTo>
                    <a:lnTo>
                      <a:pt x="30" y="69"/>
                    </a:lnTo>
                    <a:lnTo>
                      <a:pt x="28" y="73"/>
                    </a:lnTo>
                    <a:lnTo>
                      <a:pt x="24" y="77"/>
                    </a:lnTo>
                    <a:lnTo>
                      <a:pt x="20" y="78"/>
                    </a:lnTo>
                    <a:lnTo>
                      <a:pt x="18" y="82"/>
                    </a:lnTo>
                    <a:lnTo>
                      <a:pt x="18" y="86"/>
                    </a:lnTo>
                    <a:lnTo>
                      <a:pt x="16" y="89"/>
                    </a:lnTo>
                    <a:lnTo>
                      <a:pt x="14" y="93"/>
                    </a:lnTo>
                    <a:lnTo>
                      <a:pt x="12" y="97"/>
                    </a:lnTo>
                    <a:lnTo>
                      <a:pt x="12" y="100"/>
                    </a:lnTo>
                    <a:lnTo>
                      <a:pt x="8" y="100"/>
                    </a:lnTo>
                    <a:lnTo>
                      <a:pt x="4" y="102"/>
                    </a:lnTo>
                    <a:lnTo>
                      <a:pt x="2" y="108"/>
                    </a:lnTo>
                    <a:lnTo>
                      <a:pt x="0" y="111"/>
                    </a:lnTo>
                    <a:lnTo>
                      <a:pt x="0" y="115"/>
                    </a:lnTo>
                    <a:lnTo>
                      <a:pt x="2" y="119"/>
                    </a:lnTo>
                    <a:lnTo>
                      <a:pt x="2" y="122"/>
                    </a:lnTo>
                    <a:lnTo>
                      <a:pt x="2" y="126"/>
                    </a:lnTo>
                    <a:lnTo>
                      <a:pt x="6" y="126"/>
                    </a:lnTo>
                    <a:lnTo>
                      <a:pt x="6" y="129"/>
                    </a:lnTo>
                    <a:lnTo>
                      <a:pt x="6" y="133"/>
                    </a:lnTo>
                    <a:lnTo>
                      <a:pt x="6" y="137"/>
                    </a:lnTo>
                    <a:lnTo>
                      <a:pt x="6" y="140"/>
                    </a:lnTo>
                    <a:lnTo>
                      <a:pt x="6" y="144"/>
                    </a:lnTo>
                    <a:lnTo>
                      <a:pt x="8" y="148"/>
                    </a:lnTo>
                    <a:lnTo>
                      <a:pt x="12" y="150"/>
                    </a:lnTo>
                    <a:lnTo>
                      <a:pt x="16" y="148"/>
                    </a:lnTo>
                    <a:lnTo>
                      <a:pt x="20" y="148"/>
                    </a:lnTo>
                    <a:lnTo>
                      <a:pt x="22" y="151"/>
                    </a:lnTo>
                    <a:lnTo>
                      <a:pt x="24" y="155"/>
                    </a:lnTo>
                    <a:lnTo>
                      <a:pt x="28" y="157"/>
                    </a:lnTo>
                    <a:lnTo>
                      <a:pt x="32" y="159"/>
                    </a:lnTo>
                    <a:lnTo>
                      <a:pt x="35" y="159"/>
                    </a:lnTo>
                    <a:lnTo>
                      <a:pt x="39" y="160"/>
                    </a:lnTo>
                    <a:lnTo>
                      <a:pt x="43" y="162"/>
                    </a:lnTo>
                    <a:lnTo>
                      <a:pt x="47" y="164"/>
                    </a:lnTo>
                    <a:lnTo>
                      <a:pt x="51" y="164"/>
                    </a:lnTo>
                    <a:lnTo>
                      <a:pt x="53" y="160"/>
                    </a:lnTo>
                    <a:lnTo>
                      <a:pt x="57" y="159"/>
                    </a:lnTo>
                    <a:lnTo>
                      <a:pt x="61" y="160"/>
                    </a:lnTo>
                    <a:lnTo>
                      <a:pt x="65" y="160"/>
                    </a:lnTo>
                    <a:lnTo>
                      <a:pt x="69" y="162"/>
                    </a:lnTo>
                    <a:lnTo>
                      <a:pt x="73" y="162"/>
                    </a:lnTo>
                    <a:lnTo>
                      <a:pt x="77" y="162"/>
                    </a:lnTo>
                    <a:lnTo>
                      <a:pt x="79" y="159"/>
                    </a:lnTo>
                    <a:lnTo>
                      <a:pt x="81" y="155"/>
                    </a:lnTo>
                    <a:lnTo>
                      <a:pt x="85" y="153"/>
                    </a:lnTo>
                    <a:lnTo>
                      <a:pt x="89" y="153"/>
                    </a:lnTo>
                    <a:lnTo>
                      <a:pt x="91" y="150"/>
                    </a:lnTo>
                    <a:lnTo>
                      <a:pt x="95" y="150"/>
                    </a:lnTo>
                    <a:lnTo>
                      <a:pt x="98" y="148"/>
                    </a:lnTo>
                    <a:lnTo>
                      <a:pt x="100" y="144"/>
                    </a:lnTo>
                    <a:lnTo>
                      <a:pt x="104" y="146"/>
                    </a:lnTo>
                    <a:lnTo>
                      <a:pt x="108" y="146"/>
                    </a:lnTo>
                    <a:lnTo>
                      <a:pt x="110" y="142"/>
                    </a:lnTo>
                    <a:lnTo>
                      <a:pt x="108" y="139"/>
                    </a:lnTo>
                    <a:lnTo>
                      <a:pt x="106" y="135"/>
                    </a:lnTo>
                    <a:lnTo>
                      <a:pt x="104" y="131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20" y="128"/>
                    </a:lnTo>
                    <a:lnTo>
                      <a:pt x="124" y="131"/>
                    </a:lnTo>
                    <a:lnTo>
                      <a:pt x="128" y="135"/>
                    </a:lnTo>
                    <a:lnTo>
                      <a:pt x="132" y="135"/>
                    </a:lnTo>
                    <a:lnTo>
                      <a:pt x="136" y="133"/>
                    </a:lnTo>
                    <a:lnTo>
                      <a:pt x="140" y="131"/>
                    </a:lnTo>
                    <a:lnTo>
                      <a:pt x="144" y="131"/>
                    </a:lnTo>
                    <a:lnTo>
                      <a:pt x="148" y="133"/>
                    </a:lnTo>
                    <a:lnTo>
                      <a:pt x="152" y="135"/>
                    </a:lnTo>
                    <a:lnTo>
                      <a:pt x="156" y="137"/>
                    </a:lnTo>
                    <a:lnTo>
                      <a:pt x="159" y="139"/>
                    </a:lnTo>
                    <a:lnTo>
                      <a:pt x="161" y="142"/>
                    </a:lnTo>
                    <a:lnTo>
                      <a:pt x="165" y="142"/>
                    </a:lnTo>
                    <a:lnTo>
                      <a:pt x="167" y="146"/>
                    </a:lnTo>
                    <a:lnTo>
                      <a:pt x="171" y="146"/>
                    </a:lnTo>
                    <a:lnTo>
                      <a:pt x="175" y="146"/>
                    </a:lnTo>
                    <a:lnTo>
                      <a:pt x="179" y="146"/>
                    </a:lnTo>
                    <a:lnTo>
                      <a:pt x="183" y="146"/>
                    </a:lnTo>
                    <a:lnTo>
                      <a:pt x="187" y="146"/>
                    </a:lnTo>
                    <a:lnTo>
                      <a:pt x="189" y="142"/>
                    </a:lnTo>
                    <a:lnTo>
                      <a:pt x="189" y="139"/>
                    </a:lnTo>
                    <a:lnTo>
                      <a:pt x="189" y="135"/>
                    </a:lnTo>
                    <a:lnTo>
                      <a:pt x="189" y="131"/>
                    </a:lnTo>
                    <a:lnTo>
                      <a:pt x="189" y="128"/>
                    </a:lnTo>
                    <a:lnTo>
                      <a:pt x="185" y="128"/>
                    </a:lnTo>
                    <a:lnTo>
                      <a:pt x="183" y="124"/>
                    </a:lnTo>
                    <a:lnTo>
                      <a:pt x="183" y="120"/>
                    </a:lnTo>
                    <a:lnTo>
                      <a:pt x="181" y="117"/>
                    </a:lnTo>
                    <a:lnTo>
                      <a:pt x="181" y="113"/>
                    </a:lnTo>
                    <a:lnTo>
                      <a:pt x="179" y="109"/>
                    </a:lnTo>
                    <a:lnTo>
                      <a:pt x="175" y="109"/>
                    </a:lnTo>
                    <a:lnTo>
                      <a:pt x="173" y="106"/>
                    </a:lnTo>
                    <a:lnTo>
                      <a:pt x="171" y="102"/>
                    </a:lnTo>
                    <a:lnTo>
                      <a:pt x="171" y="98"/>
                    </a:lnTo>
                    <a:lnTo>
                      <a:pt x="171" y="95"/>
                    </a:lnTo>
                    <a:lnTo>
                      <a:pt x="171" y="91"/>
                    </a:lnTo>
                    <a:lnTo>
                      <a:pt x="167" y="89"/>
                    </a:lnTo>
                    <a:lnTo>
                      <a:pt x="163" y="88"/>
                    </a:lnTo>
                    <a:lnTo>
                      <a:pt x="159" y="86"/>
                    </a:lnTo>
                    <a:lnTo>
                      <a:pt x="154" y="86"/>
                    </a:lnTo>
                    <a:lnTo>
                      <a:pt x="150" y="84"/>
                    </a:lnTo>
                    <a:lnTo>
                      <a:pt x="146" y="84"/>
                    </a:lnTo>
                    <a:lnTo>
                      <a:pt x="144" y="80"/>
                    </a:lnTo>
                    <a:lnTo>
                      <a:pt x="144" y="77"/>
                    </a:lnTo>
                    <a:lnTo>
                      <a:pt x="146" y="73"/>
                    </a:lnTo>
                    <a:lnTo>
                      <a:pt x="150" y="73"/>
                    </a:lnTo>
                    <a:lnTo>
                      <a:pt x="152" y="69"/>
                    </a:lnTo>
                    <a:lnTo>
                      <a:pt x="154" y="66"/>
                    </a:lnTo>
                    <a:lnTo>
                      <a:pt x="154" y="62"/>
                    </a:lnTo>
                    <a:lnTo>
                      <a:pt x="150" y="58"/>
                    </a:lnTo>
                    <a:lnTo>
                      <a:pt x="148" y="55"/>
                    </a:lnTo>
                    <a:lnTo>
                      <a:pt x="144" y="53"/>
                    </a:lnTo>
                    <a:lnTo>
                      <a:pt x="140" y="55"/>
                    </a:lnTo>
                    <a:lnTo>
                      <a:pt x="136" y="55"/>
                    </a:lnTo>
                    <a:lnTo>
                      <a:pt x="134" y="51"/>
                    </a:lnTo>
                    <a:lnTo>
                      <a:pt x="132" y="47"/>
                    </a:lnTo>
                    <a:lnTo>
                      <a:pt x="132" y="44"/>
                    </a:lnTo>
                    <a:lnTo>
                      <a:pt x="128" y="44"/>
                    </a:lnTo>
                    <a:lnTo>
                      <a:pt x="128" y="40"/>
                    </a:lnTo>
                    <a:lnTo>
                      <a:pt x="122" y="40"/>
                    </a:lnTo>
                    <a:lnTo>
                      <a:pt x="118" y="36"/>
                    </a:lnTo>
                    <a:lnTo>
                      <a:pt x="114" y="35"/>
                    </a:lnTo>
                    <a:lnTo>
                      <a:pt x="118" y="33"/>
                    </a:lnTo>
                    <a:lnTo>
                      <a:pt x="118" y="29"/>
                    </a:lnTo>
                    <a:lnTo>
                      <a:pt x="120" y="22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16" name="Freeform 96"/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auto">
              <a:xfrm rot="-459984">
                <a:off x="1699314" y="3584887"/>
                <a:ext cx="197546" cy="172292"/>
              </a:xfrm>
              <a:custGeom>
                <a:avLst/>
                <a:gdLst>
                  <a:gd name="T0" fmla="*/ 2147483647 w 143"/>
                  <a:gd name="T1" fmla="*/ 2147483647 h 131"/>
                  <a:gd name="T2" fmla="*/ 2147483647 w 143"/>
                  <a:gd name="T3" fmla="*/ 2147483647 h 131"/>
                  <a:gd name="T4" fmla="*/ 2147483647 w 143"/>
                  <a:gd name="T5" fmla="*/ 2147483647 h 131"/>
                  <a:gd name="T6" fmla="*/ 2147483647 w 143"/>
                  <a:gd name="T7" fmla="*/ 2147483647 h 131"/>
                  <a:gd name="T8" fmla="*/ 2147483647 w 143"/>
                  <a:gd name="T9" fmla="*/ 2147483647 h 131"/>
                  <a:gd name="T10" fmla="*/ 2147483647 w 143"/>
                  <a:gd name="T11" fmla="*/ 2147483647 h 131"/>
                  <a:gd name="T12" fmla="*/ 2147483647 w 143"/>
                  <a:gd name="T13" fmla="*/ 2147483647 h 131"/>
                  <a:gd name="T14" fmla="*/ 2147483647 w 143"/>
                  <a:gd name="T15" fmla="*/ 2147483647 h 131"/>
                  <a:gd name="T16" fmla="*/ 2147483647 w 143"/>
                  <a:gd name="T17" fmla="*/ 0 h 131"/>
                  <a:gd name="T18" fmla="*/ 2147483647 w 143"/>
                  <a:gd name="T19" fmla="*/ 0 h 131"/>
                  <a:gd name="T20" fmla="*/ 2147483647 w 143"/>
                  <a:gd name="T21" fmla="*/ 0 h 131"/>
                  <a:gd name="T22" fmla="*/ 2147483647 w 143"/>
                  <a:gd name="T23" fmla="*/ 0 h 131"/>
                  <a:gd name="T24" fmla="*/ 2147483647 w 143"/>
                  <a:gd name="T25" fmla="*/ 0 h 131"/>
                  <a:gd name="T26" fmla="*/ 2147483647 w 143"/>
                  <a:gd name="T27" fmla="*/ 0 h 131"/>
                  <a:gd name="T28" fmla="*/ 2147483647 w 143"/>
                  <a:gd name="T29" fmla="*/ 2147483647 h 131"/>
                  <a:gd name="T30" fmla="*/ 2147483647 w 143"/>
                  <a:gd name="T31" fmla="*/ 2147483647 h 131"/>
                  <a:gd name="T32" fmla="*/ 2147483647 w 143"/>
                  <a:gd name="T33" fmla="*/ 2147483647 h 131"/>
                  <a:gd name="T34" fmla="*/ 2147483647 w 143"/>
                  <a:gd name="T35" fmla="*/ 2147483647 h 131"/>
                  <a:gd name="T36" fmla="*/ 2147483647 w 143"/>
                  <a:gd name="T37" fmla="*/ 2147483647 h 131"/>
                  <a:gd name="T38" fmla="*/ 2147483647 w 143"/>
                  <a:gd name="T39" fmla="*/ 2147483647 h 131"/>
                  <a:gd name="T40" fmla="*/ 2147483647 w 143"/>
                  <a:gd name="T41" fmla="*/ 2147483647 h 131"/>
                  <a:gd name="T42" fmla="*/ 2147483647 w 143"/>
                  <a:gd name="T43" fmla="*/ 2147483647 h 131"/>
                  <a:gd name="T44" fmla="*/ 2147483647 w 143"/>
                  <a:gd name="T45" fmla="*/ 2147483647 h 131"/>
                  <a:gd name="T46" fmla="*/ 2147483647 w 143"/>
                  <a:gd name="T47" fmla="*/ 2147483647 h 131"/>
                  <a:gd name="T48" fmla="*/ 0 w 143"/>
                  <a:gd name="T49" fmla="*/ 2147483647 h 131"/>
                  <a:gd name="T50" fmla="*/ 0 w 143"/>
                  <a:gd name="T51" fmla="*/ 2147483647 h 131"/>
                  <a:gd name="T52" fmla="*/ 2147483647 w 143"/>
                  <a:gd name="T53" fmla="*/ 2147483647 h 131"/>
                  <a:gd name="T54" fmla="*/ 2147483647 w 143"/>
                  <a:gd name="T55" fmla="*/ 2147483647 h 131"/>
                  <a:gd name="T56" fmla="*/ 2147483647 w 143"/>
                  <a:gd name="T57" fmla="*/ 2147483647 h 131"/>
                  <a:gd name="T58" fmla="*/ 2147483647 w 143"/>
                  <a:gd name="T59" fmla="*/ 2147483647 h 131"/>
                  <a:gd name="T60" fmla="*/ 2147483647 w 143"/>
                  <a:gd name="T61" fmla="*/ 2147483647 h 131"/>
                  <a:gd name="T62" fmla="*/ 2147483647 w 143"/>
                  <a:gd name="T63" fmla="*/ 2147483647 h 131"/>
                  <a:gd name="T64" fmla="*/ 2147483647 w 143"/>
                  <a:gd name="T65" fmla="*/ 2147483647 h 131"/>
                  <a:gd name="T66" fmla="*/ 2147483647 w 143"/>
                  <a:gd name="T67" fmla="*/ 2147483647 h 131"/>
                  <a:gd name="T68" fmla="*/ 2147483647 w 143"/>
                  <a:gd name="T69" fmla="*/ 2147483647 h 131"/>
                  <a:gd name="T70" fmla="*/ 2147483647 w 143"/>
                  <a:gd name="T71" fmla="*/ 2147483647 h 131"/>
                  <a:gd name="T72" fmla="*/ 2147483647 w 143"/>
                  <a:gd name="T73" fmla="*/ 2147483647 h 131"/>
                  <a:gd name="T74" fmla="*/ 2147483647 w 143"/>
                  <a:gd name="T75" fmla="*/ 2147483647 h 131"/>
                  <a:gd name="T76" fmla="*/ 2147483647 w 143"/>
                  <a:gd name="T77" fmla="*/ 2147483647 h 131"/>
                  <a:gd name="T78" fmla="*/ 2147483647 w 143"/>
                  <a:gd name="T79" fmla="*/ 2147483647 h 131"/>
                  <a:gd name="T80" fmla="*/ 2147483647 w 143"/>
                  <a:gd name="T81" fmla="*/ 2147483647 h 131"/>
                  <a:gd name="T82" fmla="*/ 2147483647 w 143"/>
                  <a:gd name="T83" fmla="*/ 2147483647 h 131"/>
                  <a:gd name="T84" fmla="*/ 2147483647 w 143"/>
                  <a:gd name="T85" fmla="*/ 2147483647 h 131"/>
                  <a:gd name="T86" fmla="*/ 2147483647 w 143"/>
                  <a:gd name="T87" fmla="*/ 2147483647 h 131"/>
                  <a:gd name="T88" fmla="*/ 2147483647 w 143"/>
                  <a:gd name="T89" fmla="*/ 2147483647 h 131"/>
                  <a:gd name="T90" fmla="*/ 2147483647 w 143"/>
                  <a:gd name="T91" fmla="*/ 2147483647 h 131"/>
                  <a:gd name="T92" fmla="*/ 2147483647 w 143"/>
                  <a:gd name="T93" fmla="*/ 2147483647 h 131"/>
                  <a:gd name="T94" fmla="*/ 2147483647 w 143"/>
                  <a:gd name="T95" fmla="*/ 2147483647 h 131"/>
                  <a:gd name="T96" fmla="*/ 2147483647 w 143"/>
                  <a:gd name="T97" fmla="*/ 2147483647 h 131"/>
                  <a:gd name="T98" fmla="*/ 2147483647 w 143"/>
                  <a:gd name="T99" fmla="*/ 2147483647 h 131"/>
                  <a:gd name="T100" fmla="*/ 2147483647 w 143"/>
                  <a:gd name="T101" fmla="*/ 2147483647 h 131"/>
                  <a:gd name="T102" fmla="*/ 2147483647 w 143"/>
                  <a:gd name="T103" fmla="*/ 2147483647 h 131"/>
                  <a:gd name="T104" fmla="*/ 2147483647 w 143"/>
                  <a:gd name="T105" fmla="*/ 2147483647 h 131"/>
                  <a:gd name="T106" fmla="*/ 2147483647 w 143"/>
                  <a:gd name="T107" fmla="*/ 2147483647 h 131"/>
                  <a:gd name="T108" fmla="*/ 2147483647 w 143"/>
                  <a:gd name="T109" fmla="*/ 2147483647 h 131"/>
                  <a:gd name="T110" fmla="*/ 2147483647 w 143"/>
                  <a:gd name="T111" fmla="*/ 2147483647 h 131"/>
                  <a:gd name="T112" fmla="*/ 2147483647 w 143"/>
                  <a:gd name="T113" fmla="*/ 2147483647 h 13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43"/>
                  <a:gd name="T172" fmla="*/ 0 h 131"/>
                  <a:gd name="T173" fmla="*/ 143 w 143"/>
                  <a:gd name="T174" fmla="*/ 131 h 13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43" h="131">
                    <a:moveTo>
                      <a:pt x="142" y="26"/>
                    </a:moveTo>
                    <a:lnTo>
                      <a:pt x="136" y="20"/>
                    </a:lnTo>
                    <a:lnTo>
                      <a:pt x="132" y="16"/>
                    </a:lnTo>
                    <a:lnTo>
                      <a:pt x="130" y="13"/>
                    </a:lnTo>
                    <a:lnTo>
                      <a:pt x="128" y="9"/>
                    </a:lnTo>
                    <a:lnTo>
                      <a:pt x="124" y="9"/>
                    </a:lnTo>
                    <a:lnTo>
                      <a:pt x="120" y="9"/>
                    </a:lnTo>
                    <a:lnTo>
                      <a:pt x="116" y="9"/>
                    </a:lnTo>
                    <a:lnTo>
                      <a:pt x="112" y="9"/>
                    </a:lnTo>
                    <a:lnTo>
                      <a:pt x="108" y="11"/>
                    </a:lnTo>
                    <a:lnTo>
                      <a:pt x="105" y="13"/>
                    </a:lnTo>
                    <a:lnTo>
                      <a:pt x="101" y="13"/>
                    </a:lnTo>
                    <a:lnTo>
                      <a:pt x="97" y="11"/>
                    </a:lnTo>
                    <a:lnTo>
                      <a:pt x="93" y="9"/>
                    </a:lnTo>
                    <a:lnTo>
                      <a:pt x="93" y="5"/>
                    </a:lnTo>
                    <a:lnTo>
                      <a:pt x="93" y="2"/>
                    </a:lnTo>
                    <a:lnTo>
                      <a:pt x="89" y="0"/>
                    </a:lnTo>
                    <a:lnTo>
                      <a:pt x="85" y="0"/>
                    </a:lnTo>
                    <a:lnTo>
                      <a:pt x="81" y="0"/>
                    </a:lnTo>
                    <a:lnTo>
                      <a:pt x="75" y="0"/>
                    </a:lnTo>
                    <a:lnTo>
                      <a:pt x="71" y="0"/>
                    </a:lnTo>
                    <a:lnTo>
                      <a:pt x="67" y="0"/>
                    </a:lnTo>
                    <a:lnTo>
                      <a:pt x="61" y="0"/>
                    </a:lnTo>
                    <a:lnTo>
                      <a:pt x="53" y="0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1" y="0"/>
                    </a:lnTo>
                    <a:lnTo>
                      <a:pt x="37" y="0"/>
                    </a:lnTo>
                    <a:lnTo>
                      <a:pt x="34" y="2"/>
                    </a:lnTo>
                    <a:lnTo>
                      <a:pt x="30" y="4"/>
                    </a:lnTo>
                    <a:lnTo>
                      <a:pt x="26" y="5"/>
                    </a:lnTo>
                    <a:lnTo>
                      <a:pt x="24" y="9"/>
                    </a:lnTo>
                    <a:lnTo>
                      <a:pt x="20" y="13"/>
                    </a:lnTo>
                    <a:lnTo>
                      <a:pt x="18" y="16"/>
                    </a:lnTo>
                    <a:lnTo>
                      <a:pt x="14" y="20"/>
                    </a:lnTo>
                    <a:lnTo>
                      <a:pt x="12" y="24"/>
                    </a:lnTo>
                    <a:lnTo>
                      <a:pt x="12" y="27"/>
                    </a:lnTo>
                    <a:lnTo>
                      <a:pt x="14" y="31"/>
                    </a:lnTo>
                    <a:lnTo>
                      <a:pt x="10" y="33"/>
                    </a:lnTo>
                    <a:lnTo>
                      <a:pt x="10" y="37"/>
                    </a:lnTo>
                    <a:lnTo>
                      <a:pt x="10" y="40"/>
                    </a:lnTo>
                    <a:lnTo>
                      <a:pt x="12" y="44"/>
                    </a:lnTo>
                    <a:lnTo>
                      <a:pt x="14" y="48"/>
                    </a:lnTo>
                    <a:lnTo>
                      <a:pt x="14" y="51"/>
                    </a:lnTo>
                    <a:lnTo>
                      <a:pt x="12" y="55"/>
                    </a:lnTo>
                    <a:lnTo>
                      <a:pt x="10" y="59"/>
                    </a:lnTo>
                    <a:lnTo>
                      <a:pt x="6" y="62"/>
                    </a:lnTo>
                    <a:lnTo>
                      <a:pt x="2" y="64"/>
                    </a:lnTo>
                    <a:lnTo>
                      <a:pt x="0" y="68"/>
                    </a:lnTo>
                    <a:lnTo>
                      <a:pt x="0" y="71"/>
                    </a:lnTo>
                    <a:lnTo>
                      <a:pt x="0" y="75"/>
                    </a:lnTo>
                    <a:lnTo>
                      <a:pt x="0" y="79"/>
                    </a:lnTo>
                    <a:lnTo>
                      <a:pt x="2" y="82"/>
                    </a:lnTo>
                    <a:lnTo>
                      <a:pt x="6" y="84"/>
                    </a:lnTo>
                    <a:lnTo>
                      <a:pt x="10" y="86"/>
                    </a:lnTo>
                    <a:lnTo>
                      <a:pt x="16" y="88"/>
                    </a:lnTo>
                    <a:lnTo>
                      <a:pt x="20" y="88"/>
                    </a:lnTo>
                    <a:lnTo>
                      <a:pt x="24" y="90"/>
                    </a:lnTo>
                    <a:lnTo>
                      <a:pt x="26" y="93"/>
                    </a:lnTo>
                    <a:lnTo>
                      <a:pt x="26" y="97"/>
                    </a:lnTo>
                    <a:lnTo>
                      <a:pt x="26" y="101"/>
                    </a:lnTo>
                    <a:lnTo>
                      <a:pt x="26" y="104"/>
                    </a:lnTo>
                    <a:lnTo>
                      <a:pt x="28" y="108"/>
                    </a:lnTo>
                    <a:lnTo>
                      <a:pt x="30" y="112"/>
                    </a:lnTo>
                    <a:lnTo>
                      <a:pt x="34" y="115"/>
                    </a:lnTo>
                    <a:lnTo>
                      <a:pt x="36" y="119"/>
                    </a:lnTo>
                    <a:lnTo>
                      <a:pt x="36" y="123"/>
                    </a:lnTo>
                    <a:lnTo>
                      <a:pt x="36" y="126"/>
                    </a:lnTo>
                    <a:lnTo>
                      <a:pt x="36" y="130"/>
                    </a:lnTo>
                    <a:lnTo>
                      <a:pt x="39" y="130"/>
                    </a:lnTo>
                    <a:lnTo>
                      <a:pt x="43" y="130"/>
                    </a:lnTo>
                    <a:lnTo>
                      <a:pt x="45" y="126"/>
                    </a:lnTo>
                    <a:lnTo>
                      <a:pt x="49" y="125"/>
                    </a:lnTo>
                    <a:lnTo>
                      <a:pt x="53" y="125"/>
                    </a:lnTo>
                    <a:lnTo>
                      <a:pt x="57" y="123"/>
                    </a:lnTo>
                    <a:lnTo>
                      <a:pt x="61" y="121"/>
                    </a:lnTo>
                    <a:lnTo>
                      <a:pt x="65" y="119"/>
                    </a:lnTo>
                    <a:lnTo>
                      <a:pt x="69" y="119"/>
                    </a:lnTo>
                    <a:lnTo>
                      <a:pt x="73" y="117"/>
                    </a:lnTo>
                    <a:lnTo>
                      <a:pt x="77" y="117"/>
                    </a:lnTo>
                    <a:lnTo>
                      <a:pt x="81" y="117"/>
                    </a:lnTo>
                    <a:lnTo>
                      <a:pt x="85" y="115"/>
                    </a:lnTo>
                    <a:lnTo>
                      <a:pt x="89" y="114"/>
                    </a:lnTo>
                    <a:lnTo>
                      <a:pt x="91" y="110"/>
                    </a:lnTo>
                    <a:lnTo>
                      <a:pt x="95" y="108"/>
                    </a:lnTo>
                    <a:lnTo>
                      <a:pt x="99" y="108"/>
                    </a:lnTo>
                    <a:lnTo>
                      <a:pt x="103" y="108"/>
                    </a:lnTo>
                    <a:lnTo>
                      <a:pt x="105" y="104"/>
                    </a:lnTo>
                    <a:lnTo>
                      <a:pt x="105" y="101"/>
                    </a:lnTo>
                    <a:lnTo>
                      <a:pt x="110" y="101"/>
                    </a:lnTo>
                    <a:lnTo>
                      <a:pt x="114" y="99"/>
                    </a:lnTo>
                    <a:lnTo>
                      <a:pt x="118" y="97"/>
                    </a:lnTo>
                    <a:lnTo>
                      <a:pt x="122" y="95"/>
                    </a:lnTo>
                    <a:lnTo>
                      <a:pt x="122" y="92"/>
                    </a:lnTo>
                    <a:lnTo>
                      <a:pt x="122" y="88"/>
                    </a:lnTo>
                    <a:lnTo>
                      <a:pt x="122" y="84"/>
                    </a:lnTo>
                    <a:lnTo>
                      <a:pt x="122" y="81"/>
                    </a:lnTo>
                    <a:lnTo>
                      <a:pt x="120" y="77"/>
                    </a:lnTo>
                    <a:lnTo>
                      <a:pt x="122" y="73"/>
                    </a:lnTo>
                    <a:lnTo>
                      <a:pt x="124" y="70"/>
                    </a:lnTo>
                    <a:lnTo>
                      <a:pt x="126" y="66"/>
                    </a:lnTo>
                    <a:lnTo>
                      <a:pt x="122" y="62"/>
                    </a:lnTo>
                    <a:lnTo>
                      <a:pt x="122" y="59"/>
                    </a:lnTo>
                    <a:lnTo>
                      <a:pt x="124" y="55"/>
                    </a:lnTo>
                    <a:lnTo>
                      <a:pt x="126" y="51"/>
                    </a:lnTo>
                    <a:lnTo>
                      <a:pt x="130" y="48"/>
                    </a:lnTo>
                    <a:lnTo>
                      <a:pt x="128" y="44"/>
                    </a:lnTo>
                    <a:lnTo>
                      <a:pt x="128" y="40"/>
                    </a:lnTo>
                    <a:lnTo>
                      <a:pt x="130" y="37"/>
                    </a:lnTo>
                    <a:lnTo>
                      <a:pt x="134" y="37"/>
                    </a:lnTo>
                    <a:lnTo>
                      <a:pt x="138" y="35"/>
                    </a:lnTo>
                    <a:lnTo>
                      <a:pt x="140" y="31"/>
                    </a:lnTo>
                    <a:lnTo>
                      <a:pt x="138" y="27"/>
                    </a:lnTo>
                    <a:lnTo>
                      <a:pt x="136" y="24"/>
                    </a:lnTo>
                    <a:lnTo>
                      <a:pt x="142" y="26"/>
                    </a:lnTo>
                  </a:path>
                </a:pathLst>
              </a:custGeom>
              <a:solidFill>
                <a:srgbClr val="DC8700"/>
              </a:solidFill>
              <a:ln w="12700" cap="rnd">
                <a:solidFill>
                  <a:srgbClr val="D2E0E6"/>
                </a:solidFill>
                <a:round/>
                <a:headEnd/>
                <a:tailEnd/>
              </a:ln>
            </p:spPr>
            <p:txBody>
              <a:bodyPr lIns="93292" tIns="46646" rIns="93292" bIns="46646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kern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22548" name="TextBox 186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55663" y="1402356"/>
              <a:ext cx="1274762" cy="214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9611" tIns="44806" rIns="89611" bIns="44806">
              <a:spAutoFit/>
            </a:bodyPr>
            <a:lstStyle>
              <a:lvl1pPr eaLnBrk="0" hangingPunct="0">
                <a:spcBef>
                  <a:spcPct val="20000"/>
                </a:spcBef>
                <a:buBlip>
                  <a:blip r:embed="rId102"/>
                </a:buBlip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00"/>
                </a:spcBef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auto" hangingPunct="1"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ru-RU" altLang="ru-RU" sz="800">
                  <a:solidFill>
                    <a:srgbClr val="000000"/>
                  </a:solidFill>
                  <a:cs typeface="+mn-cs"/>
                </a:rPr>
                <a:t>НПЗ НК «Роснефть»</a:t>
              </a:r>
              <a:endParaRPr lang="ru-RU" altLang="ru-RU" sz="180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22549" name="TextBox 197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855663" y="1613431"/>
              <a:ext cx="2800350" cy="214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9611" tIns="44806" rIns="89611" bIns="44806">
              <a:spAutoFit/>
            </a:bodyPr>
            <a:lstStyle>
              <a:lvl1pPr eaLnBrk="0" hangingPunct="0">
                <a:spcBef>
                  <a:spcPct val="20000"/>
                </a:spcBef>
                <a:buBlip>
                  <a:blip r:embed="rId102"/>
                </a:buBlip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00"/>
                </a:spcBef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auto" hangingPunct="1"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ru-RU" altLang="ru-RU" sz="800">
                  <a:solidFill>
                    <a:srgbClr val="000000"/>
                  </a:solidFill>
                  <a:cs typeface="+mn-cs"/>
                </a:rPr>
                <a:t>Регионы присутствия НК «Роснефть»</a:t>
              </a:r>
              <a:endParaRPr lang="ru-RU" altLang="ru-RU" sz="180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894" name="Freeform 87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749300" y="1630889"/>
              <a:ext cx="153988" cy="152355"/>
            </a:xfrm>
            <a:custGeom>
              <a:avLst/>
              <a:gdLst>
                <a:gd name="T0" fmla="*/ 2147483647 w 174"/>
                <a:gd name="T1" fmla="*/ 2147483647 h 189"/>
                <a:gd name="T2" fmla="*/ 2147483647 w 174"/>
                <a:gd name="T3" fmla="*/ 2147483647 h 189"/>
                <a:gd name="T4" fmla="*/ 2147483647 w 174"/>
                <a:gd name="T5" fmla="*/ 2147483647 h 189"/>
                <a:gd name="T6" fmla="*/ 2147483647 w 174"/>
                <a:gd name="T7" fmla="*/ 2147483647 h 189"/>
                <a:gd name="T8" fmla="*/ 2147483647 w 174"/>
                <a:gd name="T9" fmla="*/ 2147483647 h 189"/>
                <a:gd name="T10" fmla="*/ 2147483647 w 174"/>
                <a:gd name="T11" fmla="*/ 2147483647 h 189"/>
                <a:gd name="T12" fmla="*/ 2147483647 w 174"/>
                <a:gd name="T13" fmla="*/ 2147483647 h 189"/>
                <a:gd name="T14" fmla="*/ 2147483647 w 174"/>
                <a:gd name="T15" fmla="*/ 2147483647 h 189"/>
                <a:gd name="T16" fmla="*/ 2147483647 w 174"/>
                <a:gd name="T17" fmla="*/ 2147483647 h 189"/>
                <a:gd name="T18" fmla="*/ 2147483647 w 174"/>
                <a:gd name="T19" fmla="*/ 2147483647 h 189"/>
                <a:gd name="T20" fmla="*/ 2147483647 w 174"/>
                <a:gd name="T21" fmla="*/ 2147483647 h 189"/>
                <a:gd name="T22" fmla="*/ 2147483647 w 174"/>
                <a:gd name="T23" fmla="*/ 2147483647 h 189"/>
                <a:gd name="T24" fmla="*/ 2147483647 w 174"/>
                <a:gd name="T25" fmla="*/ 2147483647 h 189"/>
                <a:gd name="T26" fmla="*/ 2147483647 w 174"/>
                <a:gd name="T27" fmla="*/ 2147483647 h 189"/>
                <a:gd name="T28" fmla="*/ 2147483647 w 174"/>
                <a:gd name="T29" fmla="*/ 2147483647 h 189"/>
                <a:gd name="T30" fmla="*/ 2147483647 w 174"/>
                <a:gd name="T31" fmla="*/ 2147483647 h 189"/>
                <a:gd name="T32" fmla="*/ 2147483647 w 174"/>
                <a:gd name="T33" fmla="*/ 2147483647 h 189"/>
                <a:gd name="T34" fmla="*/ 2147483647 w 174"/>
                <a:gd name="T35" fmla="*/ 2147483647 h 189"/>
                <a:gd name="T36" fmla="*/ 2147483647 w 174"/>
                <a:gd name="T37" fmla="*/ 2147483647 h 189"/>
                <a:gd name="T38" fmla="*/ 2147483647 w 174"/>
                <a:gd name="T39" fmla="*/ 2147483647 h 189"/>
                <a:gd name="T40" fmla="*/ 2147483647 w 174"/>
                <a:gd name="T41" fmla="*/ 2147483647 h 189"/>
                <a:gd name="T42" fmla="*/ 2147483647 w 174"/>
                <a:gd name="T43" fmla="*/ 2147483647 h 189"/>
                <a:gd name="T44" fmla="*/ 2147483647 w 174"/>
                <a:gd name="T45" fmla="*/ 2147483647 h 189"/>
                <a:gd name="T46" fmla="*/ 2147483647 w 174"/>
                <a:gd name="T47" fmla="*/ 2147483647 h 189"/>
                <a:gd name="T48" fmla="*/ 2147483647 w 174"/>
                <a:gd name="T49" fmla="*/ 2147483647 h 189"/>
                <a:gd name="T50" fmla="*/ 2147483647 w 174"/>
                <a:gd name="T51" fmla="*/ 2147483647 h 189"/>
                <a:gd name="T52" fmla="*/ 2147483647 w 174"/>
                <a:gd name="T53" fmla="*/ 2147483647 h 189"/>
                <a:gd name="T54" fmla="*/ 2147483647 w 174"/>
                <a:gd name="T55" fmla="*/ 2147483647 h 189"/>
                <a:gd name="T56" fmla="*/ 2147483647 w 174"/>
                <a:gd name="T57" fmla="*/ 2147483647 h 189"/>
                <a:gd name="T58" fmla="*/ 2147483647 w 174"/>
                <a:gd name="T59" fmla="*/ 2147483647 h 189"/>
                <a:gd name="T60" fmla="*/ 2147483647 w 174"/>
                <a:gd name="T61" fmla="*/ 2147483647 h 189"/>
                <a:gd name="T62" fmla="*/ 2147483647 w 174"/>
                <a:gd name="T63" fmla="*/ 2147483647 h 189"/>
                <a:gd name="T64" fmla="*/ 2147483647 w 174"/>
                <a:gd name="T65" fmla="*/ 2147483647 h 189"/>
                <a:gd name="T66" fmla="*/ 2147483647 w 174"/>
                <a:gd name="T67" fmla="*/ 2147483647 h 189"/>
                <a:gd name="T68" fmla="*/ 2147483647 w 174"/>
                <a:gd name="T69" fmla="*/ 2147483647 h 189"/>
                <a:gd name="T70" fmla="*/ 2147483647 w 174"/>
                <a:gd name="T71" fmla="*/ 2147483647 h 189"/>
                <a:gd name="T72" fmla="*/ 2147483647 w 174"/>
                <a:gd name="T73" fmla="*/ 2147483647 h 189"/>
                <a:gd name="T74" fmla="*/ 2147483647 w 174"/>
                <a:gd name="T75" fmla="*/ 2147483647 h 189"/>
                <a:gd name="T76" fmla="*/ 2147483647 w 174"/>
                <a:gd name="T77" fmla="*/ 2147483647 h 189"/>
                <a:gd name="T78" fmla="*/ 2147483647 w 174"/>
                <a:gd name="T79" fmla="*/ 2147483647 h 189"/>
                <a:gd name="T80" fmla="*/ 2147483647 w 174"/>
                <a:gd name="T81" fmla="*/ 2147483647 h 189"/>
                <a:gd name="T82" fmla="*/ 2147483647 w 174"/>
                <a:gd name="T83" fmla="*/ 2147483647 h 189"/>
                <a:gd name="T84" fmla="*/ 2147483647 w 174"/>
                <a:gd name="T85" fmla="*/ 2147483647 h 189"/>
                <a:gd name="T86" fmla="*/ 2147483647 w 174"/>
                <a:gd name="T87" fmla="*/ 2147483647 h 189"/>
                <a:gd name="T88" fmla="*/ 2147483647 w 174"/>
                <a:gd name="T89" fmla="*/ 2147483647 h 189"/>
                <a:gd name="T90" fmla="*/ 2147483647 w 174"/>
                <a:gd name="T91" fmla="*/ 2147483647 h 189"/>
                <a:gd name="T92" fmla="*/ 2147483647 w 174"/>
                <a:gd name="T93" fmla="*/ 2147483647 h 189"/>
                <a:gd name="T94" fmla="*/ 2147483647 w 174"/>
                <a:gd name="T95" fmla="*/ 2147483647 h 189"/>
                <a:gd name="T96" fmla="*/ 2147483647 w 174"/>
                <a:gd name="T97" fmla="*/ 2147483647 h 189"/>
                <a:gd name="T98" fmla="*/ 2147483647 w 174"/>
                <a:gd name="T99" fmla="*/ 2147483647 h 189"/>
                <a:gd name="T100" fmla="*/ 2147483647 w 174"/>
                <a:gd name="T101" fmla="*/ 0 h 189"/>
                <a:gd name="T102" fmla="*/ 2147483647 w 174"/>
                <a:gd name="T103" fmla="*/ 0 h 18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4"/>
                <a:gd name="T157" fmla="*/ 0 h 189"/>
                <a:gd name="T158" fmla="*/ 174 w 174"/>
                <a:gd name="T159" fmla="*/ 189 h 18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4" h="189">
                  <a:moveTo>
                    <a:pt x="58" y="0"/>
                  </a:moveTo>
                  <a:lnTo>
                    <a:pt x="54" y="0"/>
                  </a:lnTo>
                  <a:lnTo>
                    <a:pt x="49" y="1"/>
                  </a:lnTo>
                  <a:lnTo>
                    <a:pt x="45" y="2"/>
                  </a:lnTo>
                  <a:lnTo>
                    <a:pt x="40" y="2"/>
                  </a:lnTo>
                  <a:lnTo>
                    <a:pt x="36" y="5"/>
                  </a:lnTo>
                  <a:lnTo>
                    <a:pt x="33" y="8"/>
                  </a:lnTo>
                  <a:lnTo>
                    <a:pt x="31" y="12"/>
                  </a:lnTo>
                  <a:lnTo>
                    <a:pt x="28" y="14"/>
                  </a:lnTo>
                  <a:lnTo>
                    <a:pt x="23" y="15"/>
                  </a:lnTo>
                  <a:lnTo>
                    <a:pt x="19" y="17"/>
                  </a:lnTo>
                  <a:lnTo>
                    <a:pt x="15" y="23"/>
                  </a:lnTo>
                  <a:lnTo>
                    <a:pt x="13" y="26"/>
                  </a:lnTo>
                  <a:lnTo>
                    <a:pt x="9" y="32"/>
                  </a:lnTo>
                  <a:lnTo>
                    <a:pt x="5" y="32"/>
                  </a:lnTo>
                  <a:lnTo>
                    <a:pt x="3" y="36"/>
                  </a:lnTo>
                  <a:lnTo>
                    <a:pt x="1" y="41"/>
                  </a:lnTo>
                  <a:lnTo>
                    <a:pt x="1" y="45"/>
                  </a:lnTo>
                  <a:lnTo>
                    <a:pt x="0" y="50"/>
                  </a:lnTo>
                  <a:lnTo>
                    <a:pt x="1" y="53"/>
                  </a:lnTo>
                  <a:lnTo>
                    <a:pt x="1" y="58"/>
                  </a:lnTo>
                  <a:lnTo>
                    <a:pt x="6" y="59"/>
                  </a:lnTo>
                  <a:lnTo>
                    <a:pt x="11" y="63"/>
                  </a:lnTo>
                  <a:lnTo>
                    <a:pt x="16" y="63"/>
                  </a:lnTo>
                  <a:lnTo>
                    <a:pt x="19" y="68"/>
                  </a:lnTo>
                  <a:lnTo>
                    <a:pt x="23" y="71"/>
                  </a:lnTo>
                  <a:lnTo>
                    <a:pt x="27" y="75"/>
                  </a:lnTo>
                  <a:lnTo>
                    <a:pt x="29" y="78"/>
                  </a:lnTo>
                  <a:lnTo>
                    <a:pt x="30" y="83"/>
                  </a:lnTo>
                  <a:lnTo>
                    <a:pt x="30" y="86"/>
                  </a:lnTo>
                  <a:lnTo>
                    <a:pt x="31" y="91"/>
                  </a:lnTo>
                  <a:lnTo>
                    <a:pt x="31" y="95"/>
                  </a:lnTo>
                  <a:lnTo>
                    <a:pt x="36" y="99"/>
                  </a:lnTo>
                  <a:lnTo>
                    <a:pt x="41" y="102"/>
                  </a:lnTo>
                  <a:lnTo>
                    <a:pt x="42" y="107"/>
                  </a:lnTo>
                  <a:lnTo>
                    <a:pt x="41" y="110"/>
                  </a:lnTo>
                  <a:lnTo>
                    <a:pt x="38" y="115"/>
                  </a:lnTo>
                  <a:lnTo>
                    <a:pt x="37" y="120"/>
                  </a:lnTo>
                  <a:lnTo>
                    <a:pt x="35" y="123"/>
                  </a:lnTo>
                  <a:lnTo>
                    <a:pt x="31" y="127"/>
                  </a:lnTo>
                  <a:lnTo>
                    <a:pt x="29" y="131"/>
                  </a:lnTo>
                  <a:lnTo>
                    <a:pt x="26" y="133"/>
                  </a:lnTo>
                  <a:lnTo>
                    <a:pt x="30" y="136"/>
                  </a:lnTo>
                  <a:lnTo>
                    <a:pt x="35" y="137"/>
                  </a:lnTo>
                  <a:lnTo>
                    <a:pt x="39" y="138"/>
                  </a:lnTo>
                  <a:lnTo>
                    <a:pt x="44" y="139"/>
                  </a:lnTo>
                  <a:lnTo>
                    <a:pt x="49" y="143"/>
                  </a:lnTo>
                  <a:lnTo>
                    <a:pt x="50" y="147"/>
                  </a:lnTo>
                  <a:lnTo>
                    <a:pt x="55" y="151"/>
                  </a:lnTo>
                  <a:lnTo>
                    <a:pt x="56" y="155"/>
                  </a:lnTo>
                  <a:lnTo>
                    <a:pt x="57" y="159"/>
                  </a:lnTo>
                  <a:lnTo>
                    <a:pt x="61" y="160"/>
                  </a:lnTo>
                  <a:lnTo>
                    <a:pt x="62" y="164"/>
                  </a:lnTo>
                  <a:lnTo>
                    <a:pt x="58" y="166"/>
                  </a:lnTo>
                  <a:lnTo>
                    <a:pt x="55" y="172"/>
                  </a:lnTo>
                  <a:lnTo>
                    <a:pt x="53" y="175"/>
                  </a:lnTo>
                  <a:lnTo>
                    <a:pt x="50" y="179"/>
                  </a:lnTo>
                  <a:lnTo>
                    <a:pt x="50" y="183"/>
                  </a:lnTo>
                  <a:lnTo>
                    <a:pt x="55" y="184"/>
                  </a:lnTo>
                  <a:lnTo>
                    <a:pt x="55" y="188"/>
                  </a:lnTo>
                  <a:lnTo>
                    <a:pt x="60" y="189"/>
                  </a:lnTo>
                  <a:lnTo>
                    <a:pt x="63" y="187"/>
                  </a:lnTo>
                  <a:lnTo>
                    <a:pt x="68" y="186"/>
                  </a:lnTo>
                  <a:lnTo>
                    <a:pt x="67" y="182"/>
                  </a:lnTo>
                  <a:lnTo>
                    <a:pt x="71" y="180"/>
                  </a:lnTo>
                  <a:lnTo>
                    <a:pt x="78" y="179"/>
                  </a:lnTo>
                  <a:lnTo>
                    <a:pt x="82" y="178"/>
                  </a:lnTo>
                  <a:lnTo>
                    <a:pt x="82" y="181"/>
                  </a:lnTo>
                  <a:lnTo>
                    <a:pt x="87" y="181"/>
                  </a:lnTo>
                  <a:lnTo>
                    <a:pt x="92" y="183"/>
                  </a:lnTo>
                  <a:lnTo>
                    <a:pt x="96" y="179"/>
                  </a:lnTo>
                  <a:lnTo>
                    <a:pt x="100" y="179"/>
                  </a:lnTo>
                  <a:lnTo>
                    <a:pt x="105" y="178"/>
                  </a:lnTo>
                  <a:lnTo>
                    <a:pt x="109" y="177"/>
                  </a:lnTo>
                  <a:lnTo>
                    <a:pt x="114" y="177"/>
                  </a:lnTo>
                  <a:lnTo>
                    <a:pt x="119" y="176"/>
                  </a:lnTo>
                  <a:lnTo>
                    <a:pt x="123" y="176"/>
                  </a:lnTo>
                  <a:lnTo>
                    <a:pt x="128" y="175"/>
                  </a:lnTo>
                  <a:lnTo>
                    <a:pt x="132" y="174"/>
                  </a:lnTo>
                  <a:lnTo>
                    <a:pt x="137" y="174"/>
                  </a:lnTo>
                  <a:lnTo>
                    <a:pt x="141" y="173"/>
                  </a:lnTo>
                  <a:lnTo>
                    <a:pt x="144" y="173"/>
                  </a:lnTo>
                  <a:lnTo>
                    <a:pt x="149" y="172"/>
                  </a:lnTo>
                  <a:lnTo>
                    <a:pt x="154" y="172"/>
                  </a:lnTo>
                  <a:lnTo>
                    <a:pt x="158" y="171"/>
                  </a:lnTo>
                  <a:lnTo>
                    <a:pt x="163" y="169"/>
                  </a:lnTo>
                  <a:lnTo>
                    <a:pt x="162" y="165"/>
                  </a:lnTo>
                  <a:lnTo>
                    <a:pt x="161" y="161"/>
                  </a:lnTo>
                  <a:lnTo>
                    <a:pt x="165" y="158"/>
                  </a:lnTo>
                  <a:lnTo>
                    <a:pt x="170" y="154"/>
                  </a:lnTo>
                  <a:lnTo>
                    <a:pt x="169" y="149"/>
                  </a:lnTo>
                  <a:lnTo>
                    <a:pt x="170" y="145"/>
                  </a:lnTo>
                  <a:lnTo>
                    <a:pt x="174" y="144"/>
                  </a:lnTo>
                  <a:lnTo>
                    <a:pt x="172" y="139"/>
                  </a:lnTo>
                  <a:lnTo>
                    <a:pt x="169" y="135"/>
                  </a:lnTo>
                  <a:lnTo>
                    <a:pt x="169" y="131"/>
                  </a:lnTo>
                  <a:lnTo>
                    <a:pt x="163" y="130"/>
                  </a:lnTo>
                  <a:lnTo>
                    <a:pt x="159" y="129"/>
                  </a:lnTo>
                  <a:lnTo>
                    <a:pt x="154" y="129"/>
                  </a:lnTo>
                  <a:lnTo>
                    <a:pt x="150" y="130"/>
                  </a:lnTo>
                  <a:lnTo>
                    <a:pt x="149" y="125"/>
                  </a:lnTo>
                  <a:lnTo>
                    <a:pt x="149" y="122"/>
                  </a:lnTo>
                  <a:lnTo>
                    <a:pt x="148" y="115"/>
                  </a:lnTo>
                  <a:lnTo>
                    <a:pt x="146" y="111"/>
                  </a:lnTo>
                  <a:lnTo>
                    <a:pt x="142" y="106"/>
                  </a:lnTo>
                  <a:lnTo>
                    <a:pt x="138" y="104"/>
                  </a:lnTo>
                  <a:lnTo>
                    <a:pt x="134" y="100"/>
                  </a:lnTo>
                  <a:lnTo>
                    <a:pt x="134" y="97"/>
                  </a:lnTo>
                  <a:lnTo>
                    <a:pt x="138" y="94"/>
                  </a:lnTo>
                  <a:lnTo>
                    <a:pt x="140" y="89"/>
                  </a:lnTo>
                  <a:lnTo>
                    <a:pt x="144" y="86"/>
                  </a:lnTo>
                  <a:lnTo>
                    <a:pt x="146" y="82"/>
                  </a:lnTo>
                  <a:lnTo>
                    <a:pt x="150" y="79"/>
                  </a:lnTo>
                  <a:lnTo>
                    <a:pt x="154" y="79"/>
                  </a:lnTo>
                  <a:lnTo>
                    <a:pt x="159" y="76"/>
                  </a:lnTo>
                  <a:lnTo>
                    <a:pt x="158" y="71"/>
                  </a:lnTo>
                  <a:lnTo>
                    <a:pt x="163" y="72"/>
                  </a:lnTo>
                  <a:lnTo>
                    <a:pt x="162" y="78"/>
                  </a:lnTo>
                  <a:lnTo>
                    <a:pt x="162" y="65"/>
                  </a:lnTo>
                  <a:lnTo>
                    <a:pt x="165" y="60"/>
                  </a:lnTo>
                  <a:lnTo>
                    <a:pt x="159" y="59"/>
                  </a:lnTo>
                  <a:lnTo>
                    <a:pt x="162" y="56"/>
                  </a:lnTo>
                  <a:lnTo>
                    <a:pt x="167" y="56"/>
                  </a:lnTo>
                  <a:lnTo>
                    <a:pt x="167" y="52"/>
                  </a:lnTo>
                  <a:lnTo>
                    <a:pt x="166" y="46"/>
                  </a:lnTo>
                  <a:lnTo>
                    <a:pt x="164" y="42"/>
                  </a:lnTo>
                  <a:lnTo>
                    <a:pt x="163" y="38"/>
                  </a:lnTo>
                  <a:lnTo>
                    <a:pt x="162" y="33"/>
                  </a:lnTo>
                  <a:lnTo>
                    <a:pt x="162" y="30"/>
                  </a:lnTo>
                  <a:lnTo>
                    <a:pt x="158" y="26"/>
                  </a:lnTo>
                  <a:lnTo>
                    <a:pt x="154" y="24"/>
                  </a:lnTo>
                  <a:lnTo>
                    <a:pt x="149" y="23"/>
                  </a:lnTo>
                  <a:lnTo>
                    <a:pt x="145" y="23"/>
                  </a:lnTo>
                  <a:lnTo>
                    <a:pt x="138" y="24"/>
                  </a:lnTo>
                  <a:lnTo>
                    <a:pt x="134" y="27"/>
                  </a:lnTo>
                  <a:lnTo>
                    <a:pt x="130" y="30"/>
                  </a:lnTo>
                  <a:lnTo>
                    <a:pt x="124" y="28"/>
                  </a:lnTo>
                  <a:lnTo>
                    <a:pt x="121" y="29"/>
                  </a:lnTo>
                  <a:lnTo>
                    <a:pt x="117" y="29"/>
                  </a:lnTo>
                  <a:lnTo>
                    <a:pt x="112" y="30"/>
                  </a:lnTo>
                  <a:lnTo>
                    <a:pt x="108" y="28"/>
                  </a:lnTo>
                  <a:lnTo>
                    <a:pt x="103" y="29"/>
                  </a:lnTo>
                  <a:lnTo>
                    <a:pt x="99" y="28"/>
                  </a:lnTo>
                  <a:lnTo>
                    <a:pt x="96" y="24"/>
                  </a:lnTo>
                  <a:lnTo>
                    <a:pt x="93" y="20"/>
                  </a:lnTo>
                  <a:lnTo>
                    <a:pt x="92" y="15"/>
                  </a:lnTo>
                  <a:lnTo>
                    <a:pt x="87" y="15"/>
                  </a:lnTo>
                  <a:lnTo>
                    <a:pt x="83" y="16"/>
                  </a:lnTo>
                  <a:lnTo>
                    <a:pt x="79" y="17"/>
                  </a:lnTo>
                  <a:lnTo>
                    <a:pt x="75" y="18"/>
                  </a:lnTo>
                  <a:lnTo>
                    <a:pt x="69" y="18"/>
                  </a:lnTo>
                  <a:lnTo>
                    <a:pt x="65" y="14"/>
                  </a:lnTo>
                  <a:lnTo>
                    <a:pt x="61" y="0"/>
                  </a:lnTo>
                  <a:lnTo>
                    <a:pt x="60" y="2"/>
                  </a:lnTo>
                  <a:lnTo>
                    <a:pt x="56" y="2"/>
                  </a:lnTo>
                  <a:lnTo>
                    <a:pt x="58" y="0"/>
                  </a:lnTo>
                </a:path>
              </a:pathLst>
            </a:custGeom>
            <a:solidFill>
              <a:srgbClr val="DC8700"/>
            </a:solidFill>
            <a:ln w="12700" cap="rnd">
              <a:solidFill>
                <a:srgbClr val="D2E0E6"/>
              </a:solidFill>
              <a:round/>
              <a:headEnd/>
              <a:tailEnd/>
            </a:ln>
          </p:spPr>
          <p:txBody>
            <a:bodyPr lIns="93292" tIns="46646" rIns="93292" bIns="46646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kern="0">
                <a:solidFill>
                  <a:sysClr val="windowText" lastClr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551" name="Freeform 168"/>
            <p:cNvSpPr>
              <a:spLocks noChangeAspect="1" noEditPoints="1"/>
            </p:cNvSpPr>
            <p:nvPr/>
          </p:nvSpPr>
          <p:spPr bwMode="auto">
            <a:xfrm>
              <a:off x="3241675" y="3010023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27"/>
                <a:gd name="T109" fmla="*/ 0 h 1166"/>
                <a:gd name="T110" fmla="*/ 1327 w 1327"/>
                <a:gd name="T111" fmla="*/ 1166 h 116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552" name="Freeform 168"/>
            <p:cNvSpPr>
              <a:spLocks noChangeAspect="1" noEditPoints="1"/>
            </p:cNvSpPr>
            <p:nvPr/>
          </p:nvSpPr>
          <p:spPr bwMode="auto">
            <a:xfrm>
              <a:off x="2774950" y="2848145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27"/>
                <a:gd name="T109" fmla="*/ 0 h 1166"/>
                <a:gd name="T110" fmla="*/ 1327 w 1327"/>
                <a:gd name="T111" fmla="*/ 1166 h 116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553" name="Freeform 168"/>
            <p:cNvSpPr>
              <a:spLocks noChangeAspect="1" noEditPoints="1"/>
            </p:cNvSpPr>
            <p:nvPr/>
          </p:nvSpPr>
          <p:spPr bwMode="auto">
            <a:xfrm>
              <a:off x="4546600" y="2705312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27"/>
                <a:gd name="T109" fmla="*/ 0 h 1166"/>
                <a:gd name="T110" fmla="*/ 1327 w 1327"/>
                <a:gd name="T111" fmla="*/ 1166 h 116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554" name="Freeform 168"/>
            <p:cNvSpPr>
              <a:spLocks noChangeAspect="1" noEditPoints="1"/>
            </p:cNvSpPr>
            <p:nvPr/>
          </p:nvSpPr>
          <p:spPr bwMode="auto">
            <a:xfrm>
              <a:off x="1146175" y="2848145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27"/>
                <a:gd name="T109" fmla="*/ 0 h 1166"/>
                <a:gd name="T110" fmla="*/ 1327 w 1327"/>
                <a:gd name="T111" fmla="*/ 1166 h 116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555" name="Freeform 168"/>
            <p:cNvSpPr>
              <a:spLocks noChangeAspect="1" noEditPoints="1"/>
            </p:cNvSpPr>
            <p:nvPr/>
          </p:nvSpPr>
          <p:spPr bwMode="auto">
            <a:xfrm>
              <a:off x="1050925" y="2933845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27"/>
                <a:gd name="T109" fmla="*/ 0 h 1166"/>
                <a:gd name="T110" fmla="*/ 1327 w 1327"/>
                <a:gd name="T111" fmla="*/ 1166 h 116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556" name="Freeform 168"/>
            <p:cNvSpPr>
              <a:spLocks noChangeAspect="1" noEditPoints="1"/>
            </p:cNvSpPr>
            <p:nvPr/>
          </p:nvSpPr>
          <p:spPr bwMode="auto">
            <a:xfrm>
              <a:off x="1050925" y="2810056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27"/>
                <a:gd name="T109" fmla="*/ 0 h 1166"/>
                <a:gd name="T110" fmla="*/ 1327 w 1327"/>
                <a:gd name="T111" fmla="*/ 1166 h 116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22557" name="Freeform 168"/>
            <p:cNvSpPr>
              <a:spLocks noChangeAspect="1" noEditPoints="1"/>
            </p:cNvSpPr>
            <p:nvPr/>
          </p:nvSpPr>
          <p:spPr bwMode="auto">
            <a:xfrm>
              <a:off x="317500" y="2933845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27"/>
                <a:gd name="T109" fmla="*/ 0 h 1166"/>
                <a:gd name="T110" fmla="*/ 1327 w 1327"/>
                <a:gd name="T111" fmla="*/ 1166 h 116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02" name="Freeform 168"/>
            <p:cNvSpPr>
              <a:spLocks noChangeAspect="1" noEditPoints="1"/>
            </p:cNvSpPr>
            <p:nvPr/>
          </p:nvSpPr>
          <p:spPr bwMode="auto">
            <a:xfrm>
              <a:off x="1314450" y="2897344"/>
              <a:ext cx="139700" cy="112679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tx2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3" name="Freeform 168"/>
            <p:cNvSpPr>
              <a:spLocks noChangeAspect="1" noEditPoints="1"/>
            </p:cNvSpPr>
            <p:nvPr/>
          </p:nvSpPr>
          <p:spPr bwMode="auto">
            <a:xfrm>
              <a:off x="2041525" y="2917975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tx2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560" name="Freeform 168"/>
            <p:cNvSpPr>
              <a:spLocks noChangeAspect="1" noEditPoints="1"/>
            </p:cNvSpPr>
            <p:nvPr/>
          </p:nvSpPr>
          <p:spPr bwMode="auto">
            <a:xfrm>
              <a:off x="762000" y="1448380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27"/>
                <a:gd name="T109" fmla="*/ 0 h 1166"/>
                <a:gd name="T110" fmla="*/ 1327 w 1327"/>
                <a:gd name="T111" fmla="*/ 1166 h 116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prstClr val="black"/>
                </a:solidFill>
                <a:latin typeface="Calibri"/>
                <a:cs typeface="+mn-cs"/>
              </a:endParaRPr>
            </a:p>
          </p:txBody>
        </p:sp>
        <p:sp>
          <p:nvSpPr>
            <p:cNvPr id="905" name="Freeform 168"/>
            <p:cNvSpPr>
              <a:spLocks noChangeAspect="1" noEditPoints="1"/>
            </p:cNvSpPr>
            <p:nvPr/>
          </p:nvSpPr>
          <p:spPr bwMode="auto">
            <a:xfrm>
              <a:off x="2282825" y="1432509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tx2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562" name="TextBox 186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382838" y="1399182"/>
              <a:ext cx="1668462" cy="214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9611" tIns="44806" rIns="89611" bIns="44806">
              <a:spAutoFit/>
            </a:bodyPr>
            <a:lstStyle>
              <a:lvl1pPr eaLnBrk="0" hangingPunct="0">
                <a:spcBef>
                  <a:spcPct val="20000"/>
                </a:spcBef>
                <a:buBlip>
                  <a:blip r:embed="rId102"/>
                </a:buBlip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00"/>
                </a:spcBef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auto" hangingPunct="1"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ru-RU" altLang="ru-RU" sz="800">
                  <a:solidFill>
                    <a:srgbClr val="000000"/>
                  </a:solidFill>
                  <a:cs typeface="+mn-cs"/>
                </a:rPr>
                <a:t>НПЗ ключевых конкурентов</a:t>
              </a:r>
              <a:endParaRPr lang="ru-RU" altLang="ru-RU" sz="180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907" name="Freeform 168"/>
            <p:cNvSpPr>
              <a:spLocks noChangeAspect="1" noEditPoints="1"/>
            </p:cNvSpPr>
            <p:nvPr/>
          </p:nvSpPr>
          <p:spPr bwMode="auto">
            <a:xfrm>
              <a:off x="1060450" y="2486301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tx2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8" name="Freeform 168"/>
            <p:cNvSpPr>
              <a:spLocks noChangeAspect="1" noEditPoints="1"/>
            </p:cNvSpPr>
            <p:nvPr/>
          </p:nvSpPr>
          <p:spPr bwMode="auto">
            <a:xfrm>
              <a:off x="781050" y="2476779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tx2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9" name="Freeform 168"/>
            <p:cNvSpPr>
              <a:spLocks noChangeAspect="1" noEditPoints="1"/>
            </p:cNvSpPr>
            <p:nvPr/>
          </p:nvSpPr>
          <p:spPr bwMode="auto">
            <a:xfrm>
              <a:off x="901700" y="2565653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tx2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0" name="Freeform 168"/>
            <p:cNvSpPr>
              <a:spLocks noChangeAspect="1" noEditPoints="1"/>
            </p:cNvSpPr>
            <p:nvPr/>
          </p:nvSpPr>
          <p:spPr bwMode="auto">
            <a:xfrm>
              <a:off x="923925" y="2422819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tx2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1" name="Freeform 168"/>
            <p:cNvSpPr>
              <a:spLocks noChangeAspect="1" noEditPoints="1"/>
            </p:cNvSpPr>
            <p:nvPr/>
          </p:nvSpPr>
          <p:spPr bwMode="auto">
            <a:xfrm>
              <a:off x="749300" y="2137153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tx2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2" name="Freeform 168"/>
            <p:cNvSpPr>
              <a:spLocks noChangeAspect="1" noEditPoints="1"/>
            </p:cNvSpPr>
            <p:nvPr/>
          </p:nvSpPr>
          <p:spPr bwMode="auto">
            <a:xfrm>
              <a:off x="889000" y="2864015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tx2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3" name="Freeform 168"/>
            <p:cNvSpPr>
              <a:spLocks noChangeAspect="1" noEditPoints="1"/>
            </p:cNvSpPr>
            <p:nvPr/>
          </p:nvSpPr>
          <p:spPr bwMode="auto">
            <a:xfrm>
              <a:off x="708025" y="2917975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tx2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4" name="Freeform 168"/>
            <p:cNvSpPr>
              <a:spLocks noChangeAspect="1" noEditPoints="1"/>
            </p:cNvSpPr>
            <p:nvPr/>
          </p:nvSpPr>
          <p:spPr bwMode="auto">
            <a:xfrm>
              <a:off x="1498600" y="2400601"/>
              <a:ext cx="139700" cy="112680"/>
            </a:xfrm>
            <a:custGeom>
              <a:avLst/>
              <a:gdLst>
                <a:gd name="T0" fmla="*/ 0 w 1327"/>
                <a:gd name="T1" fmla="*/ 0 h 1166"/>
                <a:gd name="T2" fmla="*/ 0 w 1327"/>
                <a:gd name="T3" fmla="*/ 0 h 1166"/>
                <a:gd name="T4" fmla="*/ 0 w 1327"/>
                <a:gd name="T5" fmla="*/ 0 h 1166"/>
                <a:gd name="T6" fmla="*/ 0 w 1327"/>
                <a:gd name="T7" fmla="*/ 0 h 1166"/>
                <a:gd name="T8" fmla="*/ 0 w 1327"/>
                <a:gd name="T9" fmla="*/ 0 h 1166"/>
                <a:gd name="T10" fmla="*/ 0 w 1327"/>
                <a:gd name="T11" fmla="*/ 0 h 1166"/>
                <a:gd name="T12" fmla="*/ 0 w 1327"/>
                <a:gd name="T13" fmla="*/ 0 h 1166"/>
                <a:gd name="T14" fmla="*/ 0 w 1327"/>
                <a:gd name="T15" fmla="*/ 0 h 1166"/>
                <a:gd name="T16" fmla="*/ 0 w 1327"/>
                <a:gd name="T17" fmla="*/ 0 h 1166"/>
                <a:gd name="T18" fmla="*/ 0 w 1327"/>
                <a:gd name="T19" fmla="*/ 0 h 1166"/>
                <a:gd name="T20" fmla="*/ 0 w 1327"/>
                <a:gd name="T21" fmla="*/ 0 h 1166"/>
                <a:gd name="T22" fmla="*/ 0 w 1327"/>
                <a:gd name="T23" fmla="*/ 0 h 1166"/>
                <a:gd name="T24" fmla="*/ 0 w 1327"/>
                <a:gd name="T25" fmla="*/ 0 h 1166"/>
                <a:gd name="T26" fmla="*/ 0 w 1327"/>
                <a:gd name="T27" fmla="*/ 0 h 1166"/>
                <a:gd name="T28" fmla="*/ 0 w 1327"/>
                <a:gd name="T29" fmla="*/ 0 h 1166"/>
                <a:gd name="T30" fmla="*/ 0 w 1327"/>
                <a:gd name="T31" fmla="*/ 0 h 1166"/>
                <a:gd name="T32" fmla="*/ 0 w 1327"/>
                <a:gd name="T33" fmla="*/ 0 h 1166"/>
                <a:gd name="T34" fmla="*/ 0 w 1327"/>
                <a:gd name="T35" fmla="*/ 0 h 1166"/>
                <a:gd name="T36" fmla="*/ 0 w 1327"/>
                <a:gd name="T37" fmla="*/ 0 h 1166"/>
                <a:gd name="T38" fmla="*/ 0 w 1327"/>
                <a:gd name="T39" fmla="*/ 0 h 1166"/>
                <a:gd name="T40" fmla="*/ 0 w 1327"/>
                <a:gd name="T41" fmla="*/ 0 h 1166"/>
                <a:gd name="T42" fmla="*/ 0 w 1327"/>
                <a:gd name="T43" fmla="*/ 0 h 1166"/>
                <a:gd name="T44" fmla="*/ 0 w 1327"/>
                <a:gd name="T45" fmla="*/ 0 h 1166"/>
                <a:gd name="T46" fmla="*/ 0 w 1327"/>
                <a:gd name="T47" fmla="*/ 0 h 1166"/>
                <a:gd name="T48" fmla="*/ 0 w 1327"/>
                <a:gd name="T49" fmla="*/ 0 h 1166"/>
                <a:gd name="T50" fmla="*/ 0 w 1327"/>
                <a:gd name="T51" fmla="*/ 0 h 1166"/>
                <a:gd name="T52" fmla="*/ 0 w 1327"/>
                <a:gd name="T53" fmla="*/ 0 h 1166"/>
                <a:gd name="T54" fmla="*/ 0 w 1327"/>
                <a:gd name="T55" fmla="*/ 0 h 1166"/>
                <a:gd name="T56" fmla="*/ 0 w 1327"/>
                <a:gd name="T57" fmla="*/ 0 h 1166"/>
                <a:gd name="T58" fmla="*/ 0 w 1327"/>
                <a:gd name="T59" fmla="*/ 0 h 1166"/>
                <a:gd name="T60" fmla="*/ 0 w 1327"/>
                <a:gd name="T61" fmla="*/ 0 h 1166"/>
                <a:gd name="T62" fmla="*/ 0 w 1327"/>
                <a:gd name="T63" fmla="*/ 0 h 1166"/>
                <a:gd name="T64" fmla="*/ 0 w 1327"/>
                <a:gd name="T65" fmla="*/ 0 h 1166"/>
                <a:gd name="T66" fmla="*/ 0 w 1327"/>
                <a:gd name="T67" fmla="*/ 0 h 1166"/>
                <a:gd name="T68" fmla="*/ 0 w 1327"/>
                <a:gd name="T69" fmla="*/ 0 h 1166"/>
                <a:gd name="T70" fmla="*/ 0 w 1327"/>
                <a:gd name="T71" fmla="*/ 0 h 116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327" h="1166">
                  <a:moveTo>
                    <a:pt x="0" y="1166"/>
                  </a:moveTo>
                  <a:cubicBezTo>
                    <a:pt x="0" y="1087"/>
                    <a:pt x="0" y="1087"/>
                    <a:pt x="0" y="1087"/>
                  </a:cubicBezTo>
                  <a:cubicBezTo>
                    <a:pt x="257" y="1087"/>
                    <a:pt x="257" y="1087"/>
                    <a:pt x="257" y="1087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151"/>
                    <a:pt x="280" y="99"/>
                    <a:pt x="324" y="62"/>
                  </a:cubicBezTo>
                  <a:cubicBezTo>
                    <a:pt x="369" y="25"/>
                    <a:pt x="414" y="5"/>
                    <a:pt x="460" y="3"/>
                  </a:cubicBezTo>
                  <a:cubicBezTo>
                    <a:pt x="556" y="3"/>
                    <a:pt x="623" y="42"/>
                    <a:pt x="661" y="121"/>
                  </a:cubicBezTo>
                  <a:cubicBezTo>
                    <a:pt x="686" y="80"/>
                    <a:pt x="717" y="50"/>
                    <a:pt x="752" y="30"/>
                  </a:cubicBezTo>
                  <a:cubicBezTo>
                    <a:pt x="788" y="10"/>
                    <a:pt x="824" y="0"/>
                    <a:pt x="860" y="0"/>
                  </a:cubicBezTo>
                  <a:cubicBezTo>
                    <a:pt x="915" y="3"/>
                    <a:pt x="962" y="25"/>
                    <a:pt x="1000" y="66"/>
                  </a:cubicBezTo>
                  <a:cubicBezTo>
                    <a:pt x="1038" y="107"/>
                    <a:pt x="1059" y="158"/>
                    <a:pt x="1064" y="218"/>
                  </a:cubicBezTo>
                  <a:cubicBezTo>
                    <a:pt x="1166" y="218"/>
                    <a:pt x="1166" y="218"/>
                    <a:pt x="1166" y="218"/>
                  </a:cubicBezTo>
                  <a:cubicBezTo>
                    <a:pt x="1166" y="1087"/>
                    <a:pt x="1166" y="1087"/>
                    <a:pt x="1166" y="1087"/>
                  </a:cubicBezTo>
                  <a:cubicBezTo>
                    <a:pt x="1327" y="1087"/>
                    <a:pt x="1327" y="1087"/>
                    <a:pt x="1327" y="1087"/>
                  </a:cubicBezTo>
                  <a:cubicBezTo>
                    <a:pt x="1327" y="1166"/>
                    <a:pt x="1327" y="1166"/>
                    <a:pt x="1327" y="1166"/>
                  </a:cubicBezTo>
                  <a:lnTo>
                    <a:pt x="0" y="1166"/>
                  </a:lnTo>
                  <a:close/>
                  <a:moveTo>
                    <a:pt x="304" y="1087"/>
                  </a:moveTo>
                  <a:cubicBezTo>
                    <a:pt x="539" y="1087"/>
                    <a:pt x="539" y="1087"/>
                    <a:pt x="539" y="1087"/>
                  </a:cubicBezTo>
                  <a:cubicBezTo>
                    <a:pt x="539" y="218"/>
                    <a:pt x="539" y="218"/>
                    <a:pt x="539" y="218"/>
                  </a:cubicBezTo>
                  <a:cubicBezTo>
                    <a:pt x="642" y="218"/>
                    <a:pt x="642" y="218"/>
                    <a:pt x="642" y="218"/>
                  </a:cubicBezTo>
                  <a:cubicBezTo>
                    <a:pt x="632" y="163"/>
                    <a:pt x="611" y="120"/>
                    <a:pt x="579" y="91"/>
                  </a:cubicBezTo>
                  <a:cubicBezTo>
                    <a:pt x="547" y="62"/>
                    <a:pt x="511" y="48"/>
                    <a:pt x="473" y="48"/>
                  </a:cubicBezTo>
                  <a:cubicBezTo>
                    <a:pt x="447" y="48"/>
                    <a:pt x="421" y="55"/>
                    <a:pt x="395" y="70"/>
                  </a:cubicBezTo>
                  <a:cubicBezTo>
                    <a:pt x="369" y="85"/>
                    <a:pt x="347" y="105"/>
                    <a:pt x="330" y="131"/>
                  </a:cubicBezTo>
                  <a:cubicBezTo>
                    <a:pt x="313" y="157"/>
                    <a:pt x="304" y="186"/>
                    <a:pt x="304" y="218"/>
                  </a:cubicBezTo>
                  <a:lnTo>
                    <a:pt x="304" y="1087"/>
                  </a:lnTo>
                  <a:close/>
                  <a:moveTo>
                    <a:pt x="791" y="1087"/>
                  </a:moveTo>
                  <a:cubicBezTo>
                    <a:pt x="915" y="1087"/>
                    <a:pt x="915" y="1087"/>
                    <a:pt x="915" y="1087"/>
                  </a:cubicBezTo>
                  <a:cubicBezTo>
                    <a:pt x="915" y="218"/>
                    <a:pt x="915" y="218"/>
                    <a:pt x="915" y="218"/>
                  </a:cubicBezTo>
                  <a:cubicBezTo>
                    <a:pt x="1019" y="218"/>
                    <a:pt x="1019" y="218"/>
                    <a:pt x="1019" y="218"/>
                  </a:cubicBezTo>
                  <a:cubicBezTo>
                    <a:pt x="1010" y="166"/>
                    <a:pt x="990" y="124"/>
                    <a:pt x="959" y="94"/>
                  </a:cubicBezTo>
                  <a:cubicBezTo>
                    <a:pt x="928" y="63"/>
                    <a:pt x="894" y="48"/>
                    <a:pt x="857" y="48"/>
                  </a:cubicBezTo>
                  <a:cubicBezTo>
                    <a:pt x="819" y="48"/>
                    <a:pt x="782" y="63"/>
                    <a:pt x="747" y="92"/>
                  </a:cubicBezTo>
                  <a:cubicBezTo>
                    <a:pt x="713" y="121"/>
                    <a:pt x="693" y="163"/>
                    <a:pt x="688" y="218"/>
                  </a:cubicBezTo>
                  <a:cubicBezTo>
                    <a:pt x="791" y="218"/>
                    <a:pt x="791" y="218"/>
                    <a:pt x="791" y="218"/>
                  </a:cubicBezTo>
                  <a:lnTo>
                    <a:pt x="791" y="1087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tx2">
                  <a:lumMod val="50000"/>
                  <a:lumOff val="50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>
                <a:solidFill>
                  <a:srgbClr val="00000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577" name="Text Box 137"/>
            <p:cNvSpPr txBox="1">
              <a:spLocks noChangeArrowheads="1"/>
            </p:cNvSpPr>
            <p:nvPr/>
          </p:nvSpPr>
          <p:spPr bwMode="gray">
            <a:xfrm>
              <a:off x="1179513" y="3119529"/>
              <a:ext cx="457200" cy="1444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8000" tIns="10800" rIns="18000" bIns="10800">
              <a:spAutoFit/>
            </a:bodyPr>
            <a:lstStyle>
              <a:lvl1pPr eaLnBrk="0" hangingPunct="0">
                <a:spcBef>
                  <a:spcPct val="20000"/>
                </a:spcBef>
                <a:buBlip>
                  <a:blip r:embed="rId102"/>
                </a:buBlip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00"/>
                </a:spcBef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fontAlgn="auto" hangingPunct="1"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ru-RU" altLang="ru-RU" sz="800">
                  <a:solidFill>
                    <a:srgbClr val="000000"/>
                  </a:solidFill>
                  <a:cs typeface="+mn-cs"/>
                </a:rPr>
                <a:t>УНПЗ</a:t>
              </a:r>
              <a:endParaRPr lang="ru-RU" altLang="ru-RU" sz="180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22578" name="Text Box 137"/>
            <p:cNvSpPr txBox="1">
              <a:spLocks noChangeArrowheads="1"/>
            </p:cNvSpPr>
            <p:nvPr/>
          </p:nvSpPr>
          <p:spPr bwMode="gray">
            <a:xfrm>
              <a:off x="833438" y="2654527"/>
              <a:ext cx="374650" cy="144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8000" tIns="10800" rIns="18000" bIns="10800">
              <a:spAutoFit/>
            </a:bodyPr>
            <a:lstStyle>
              <a:lvl1pPr eaLnBrk="0" hangingPunct="0">
                <a:spcBef>
                  <a:spcPct val="20000"/>
                </a:spcBef>
                <a:buBlip>
                  <a:blip r:embed="rId102"/>
                </a:buBlip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00"/>
                </a:spcBef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auto" hangingPunct="1"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ru-RU" altLang="ru-RU" sz="800" dirty="0">
                  <a:solidFill>
                    <a:srgbClr val="000000"/>
                  </a:solidFill>
                  <a:cs typeface="+mn-cs"/>
                </a:rPr>
                <a:t>СНПЗ</a:t>
              </a:r>
              <a:endParaRPr lang="ru-RU" altLang="ru-RU" sz="1800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22579" name="TextBox 205"/>
            <p:cNvSpPr txBox="1">
              <a:spLocks noChangeArrowheads="1"/>
            </p:cNvSpPr>
            <p:nvPr/>
          </p:nvSpPr>
          <p:spPr bwMode="auto">
            <a:xfrm>
              <a:off x="1192213" y="2975108"/>
              <a:ext cx="554037" cy="215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Blip>
                  <a:blip r:embed="rId102"/>
                </a:buBlip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00"/>
                </a:spcBef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auto" hangingPunct="1"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ru-RU" altLang="ru-RU" sz="800" dirty="0">
                  <a:solidFill>
                    <a:srgbClr val="FF0000"/>
                  </a:solidFill>
                  <a:cs typeface="+mn-cs"/>
                </a:rPr>
                <a:t>850 км</a:t>
              </a:r>
              <a:endParaRPr lang="ru-RU" altLang="ru-RU" sz="1800" dirty="0">
                <a:solidFill>
                  <a:srgbClr val="000000"/>
                </a:solidFill>
                <a:cs typeface="+mn-cs"/>
              </a:endParaRPr>
            </a:p>
          </p:txBody>
        </p:sp>
        <p:cxnSp>
          <p:nvCxnSpPr>
            <p:cNvPr id="36907" name="Прямая со стрелкой 204"/>
            <p:cNvCxnSpPr>
              <a:cxnSpLocks noChangeShapeType="1"/>
            </p:cNvCxnSpPr>
            <p:nvPr/>
          </p:nvCxnSpPr>
          <p:spPr bwMode="auto">
            <a:xfrm flipV="1">
              <a:off x="1397000" y="2857667"/>
              <a:ext cx="263525" cy="120483"/>
            </a:xfrm>
            <a:prstGeom prst="straightConnector1">
              <a:avLst/>
            </a:prstGeom>
            <a:noFill/>
            <a:ln w="6350" algn="ctr">
              <a:solidFill>
                <a:srgbClr val="FF0000"/>
              </a:solidFill>
              <a:prstDash val="sysDash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6908" name="Прямая со стрелкой 204"/>
            <p:cNvCxnSpPr>
              <a:cxnSpLocks noChangeShapeType="1"/>
            </p:cNvCxnSpPr>
            <p:nvPr/>
          </p:nvCxnSpPr>
          <p:spPr bwMode="auto">
            <a:xfrm flipV="1">
              <a:off x="1190625" y="2776729"/>
              <a:ext cx="500063" cy="89673"/>
            </a:xfrm>
            <a:prstGeom prst="straightConnector1">
              <a:avLst/>
            </a:prstGeom>
            <a:noFill/>
            <a:ln w="6350" algn="ctr">
              <a:solidFill>
                <a:srgbClr val="FF0000"/>
              </a:solidFill>
              <a:prstDash val="sysDash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22582" name="TextBox 205"/>
            <p:cNvSpPr txBox="1">
              <a:spLocks noChangeArrowheads="1"/>
            </p:cNvSpPr>
            <p:nvPr/>
          </p:nvSpPr>
          <p:spPr bwMode="auto">
            <a:xfrm rot="20981436">
              <a:off x="1128713" y="2562479"/>
              <a:ext cx="593725" cy="215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Blip>
                  <a:blip r:embed="rId102"/>
                </a:buBlip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ts val="100"/>
                </a:spcBef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fontAlgn="auto" hangingPunct="1">
                <a:spcBef>
                  <a:spcPct val="0"/>
                </a:spcBef>
                <a:spcAft>
                  <a:spcPts val="0"/>
                </a:spcAft>
                <a:buFontTx/>
                <a:buNone/>
                <a:defRPr/>
              </a:pPr>
              <a:r>
                <a:rPr lang="ru-RU" altLang="ru-RU" sz="800" dirty="0">
                  <a:solidFill>
                    <a:srgbClr val="FF0000"/>
                  </a:solidFill>
                  <a:cs typeface="+mn-cs"/>
                </a:rPr>
                <a:t>1752 км</a:t>
              </a:r>
              <a:endParaRPr lang="ru-RU" altLang="ru-RU" sz="1800" dirty="0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22542" name="TextBox 18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2992" y="3449311"/>
            <a:ext cx="1941512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spcBef>
                <a:spcPct val="20000"/>
              </a:spcBef>
              <a:buBlip>
                <a:blip r:embed="rId102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ru-RU" altLang="ru-RU" dirty="0">
                <a:solidFill>
                  <a:srgbClr val="000000"/>
                </a:solidFill>
                <a:cs typeface="+mn-cs"/>
              </a:rPr>
              <a:t>Схема поставок на АЗС</a:t>
            </a:r>
            <a:endParaRPr lang="ru-RU" altLang="ru-RU" sz="18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28" name="Rectangle 2"/>
          <p:cNvSpPr txBox="1">
            <a:spLocks noChangeArrowheads="1"/>
          </p:cNvSpPr>
          <p:nvPr/>
        </p:nvSpPr>
        <p:spPr>
          <a:xfrm>
            <a:off x="322021" y="260648"/>
            <a:ext cx="7383492" cy="431800"/>
          </a:xfrm>
          <a:prstGeom prst="rect">
            <a:avLst/>
          </a:prstGeom>
        </p:spPr>
        <p:txBody>
          <a:bodyPr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kern="0" dirty="0" smtClean="0">
                <a:solidFill>
                  <a:srgbClr val="000000"/>
                </a:solidFill>
                <a:latin typeface="Arial"/>
                <a:cs typeface="+mn-cs"/>
                <a:sym typeface="Arial" charset="0"/>
              </a:rPr>
              <a:t>Поставка </a:t>
            </a:r>
            <a:r>
              <a:rPr lang="ru-RU" sz="2000" kern="0" dirty="0">
                <a:solidFill>
                  <a:srgbClr val="000000"/>
                </a:solidFill>
                <a:latin typeface="Arial"/>
                <a:cs typeface="+mn-cs"/>
                <a:sym typeface="Arial" charset="0"/>
              </a:rPr>
              <a:t>и логистика в регионе</a:t>
            </a:r>
          </a:p>
        </p:txBody>
      </p:sp>
      <p:pic>
        <p:nvPicPr>
          <p:cNvPr id="36874" name="Picture 2"/>
          <p:cNvPicPr>
            <a:picLocks noChangeAspect="1" noChangeArrowheads="1"/>
          </p:cNvPicPr>
          <p:nvPr/>
        </p:nvPicPr>
        <p:blipFill>
          <a:blip r:embed="rId10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7649" y="3784040"/>
            <a:ext cx="4562761" cy="289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8" name="Rectangle 59"/>
          <p:cNvSpPr>
            <a:spLocks noChangeArrowheads="1"/>
          </p:cNvSpPr>
          <p:nvPr/>
        </p:nvSpPr>
        <p:spPr bwMode="auto">
          <a:xfrm flipV="1">
            <a:off x="2733675" y="4462463"/>
            <a:ext cx="95250" cy="120650"/>
          </a:xfrm>
          <a:prstGeom prst="rect">
            <a:avLst/>
          </a:prstGeom>
          <a:solidFill>
            <a:srgbClr val="808080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0" tIns="0" rIns="228600" bIns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000000"/>
                </a:solidFill>
                <a:latin typeface="Arial"/>
                <a:ea typeface="Times New Roman"/>
                <a:cs typeface="+mn-cs"/>
              </a:rPr>
              <a:t> </a:t>
            </a:r>
            <a:endParaRPr lang="ru-RU" sz="1200" dirty="0">
              <a:solidFill>
                <a:prstClr val="black"/>
              </a:solidFill>
              <a:latin typeface="Times New Roman"/>
              <a:ea typeface="Times New Roman"/>
              <a:cs typeface="+mn-cs"/>
            </a:endParaRPr>
          </a:p>
        </p:txBody>
      </p:sp>
      <p:sp>
        <p:nvSpPr>
          <p:cNvPr id="36876" name="Надпись 2"/>
          <p:cNvSpPr txBox="1">
            <a:spLocks noChangeArrowheads="1"/>
          </p:cNvSpPr>
          <p:nvPr/>
        </p:nvSpPr>
        <p:spPr bwMode="auto">
          <a:xfrm>
            <a:off x="2781300" y="4462463"/>
            <a:ext cx="180975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lnSpc>
                <a:spcPct val="115000"/>
              </a:lnSpc>
              <a:spcBef>
                <a:spcPct val="0"/>
              </a:spcBef>
              <a:buFontTx/>
              <a:buNone/>
            </a:pPr>
            <a:r>
              <a:rPr lang="ru-RU" altLang="ru-RU" sz="1000" b="1" i="1" dirty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НБ </a:t>
            </a:r>
            <a:r>
              <a:rPr lang="ru-RU" altLang="ru-RU" sz="1000" b="1" i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Нефтегазстройсервис</a:t>
            </a:r>
            <a:endParaRPr lang="ru-RU" altLang="ru-RU" sz="1100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63460" y="4049822"/>
            <a:ext cx="3428322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Calibri"/>
                <a:cs typeface="+mn-cs"/>
              </a:rPr>
              <a:t>Вторичная логистика осуществляется автомобильным транспортом с привлечением стороннего перевозчика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Calibri"/>
                <a:cs typeface="+mn-cs"/>
              </a:rPr>
              <a:t>с нефтебазы «Нефтегазстройсервис» в г. Тюмень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prstClr val="black"/>
              </a:solidFill>
              <a:latin typeface="Calibri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Calibri"/>
                <a:cs typeface="+mn-cs"/>
              </a:rPr>
              <a:t>Среднее плечо доставки составляет 50 км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5363459" y="1444476"/>
            <a:ext cx="3500958" cy="2000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Calibri"/>
                <a:cs typeface="+mn-cs"/>
              </a:rPr>
              <a:t>Первичная логистика предусматривает поставку нефтепродуктов с НПЗ НК «Роснефть» на территорию Тюменской области (г. Тюмень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solidFill>
                <a:prstClr val="black"/>
              </a:solidFill>
              <a:latin typeface="Calibri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Calibri"/>
                <a:cs typeface="+mn-cs"/>
              </a:rPr>
              <a:t>Прием нефтепродуктов осуществляется на нефтебазе «Нефтегазстройсервис» (аренда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36" name="Номер слайда 5"/>
          <p:cNvSpPr txBox="1">
            <a:spLocks/>
          </p:cNvSpPr>
          <p:nvPr/>
        </p:nvSpPr>
        <p:spPr bwMode="auto">
          <a:xfrm>
            <a:off x="7733001" y="6356372"/>
            <a:ext cx="1125279" cy="287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</a:rPr>
              <a:t>Слайд 10</a:t>
            </a:r>
            <a:endParaRPr lang="en-GB" altLang="ru-RU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368156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6" name="Заголовок 15"/>
          <p:cNvSpPr>
            <a:spLocks noGrp="1"/>
          </p:cNvSpPr>
          <p:nvPr>
            <p:ph type="title"/>
          </p:nvPr>
        </p:nvSpPr>
        <p:spPr>
          <a:xfrm>
            <a:off x="323528" y="188640"/>
            <a:ext cx="8029304" cy="453708"/>
          </a:xfrm>
        </p:spPr>
        <p:txBody>
          <a:bodyPr/>
          <a:lstStyle/>
          <a:p>
            <a:r>
              <a:rPr lang="ru-RU" altLang="ru-RU" sz="2000" dirty="0" smtClean="0"/>
              <a:t>Продвижение </a:t>
            </a:r>
            <a:r>
              <a:rPr lang="ru-RU" altLang="ru-RU" sz="2000" dirty="0"/>
              <a:t>бренда Роснефть</a:t>
            </a:r>
          </a:p>
        </p:txBody>
      </p:sp>
      <p:cxnSp>
        <p:nvCxnSpPr>
          <p:cNvPr id="33830" name="Прямая со стрелкой 2"/>
          <p:cNvCxnSpPr>
            <a:cxnSpLocks noChangeShapeType="1"/>
          </p:cNvCxnSpPr>
          <p:nvPr/>
        </p:nvCxnSpPr>
        <p:spPr bwMode="auto">
          <a:xfrm>
            <a:off x="989013" y="3429000"/>
            <a:ext cx="914400" cy="914400"/>
          </a:xfrm>
          <a:prstGeom prst="straightConnector1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 type="arrow" w="med" len="med"/>
              </a14:hiddenLine>
            </a:ext>
          </a:extLst>
        </p:spPr>
      </p:cxnSp>
      <p:sp>
        <p:nvSpPr>
          <p:cNvPr id="2" name="TextBox 1"/>
          <p:cNvSpPr txBox="1"/>
          <p:nvPr/>
        </p:nvSpPr>
        <p:spPr>
          <a:xfrm>
            <a:off x="452933" y="1042418"/>
            <a:ext cx="3312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400" dirty="0" err="1" smtClean="0">
                <a:solidFill>
                  <a:srgbClr val="000000"/>
                </a:solidFill>
              </a:rPr>
              <a:t>Ребрендинг</a:t>
            </a:r>
            <a:r>
              <a:rPr lang="ru-RU" altLang="ru-RU" sz="1400" dirty="0" smtClean="0">
                <a:solidFill>
                  <a:srgbClr val="000000"/>
                </a:solidFill>
              </a:rPr>
              <a:t> АЗС</a:t>
            </a:r>
            <a:endParaRPr lang="ru-RU" sz="1400" dirty="0"/>
          </a:p>
        </p:txBody>
      </p:sp>
      <p:sp>
        <p:nvSpPr>
          <p:cNvPr id="12" name="Номер слайда 5"/>
          <p:cNvSpPr txBox="1">
            <a:spLocks/>
          </p:cNvSpPr>
          <p:nvPr/>
        </p:nvSpPr>
        <p:spPr bwMode="auto">
          <a:xfrm>
            <a:off x="7858148" y="6357958"/>
            <a:ext cx="1125279" cy="327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</a:rPr>
              <a:t>Слайд 11</a:t>
            </a:r>
            <a:endParaRPr lang="en-GB" altLang="ru-RU" sz="1600" dirty="0">
              <a:solidFill>
                <a:schemeClr val="tx2"/>
              </a:solidFill>
            </a:endParaRPr>
          </a:p>
        </p:txBody>
      </p:sp>
      <p:pic>
        <p:nvPicPr>
          <p:cNvPr id="22" name="Рисунок 21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8152" y="1543105"/>
            <a:ext cx="2901929" cy="2101919"/>
          </a:xfrm>
          <a:prstGeom prst="rect">
            <a:avLst/>
          </a:prstGeom>
          <a:noFill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29504" y="1543105"/>
            <a:ext cx="1096963" cy="2120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Рисунок 22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46550" y="1537136"/>
            <a:ext cx="1080120" cy="2132838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TextBox 23"/>
          <p:cNvSpPr txBox="1"/>
          <p:nvPr/>
        </p:nvSpPr>
        <p:spPr>
          <a:xfrm>
            <a:off x="4104352" y="966457"/>
            <a:ext cx="24482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400" dirty="0" smtClean="0">
                <a:solidFill>
                  <a:srgbClr val="000000"/>
                </a:solidFill>
              </a:rPr>
              <a:t>Программа лояльности </a:t>
            </a:r>
          </a:p>
          <a:p>
            <a:pPr algn="ctr"/>
            <a:r>
              <a:rPr lang="ru-RU" altLang="ru-RU" sz="1400" dirty="0" smtClean="0">
                <a:solidFill>
                  <a:srgbClr val="000000"/>
                </a:solidFill>
              </a:rPr>
              <a:t>«</a:t>
            </a:r>
            <a:r>
              <a:rPr lang="ru-RU" altLang="ru-RU" sz="1400" dirty="0">
                <a:solidFill>
                  <a:srgbClr val="000000"/>
                </a:solidFill>
              </a:rPr>
              <a:t>Семейная команда»</a:t>
            </a:r>
            <a:endParaRPr lang="ru-RU" sz="1400" dirty="0"/>
          </a:p>
        </p:txBody>
      </p:sp>
      <p:pic>
        <p:nvPicPr>
          <p:cNvPr id="25" name="Рисунок 24" descr="https://www.rosneft-azs.ru/upload/site1/document_news/20200730_03_400-340x900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9286" y="4343400"/>
            <a:ext cx="2279663" cy="2160242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TextBox 25"/>
          <p:cNvSpPr txBox="1"/>
          <p:nvPr/>
        </p:nvSpPr>
        <p:spPr>
          <a:xfrm>
            <a:off x="452933" y="3946770"/>
            <a:ext cx="3312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400" dirty="0" smtClean="0">
                <a:solidFill>
                  <a:srgbClr val="000000"/>
                </a:solidFill>
              </a:rPr>
              <a:t>Внедрение сервиса </a:t>
            </a:r>
            <a:r>
              <a:rPr lang="ru-RU" altLang="ru-RU" sz="1400" dirty="0" err="1" smtClean="0">
                <a:solidFill>
                  <a:srgbClr val="000000"/>
                </a:solidFill>
              </a:rPr>
              <a:t>Яндекс.Заправка</a:t>
            </a:r>
            <a:endParaRPr lang="ru-RU" sz="1400" dirty="0"/>
          </a:p>
        </p:txBody>
      </p:sp>
      <p:pic>
        <p:nvPicPr>
          <p:cNvPr id="27" name="Рисунок 26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60441" y="4254547"/>
            <a:ext cx="2621497" cy="2337947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TextBox 27"/>
          <p:cNvSpPr txBox="1"/>
          <p:nvPr/>
        </p:nvSpPr>
        <p:spPr>
          <a:xfrm>
            <a:off x="4677986" y="3946769"/>
            <a:ext cx="27864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400" dirty="0" smtClean="0">
                <a:solidFill>
                  <a:srgbClr val="000000"/>
                </a:solidFill>
              </a:rPr>
              <a:t>Терминалы </a:t>
            </a:r>
            <a:r>
              <a:rPr lang="ru-RU" altLang="ru-RU" sz="1400" dirty="0">
                <a:solidFill>
                  <a:srgbClr val="000000"/>
                </a:solidFill>
              </a:rPr>
              <a:t>самообслуживания </a:t>
            </a:r>
            <a:endParaRPr lang="ru-RU" sz="1400" dirty="0"/>
          </a:p>
        </p:txBody>
      </p:sp>
      <p:sp>
        <p:nvSpPr>
          <p:cNvPr id="29" name="TextBox 28"/>
          <p:cNvSpPr txBox="1"/>
          <p:nvPr/>
        </p:nvSpPr>
        <p:spPr>
          <a:xfrm>
            <a:off x="6695728" y="991884"/>
            <a:ext cx="21967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400" dirty="0" smtClean="0">
                <a:solidFill>
                  <a:srgbClr val="000000"/>
                </a:solidFill>
              </a:rPr>
              <a:t>Топливная карта Роснефть</a:t>
            </a:r>
            <a:endParaRPr lang="ru-RU" sz="1400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91982" y="1844824"/>
            <a:ext cx="2004244" cy="12606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926159298"/>
      </p:ext>
    </p:extLst>
  </p:cSld>
  <p:clrMapOvr>
    <a:masterClrMapping/>
  </p:clrMapOvr>
  <p:transition spd="slow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6"/>
          <p:cNvSpPr txBox="1">
            <a:spLocks/>
          </p:cNvSpPr>
          <p:nvPr/>
        </p:nvSpPr>
        <p:spPr bwMode="auto">
          <a:xfrm>
            <a:off x="345778" y="260648"/>
            <a:ext cx="4101787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0582" tIns="30582" rIns="30582" bIns="30582" anchor="ctr"/>
          <a:lstStyle>
            <a:defPPr>
              <a:defRPr lang="ru-RU"/>
            </a:defPPr>
            <a:lvl1pPr marL="152925" eaLnBrk="0" fontAlgn="base" hangingPunct="0">
              <a:spcBef>
                <a:spcPct val="0"/>
              </a:spcBef>
              <a:spcAft>
                <a:spcPct val="0"/>
              </a:spcAft>
              <a:defRPr sz="1363" kern="0">
                <a:solidFill>
                  <a:srgbClr val="3D46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Движение средств по проекту</a:t>
            </a:r>
            <a:endParaRPr lang="en-US" sz="20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Номер слайда 5"/>
          <p:cNvSpPr txBox="1">
            <a:spLocks/>
          </p:cNvSpPr>
          <p:nvPr/>
        </p:nvSpPr>
        <p:spPr bwMode="auto">
          <a:xfrm>
            <a:off x="7643834" y="6357958"/>
            <a:ext cx="1274457" cy="357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  <a:latin typeface="+mj-lt"/>
                <a:cs typeface="Times New Roman" pitchFamily="18" charset="0"/>
              </a:rPr>
              <a:t>Слайд 12</a:t>
            </a:r>
            <a:endParaRPr lang="en-GB" altLang="ru-RU" sz="1600" dirty="0">
              <a:solidFill>
                <a:schemeClr val="tx2"/>
              </a:solidFill>
              <a:latin typeface="+mj-lt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58" y="1000108"/>
          <a:ext cx="8429681" cy="5398558"/>
        </p:xfrm>
        <a:graphic>
          <a:graphicData uri="http://schemas.openxmlformats.org/drawingml/2006/table">
            <a:tbl>
              <a:tblPr/>
              <a:tblGrid>
                <a:gridCol w="2357454"/>
                <a:gridCol w="626201"/>
                <a:gridCol w="674095"/>
                <a:gridCol w="674095"/>
                <a:gridCol w="674095"/>
                <a:gridCol w="673223"/>
                <a:gridCol w="674095"/>
                <a:gridCol w="674095"/>
                <a:gridCol w="674095"/>
                <a:gridCol w="728233"/>
              </a:tblGrid>
              <a:tr h="2354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+mj-lt"/>
                          <a:ea typeface="Times New Roman"/>
                          <a:cs typeface="Times New Roman"/>
                        </a:rPr>
                        <a:t>Показатели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2023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2024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2025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2026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2027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2028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2029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2030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2031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171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Изменение объемов реализации топлива, тыс.т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74,6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74,7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74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75,1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75,1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75,1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75,1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75,1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75,1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91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Изменение дохода от реализации топлива, млн 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64,4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53,4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54,7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55,7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55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55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55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55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55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039">
                <a:tc>
                  <a:txBody>
                    <a:bodyPr/>
                    <a:lstStyle/>
                    <a:p>
                      <a:pPr indent="10922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объемы реализации, тыс.т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74,6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74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74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 dirty="0">
                          <a:latin typeface="+mj-lt"/>
                          <a:ea typeface="Times New Roman"/>
                          <a:cs typeface="Times New Roman"/>
                        </a:rPr>
                        <a:t>75,1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 dirty="0">
                          <a:latin typeface="+mj-lt"/>
                          <a:ea typeface="Times New Roman"/>
                          <a:cs typeface="Times New Roman"/>
                        </a:rPr>
                        <a:t>75,1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75,1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75,1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75,1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75,1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039">
                <a:tc>
                  <a:txBody>
                    <a:bodyPr/>
                    <a:lstStyle/>
                    <a:p>
                      <a:pPr indent="10922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маржа реализации, р./т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6,225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6,07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6,07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6,07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 dirty="0">
                          <a:latin typeface="+mj-lt"/>
                          <a:ea typeface="Times New Roman"/>
                          <a:cs typeface="Times New Roman"/>
                        </a:rPr>
                        <a:t>6,070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6,07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6,07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6,07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i="1">
                          <a:latin typeface="+mj-lt"/>
                          <a:ea typeface="Times New Roman"/>
                          <a:cs typeface="Times New Roman"/>
                        </a:rPr>
                        <a:t>6,07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1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Изменение дохода от реализации СТиУ, млн 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0,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1,6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1,8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1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1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1,9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1,9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1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1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1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Изменение операционных затрат, </a:t>
                      </a: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млн. р.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10,7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18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18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18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18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18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18,9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18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18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429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REVEX, млн 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19,8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Изменение затрат на доставку с нефтебазы, млн 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9,6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31,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31,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9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9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9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9,7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9,7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9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1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Изменение затрат на хранение, млн 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51,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52,3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51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51,3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51,3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51,3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51,3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51,3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51,3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429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EBITDA, млн 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FF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(6,6)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92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94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97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97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97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97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97,7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97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Изменение оборотного капитала, млн 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44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0,6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0,4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0,3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611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Налог на имущество, млн 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0,6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,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0,8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0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0,5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0,3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0,1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429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Амортизация, млн 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8,6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8,6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8,6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8,6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8,6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8,6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8,6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Налог на прибыль, млн  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FF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(3,1)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36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37,1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37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37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37,8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37,8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39,5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39,5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2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CAPEX Реконструкция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, </a:t>
                      </a:r>
                      <a:r>
                        <a:rPr lang="ru-RU" sz="1100" dirty="0" err="1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млн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  р.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59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-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21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FCF, млн 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FF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(208,8)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54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56,5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59,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59,5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59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59,8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58,2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58,2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59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Коэффициент дисконтирования</a:t>
                      </a:r>
                    </a:p>
                  </a:txBody>
                  <a:tcPr marL="35451" marR="35451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0,76 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0,63 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0,53 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0,44 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0,37 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0,31 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0,25 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+mj-lt"/>
                          <a:ea typeface="Times New Roman"/>
                          <a:cs typeface="Times New Roman"/>
                        </a:rPr>
                        <a:t>0,21 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latin typeface="+mj-lt"/>
                          <a:ea typeface="Times New Roman"/>
                          <a:cs typeface="Times New Roman"/>
                        </a:rPr>
                        <a:t>0,18 </a:t>
                      </a: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429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DCF, млн 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FF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(158,8)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98,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82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70,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58,5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8,8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40,7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33,6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8,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16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ADCF, млн р.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(158,8)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FF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(60,8)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1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91,9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50,5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199,3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40,0 </a:t>
                      </a:r>
                      <a:endParaRPr lang="ru-RU" sz="110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273,6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latin typeface="+mj-lt"/>
                          <a:ea typeface="Times New Roman"/>
                          <a:cs typeface="Times New Roman"/>
                        </a:rPr>
                        <a:t>301,6 </a:t>
                      </a:r>
                      <a:endParaRPr lang="ru-RU" sz="1100" dirty="0">
                        <a:latin typeface="+mj-lt"/>
                        <a:ea typeface="Times New Roman"/>
                        <a:cs typeface="Times New Roman"/>
                      </a:endParaRPr>
                    </a:p>
                  </a:txBody>
                  <a:tcPr marL="35451" marR="3545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5437620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6"/>
          <p:cNvSpPr txBox="1">
            <a:spLocks/>
          </p:cNvSpPr>
          <p:nvPr/>
        </p:nvSpPr>
        <p:spPr bwMode="auto">
          <a:xfrm>
            <a:off x="179512" y="243902"/>
            <a:ext cx="8331200" cy="548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0582" tIns="30582" rIns="30582" bIns="30582" anchor="ctr"/>
          <a:lstStyle>
            <a:defPPr>
              <a:defRPr lang="ru-RU"/>
            </a:defPPr>
            <a:lvl1pPr marL="152925" eaLnBrk="0" fontAlgn="base" hangingPunct="0">
              <a:spcBef>
                <a:spcPct val="0"/>
              </a:spcBef>
              <a:spcAft>
                <a:spcPct val="0"/>
              </a:spcAft>
              <a:defRPr sz="1363" kern="0">
                <a:solidFill>
                  <a:srgbClr val="3D46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Оценка эффективности проекта</a:t>
            </a:r>
            <a:endParaRPr lang="en-US" sz="20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Номер слайда 5"/>
          <p:cNvSpPr txBox="1">
            <a:spLocks/>
          </p:cNvSpPr>
          <p:nvPr/>
        </p:nvSpPr>
        <p:spPr bwMode="auto">
          <a:xfrm>
            <a:off x="7643834" y="6357958"/>
            <a:ext cx="1274457" cy="357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  <a:latin typeface="+mj-lt"/>
                <a:cs typeface="Times New Roman" pitchFamily="18" charset="0"/>
              </a:rPr>
              <a:t>Слайд 13</a:t>
            </a:r>
            <a:endParaRPr lang="en-GB" altLang="ru-RU" sz="1600" dirty="0">
              <a:solidFill>
                <a:schemeClr val="tx2"/>
              </a:solidFill>
              <a:latin typeface="+mj-lt"/>
              <a:cs typeface="Times New Roman" pitchFamily="18" charset="0"/>
            </a:endParaRPr>
          </a:p>
        </p:txBody>
      </p:sp>
      <p:graphicFrame>
        <p:nvGraphicFramePr>
          <p:cNvPr id="7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20523071"/>
              </p:ext>
            </p:extLst>
          </p:nvPr>
        </p:nvGraphicFramePr>
        <p:xfrm>
          <a:off x="611560" y="1844824"/>
          <a:ext cx="8072494" cy="392083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68796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8488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9964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720080">
                <a:tc>
                  <a:txBody>
                    <a:bodyPr/>
                    <a:lstStyle/>
                    <a:p>
                      <a:pPr marL="260350" algn="ctr">
                        <a:lnSpc>
                          <a:spcPts val="2075"/>
                        </a:lnSpc>
                      </a:pPr>
                      <a:r>
                        <a:rPr sz="2000" spc="-5" dirty="0" err="1">
                          <a:latin typeface="+mj-lt"/>
                          <a:cs typeface="Times New Roman"/>
                        </a:rPr>
                        <a:t>Показатели</a:t>
                      </a:r>
                      <a:r>
                        <a:rPr sz="2000" spc="-20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lang="ru-RU" sz="2000" spc="-5" dirty="0" smtClean="0">
                          <a:latin typeface="+mj-lt"/>
                          <a:cs typeface="Times New Roman"/>
                        </a:rPr>
                        <a:t>эффективности инвестиций</a:t>
                      </a:r>
                      <a:endParaRPr sz="2000" dirty="0">
                        <a:latin typeface="+mj-lt"/>
                        <a:cs typeface="Times New Roman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75"/>
                        </a:lnSpc>
                      </a:pPr>
                      <a:r>
                        <a:rPr sz="2000" spc="-5" dirty="0">
                          <a:latin typeface="+mj-lt"/>
                          <a:cs typeface="Times New Roman"/>
                        </a:rPr>
                        <a:t>Единицы</a:t>
                      </a:r>
                      <a:r>
                        <a:rPr sz="2000" spc="-30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>
                          <a:latin typeface="+mj-lt"/>
                          <a:cs typeface="Times New Roman"/>
                        </a:rPr>
                        <a:t>измерения</a:t>
                      </a:r>
                      <a:endParaRPr sz="2000" dirty="0">
                        <a:latin typeface="+mj-lt"/>
                        <a:cs typeface="Times New Roman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75"/>
                        </a:lnSpc>
                      </a:pPr>
                      <a:r>
                        <a:rPr sz="2000" spc="-5" dirty="0">
                          <a:latin typeface="+mj-lt"/>
                          <a:cs typeface="Times New Roman"/>
                        </a:rPr>
                        <a:t>Значение</a:t>
                      </a:r>
                      <a:endParaRPr sz="2000" dirty="0">
                        <a:latin typeface="+mj-lt"/>
                        <a:cs typeface="Times New Roman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52484">
                <a:tc>
                  <a:txBody>
                    <a:bodyPr/>
                    <a:lstStyle/>
                    <a:p>
                      <a:pPr marL="68580">
                        <a:lnSpc>
                          <a:spcPts val="2065"/>
                        </a:lnSpc>
                      </a:pPr>
                      <a:r>
                        <a:rPr lang="ru-RU" sz="2000" spc="5" dirty="0" smtClean="0">
                          <a:latin typeface="+mj-lt"/>
                          <a:cs typeface="Times New Roman"/>
                        </a:rPr>
                        <a:t>1</a:t>
                      </a:r>
                      <a:r>
                        <a:rPr sz="2000" spc="5" dirty="0" smtClean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>
                          <a:latin typeface="+mj-lt"/>
                          <a:cs typeface="Times New Roman"/>
                        </a:rPr>
                        <a:t>Дисконтированный</a:t>
                      </a:r>
                      <a:r>
                        <a:rPr sz="2000" dirty="0">
                          <a:latin typeface="+mj-lt"/>
                          <a:cs typeface="Times New Roman"/>
                        </a:rPr>
                        <a:t> срок</a:t>
                      </a:r>
                      <a:r>
                        <a:rPr sz="2000" spc="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 err="1">
                          <a:latin typeface="+mj-lt"/>
                          <a:cs typeface="Times New Roman"/>
                        </a:rPr>
                        <a:t>окупаемости</a:t>
                      </a:r>
                      <a:r>
                        <a:rPr sz="2000" spc="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10" dirty="0" err="1" smtClean="0">
                          <a:latin typeface="+mj-lt"/>
                          <a:cs typeface="Times New Roman"/>
                        </a:rPr>
                        <a:t>проекта</a:t>
                      </a:r>
                      <a:r>
                        <a:rPr lang="ru-RU" sz="2000" spc="-10" dirty="0" smtClean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 smtClean="0">
                          <a:latin typeface="+mj-lt"/>
                          <a:cs typeface="Times New Roman"/>
                        </a:rPr>
                        <a:t>(</a:t>
                      </a:r>
                      <a:r>
                        <a:rPr sz="2000" spc="-5" dirty="0" err="1" smtClean="0">
                          <a:latin typeface="+mj-lt"/>
                          <a:cs typeface="Times New Roman"/>
                        </a:rPr>
                        <a:t>DPBPproject</a:t>
                      </a:r>
                      <a:r>
                        <a:rPr sz="2000" spc="-5" dirty="0" smtClean="0">
                          <a:latin typeface="+mj-lt"/>
                          <a:cs typeface="Times New Roman"/>
                        </a:rPr>
                        <a:t>)</a:t>
                      </a:r>
                      <a:endParaRPr sz="2000" dirty="0">
                        <a:latin typeface="+mj-lt"/>
                        <a:cs typeface="Times New Roman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2000" dirty="0">
                        <a:latin typeface="+mj-lt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000" dirty="0" smtClean="0">
                          <a:latin typeface="+mj-lt"/>
                          <a:cs typeface="Times New Roman"/>
                        </a:rPr>
                        <a:t>лет</a:t>
                      </a:r>
                      <a:endParaRPr sz="2000" dirty="0">
                        <a:latin typeface="+mj-lt"/>
                        <a:cs typeface="Times New Roman"/>
                      </a:endParaRPr>
                    </a:p>
                  </a:txBody>
                  <a:tcPr marL="0" marR="0" marT="44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000" dirty="0" smtClean="0">
                          <a:latin typeface="+mj-lt"/>
                          <a:cs typeface="Times New Roman"/>
                        </a:rPr>
                        <a:t>2,7</a:t>
                      </a:r>
                      <a:endParaRPr sz="2000" dirty="0">
                        <a:latin typeface="+mj-lt"/>
                        <a:cs typeface="Times New Roman"/>
                      </a:endParaRPr>
                    </a:p>
                  </a:txBody>
                  <a:tcPr marL="0" marR="0" marT="444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80120">
                <a:tc>
                  <a:txBody>
                    <a:bodyPr/>
                    <a:lstStyle/>
                    <a:p>
                      <a:pPr marL="68580">
                        <a:lnSpc>
                          <a:spcPts val="2065"/>
                        </a:lnSpc>
                      </a:pPr>
                      <a:r>
                        <a:rPr lang="ru-RU" sz="2000" spc="-5" dirty="0" smtClean="0">
                          <a:latin typeface="+mj-lt"/>
                          <a:cs typeface="Times New Roman"/>
                        </a:rPr>
                        <a:t>2</a:t>
                      </a:r>
                      <a:r>
                        <a:rPr sz="2000" spc="-5" dirty="0" smtClean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>
                          <a:latin typeface="+mj-lt"/>
                          <a:cs typeface="Times New Roman"/>
                        </a:rPr>
                        <a:t>Чистый</a:t>
                      </a:r>
                      <a:r>
                        <a:rPr sz="2000" spc="-10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>
                          <a:latin typeface="+mj-lt"/>
                          <a:cs typeface="Times New Roman"/>
                        </a:rPr>
                        <a:t>дисконтированный </a:t>
                      </a:r>
                      <a:r>
                        <a:rPr sz="2000" dirty="0">
                          <a:latin typeface="+mj-lt"/>
                          <a:cs typeface="Times New Roman"/>
                        </a:rPr>
                        <a:t>доход</a:t>
                      </a:r>
                      <a:r>
                        <a:rPr sz="2000" spc="-10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dirty="0">
                          <a:latin typeface="+mj-lt"/>
                          <a:cs typeface="Times New Roman"/>
                        </a:rPr>
                        <a:t>в </a:t>
                      </a:r>
                      <a:r>
                        <a:rPr sz="2000" spc="-5" dirty="0" err="1">
                          <a:latin typeface="+mj-lt"/>
                          <a:cs typeface="Times New Roman"/>
                        </a:rPr>
                        <a:t>течение</a:t>
                      </a:r>
                      <a:r>
                        <a:rPr sz="2000" spc="-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dirty="0" err="1" smtClean="0">
                          <a:latin typeface="+mj-lt"/>
                          <a:cs typeface="Times New Roman"/>
                        </a:rPr>
                        <a:t>срока</a:t>
                      </a:r>
                      <a:r>
                        <a:rPr lang="ru-RU" sz="2000" dirty="0" smtClean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dirty="0" err="1" smtClean="0">
                          <a:latin typeface="+mj-lt"/>
                          <a:cs typeface="Times New Roman"/>
                        </a:rPr>
                        <a:t>жизни</a:t>
                      </a:r>
                      <a:r>
                        <a:rPr sz="2000" spc="-25" dirty="0" smtClean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>
                          <a:latin typeface="+mj-lt"/>
                          <a:cs typeface="Times New Roman"/>
                        </a:rPr>
                        <a:t>проекта</a:t>
                      </a:r>
                      <a:r>
                        <a:rPr sz="2000" spc="-20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>
                          <a:latin typeface="+mj-lt"/>
                          <a:cs typeface="Times New Roman"/>
                        </a:rPr>
                        <a:t>(NPVproject)</a:t>
                      </a:r>
                      <a:endParaRPr sz="2000" dirty="0">
                        <a:latin typeface="+mj-lt"/>
                        <a:cs typeface="Times New Roman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endParaRPr sz="2000" dirty="0">
                        <a:latin typeface="+mj-lt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2000" spc="-5" dirty="0" err="1" smtClean="0">
                          <a:latin typeface="+mj-lt"/>
                          <a:cs typeface="Times New Roman"/>
                        </a:rPr>
                        <a:t>млн</a:t>
                      </a:r>
                      <a:r>
                        <a:rPr lang="ru-RU" sz="2000" spc="-5" dirty="0" smtClean="0">
                          <a:latin typeface="+mj-lt"/>
                          <a:cs typeface="Times New Roman"/>
                        </a:rPr>
                        <a:t> р.</a:t>
                      </a:r>
                      <a:endParaRPr sz="2000" dirty="0">
                        <a:latin typeface="+mj-lt"/>
                        <a:cs typeface="Times New Roman"/>
                      </a:endParaRPr>
                    </a:p>
                  </a:txBody>
                  <a:tcPr marL="0" marR="0" marT="571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lang="ru-RU" sz="2000" dirty="0" smtClean="0">
                          <a:latin typeface="+mj-lt"/>
                          <a:cs typeface="Times New Roman"/>
                        </a:rPr>
                        <a:t>З01,6</a:t>
                      </a:r>
                      <a:endParaRPr sz="2000" dirty="0">
                        <a:latin typeface="+mj-lt"/>
                        <a:cs typeface="Times New Roman"/>
                      </a:endParaRPr>
                    </a:p>
                  </a:txBody>
                  <a:tcPr marL="0" marR="0" marT="5715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48072">
                <a:tc>
                  <a:txBody>
                    <a:bodyPr/>
                    <a:lstStyle/>
                    <a:p>
                      <a:pPr marL="68580">
                        <a:lnSpc>
                          <a:spcPts val="2065"/>
                        </a:lnSpc>
                      </a:pPr>
                      <a:r>
                        <a:rPr lang="ru-RU" sz="2000" spc="-10" dirty="0" smtClean="0">
                          <a:latin typeface="+mj-lt"/>
                          <a:cs typeface="Times New Roman"/>
                        </a:rPr>
                        <a:t>3</a:t>
                      </a:r>
                      <a:r>
                        <a:rPr sz="2000" spc="-10" dirty="0" smtClean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>
                          <a:latin typeface="+mj-lt"/>
                          <a:cs typeface="Times New Roman"/>
                        </a:rPr>
                        <a:t>Внутренняя норма</a:t>
                      </a:r>
                      <a:r>
                        <a:rPr sz="2000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>
                          <a:latin typeface="+mj-lt"/>
                          <a:cs typeface="Times New Roman"/>
                        </a:rPr>
                        <a:t>доходности</a:t>
                      </a:r>
                      <a:r>
                        <a:rPr sz="2000" spc="-10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dirty="0">
                          <a:latin typeface="+mj-lt"/>
                          <a:cs typeface="Times New Roman"/>
                        </a:rPr>
                        <a:t>(IRR)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65"/>
                        </a:lnSpc>
                      </a:pPr>
                      <a:r>
                        <a:rPr sz="2000" dirty="0">
                          <a:latin typeface="+mj-lt"/>
                          <a:cs typeface="Times New Roman"/>
                        </a:rPr>
                        <a:t>%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ts val="2065"/>
                        </a:lnSpc>
                      </a:pPr>
                      <a:r>
                        <a:rPr lang="ru-RU" sz="2000" dirty="0" smtClean="0">
                          <a:latin typeface="+mj-lt"/>
                          <a:cs typeface="Times New Roman"/>
                        </a:rPr>
                        <a:t>75</a:t>
                      </a:r>
                      <a:endParaRPr sz="2000" dirty="0">
                        <a:latin typeface="+mj-lt"/>
                        <a:cs typeface="Times New Roman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pPr marL="68580">
                        <a:lnSpc>
                          <a:spcPts val="2065"/>
                        </a:lnSpc>
                      </a:pPr>
                      <a:r>
                        <a:rPr lang="ru-RU" sz="2000" spc="-15" dirty="0" smtClean="0">
                          <a:latin typeface="+mj-lt"/>
                          <a:cs typeface="Times New Roman"/>
                        </a:rPr>
                        <a:t>4</a:t>
                      </a:r>
                      <a:r>
                        <a:rPr sz="2000" spc="-15" dirty="0" smtClean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>
                          <a:latin typeface="+mj-lt"/>
                          <a:cs typeface="Times New Roman"/>
                        </a:rPr>
                        <a:t>Норма</a:t>
                      </a:r>
                      <a:r>
                        <a:rPr sz="2000" spc="-10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>
                          <a:latin typeface="+mj-lt"/>
                          <a:cs typeface="Times New Roman"/>
                        </a:rPr>
                        <a:t>доходности</a:t>
                      </a:r>
                      <a:r>
                        <a:rPr sz="2000" spc="-20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spc="-5" dirty="0">
                          <a:latin typeface="+mj-lt"/>
                          <a:cs typeface="Times New Roman"/>
                        </a:rPr>
                        <a:t>инвестиций</a:t>
                      </a:r>
                      <a:r>
                        <a:rPr sz="2000" spc="-15" dirty="0">
                          <a:latin typeface="+mj-lt"/>
                          <a:cs typeface="Times New Roman"/>
                        </a:rPr>
                        <a:t> </a:t>
                      </a:r>
                      <a:r>
                        <a:rPr sz="2000" dirty="0">
                          <a:latin typeface="+mj-lt"/>
                          <a:cs typeface="Times New Roman"/>
                        </a:rPr>
                        <a:t>(PI)</a:t>
                      </a:r>
                    </a:p>
                  </a:txBody>
                  <a:tcPr marL="0" marR="0" marT="0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65"/>
                        </a:lnSpc>
                      </a:pPr>
                      <a:r>
                        <a:rPr sz="2000" spc="-5" dirty="0">
                          <a:latin typeface="+mj-lt"/>
                          <a:cs typeface="Times New Roman"/>
                        </a:rPr>
                        <a:t>коэффициент</a:t>
                      </a:r>
                      <a:endParaRPr sz="2000" dirty="0">
                        <a:latin typeface="+mj-lt"/>
                        <a:cs typeface="Times New Roman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65"/>
                        </a:lnSpc>
                      </a:pPr>
                      <a:r>
                        <a:rPr lang="ru-RU" sz="2000" dirty="0" smtClean="0">
                          <a:latin typeface="+mj-lt"/>
                          <a:cs typeface="Times New Roman"/>
                        </a:rPr>
                        <a:t>2,1</a:t>
                      </a:r>
                      <a:endParaRPr sz="2000" dirty="0">
                        <a:latin typeface="+mj-lt"/>
                        <a:cs typeface="Times New Roman"/>
                      </a:endParaRPr>
                    </a:p>
                  </a:txBody>
                  <a:tcPr marL="0" marR="0" marT="0" marB="0" anchor="ctr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5437620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6"/>
          <p:cNvSpPr txBox="1">
            <a:spLocks/>
          </p:cNvSpPr>
          <p:nvPr/>
        </p:nvSpPr>
        <p:spPr bwMode="auto">
          <a:xfrm>
            <a:off x="113023" y="188640"/>
            <a:ext cx="8331200" cy="6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0582" tIns="30582" rIns="30582" bIns="30582" anchor="ctr"/>
          <a:lstStyle>
            <a:defPPr>
              <a:defRPr lang="ru-RU"/>
            </a:defPPr>
            <a:lvl1pPr marL="152925" eaLnBrk="0" fontAlgn="base" hangingPunct="0">
              <a:spcBef>
                <a:spcPct val="0"/>
              </a:spcBef>
              <a:spcAft>
                <a:spcPct val="0"/>
              </a:spcAft>
              <a:defRPr sz="1363" kern="0">
                <a:solidFill>
                  <a:srgbClr val="3D464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Возможности и барьеры проекта</a:t>
            </a:r>
            <a:endParaRPr lang="en-US" sz="20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TextBox 4"/>
          <p:cNvSpPr txBox="1"/>
          <p:nvPr/>
        </p:nvSpPr>
        <p:spPr>
          <a:xfrm>
            <a:off x="385215" y="1124744"/>
            <a:ext cx="835292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8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8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8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8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ru-RU" sz="1400" b="1" dirty="0" smtClean="0">
                <a:solidFill>
                  <a:srgbClr val="C00000"/>
                </a:solidFill>
              </a:rPr>
              <a:t>Основными </a:t>
            </a:r>
            <a:r>
              <a:rPr lang="ru-RU" sz="1400" b="1" dirty="0">
                <a:solidFill>
                  <a:srgbClr val="C00000"/>
                </a:solidFill>
              </a:rPr>
              <a:t>барьерами </a:t>
            </a:r>
            <a:r>
              <a:rPr lang="ru-RU" sz="1400" dirty="0"/>
              <a:t>развития розничной сети «Роснефть» в Тюменской области являются:</a:t>
            </a:r>
          </a:p>
          <a:p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затраты, связанные с изучением рынка, определением оптимального количества и расположения объектов АЗС; </a:t>
            </a:r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значительные капитальные вложения</a:t>
            </a:r>
            <a:r>
              <a:rPr lang="ru-RU" sz="1400" dirty="0" smtClean="0"/>
              <a:t>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отсутствие положительной репутации и низкая узнаваемость бренда АЗС «Роснефть»; </a:t>
            </a:r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значительное влияние конкурентного окружения</a:t>
            </a:r>
            <a:r>
              <a:rPr lang="ru-RU" sz="1400" dirty="0" smtClean="0"/>
              <a:t>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затраты, связанные  с поиском и обучением </a:t>
            </a:r>
            <a:r>
              <a:rPr lang="ru-RU" sz="1400" dirty="0" smtClean="0"/>
              <a:t>персонала.</a:t>
            </a:r>
            <a:endParaRPr lang="ru-RU" sz="1400" dirty="0"/>
          </a:p>
          <a:p>
            <a:endParaRPr lang="ru-RU" sz="1400" dirty="0"/>
          </a:p>
          <a:p>
            <a:endParaRPr lang="ru-RU" sz="1400" dirty="0"/>
          </a:p>
          <a:p>
            <a:r>
              <a:rPr lang="ru-RU" sz="1400" dirty="0" smtClean="0">
                <a:solidFill>
                  <a:srgbClr val="00B050"/>
                </a:solidFill>
              </a:rPr>
              <a:t>  </a:t>
            </a:r>
            <a:r>
              <a:rPr lang="ru-RU" sz="1400" b="1" dirty="0" smtClean="0">
                <a:solidFill>
                  <a:srgbClr val="00B050"/>
                </a:solidFill>
              </a:rPr>
              <a:t>Возможности </a:t>
            </a:r>
            <a:r>
              <a:rPr lang="ru-RU" sz="1400" b="1" dirty="0">
                <a:solidFill>
                  <a:srgbClr val="00B050"/>
                </a:solidFill>
              </a:rPr>
              <a:t>положительного входа </a:t>
            </a:r>
            <a:r>
              <a:rPr lang="ru-RU" sz="1400" dirty="0"/>
              <a:t>на рынок Тюменской области для РН-КурганНП это: </a:t>
            </a:r>
          </a:p>
          <a:p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положительная </a:t>
            </a:r>
            <a:r>
              <a:rPr lang="ru-RU" sz="1400" dirty="0"/>
              <a:t>динамика экономических показателей Тюменской области</a:t>
            </a:r>
            <a:r>
              <a:rPr lang="ru-RU" sz="1400" dirty="0" smtClean="0"/>
              <a:t>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/>
              <a:t>в</a:t>
            </a:r>
            <a:r>
              <a:rPr lang="ru-RU" sz="1400" dirty="0" smtClean="0"/>
              <a:t>ыгодное </a:t>
            </a:r>
            <a:r>
              <a:rPr lang="ru-RU" sz="1400" dirty="0"/>
              <a:t>географическое месторасположение </a:t>
            </a:r>
            <a:r>
              <a:rPr lang="ru-RU" sz="1400" dirty="0" smtClean="0"/>
              <a:t>приобретаемой сети АЗС с </a:t>
            </a:r>
            <a:r>
              <a:rPr lang="ru-RU" sz="1400" dirty="0"/>
              <a:t>хорошим уровнем покрытия всех районов города</a:t>
            </a:r>
            <a:r>
              <a:rPr lang="ru-RU" sz="1400" dirty="0" smtClean="0"/>
              <a:t>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существующая </a:t>
            </a:r>
            <a:r>
              <a:rPr lang="ru-RU" sz="1400" dirty="0"/>
              <a:t>транспортная инфраструктура и логистика региона</a:t>
            </a:r>
            <a:r>
              <a:rPr lang="ru-RU" sz="1400" dirty="0" smtClean="0"/>
              <a:t>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 smtClean="0"/>
              <a:t>значительный опыт по повышению клиентского сервиса</a:t>
            </a:r>
            <a:endParaRPr lang="ru-RU" sz="1400" dirty="0"/>
          </a:p>
        </p:txBody>
      </p:sp>
      <p:sp>
        <p:nvSpPr>
          <p:cNvPr id="5" name="Номер слайда 5"/>
          <p:cNvSpPr txBox="1">
            <a:spLocks/>
          </p:cNvSpPr>
          <p:nvPr/>
        </p:nvSpPr>
        <p:spPr bwMode="auto">
          <a:xfrm>
            <a:off x="7643834" y="6357958"/>
            <a:ext cx="1274457" cy="357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smtClean="0">
                <a:solidFill>
                  <a:schemeClr val="tx2"/>
                </a:solidFill>
                <a:latin typeface="+mj-lt"/>
                <a:cs typeface="Times New Roman" pitchFamily="18" charset="0"/>
              </a:rPr>
              <a:t>Слайд 14</a:t>
            </a:r>
            <a:endParaRPr lang="en-GB" altLang="ru-RU" sz="1600" dirty="0">
              <a:solidFill>
                <a:schemeClr val="tx2"/>
              </a:solidFill>
              <a:latin typeface="+mj-lt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7221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2"/>
          <p:cNvSpPr>
            <a:spLocks noGrp="1"/>
          </p:cNvSpPr>
          <p:nvPr>
            <p:ph type="title"/>
          </p:nvPr>
        </p:nvSpPr>
        <p:spPr>
          <a:xfrm>
            <a:off x="294169" y="260648"/>
            <a:ext cx="3714776" cy="432048"/>
          </a:xfrm>
        </p:spPr>
        <p:txBody>
          <a:bodyPr/>
          <a:lstStyle/>
          <a:p>
            <a:pPr eaLnBrk="1" hangingPunct="1"/>
            <a:r>
              <a:rPr lang="ru-RU" alt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Цель и задачи </a:t>
            </a:r>
            <a:r>
              <a:rPr lang="ru-RU" alt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сследования </a:t>
            </a:r>
          </a:p>
        </p:txBody>
      </p:sp>
      <p:sp>
        <p:nvSpPr>
          <p:cNvPr id="13" name="Номер слайда 5"/>
          <p:cNvSpPr txBox="1">
            <a:spLocks/>
          </p:cNvSpPr>
          <p:nvPr/>
        </p:nvSpPr>
        <p:spPr bwMode="auto">
          <a:xfrm>
            <a:off x="7643834" y="6357958"/>
            <a:ext cx="1214446" cy="327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</a:rPr>
              <a:t>Слайд 1</a:t>
            </a:r>
            <a:endParaRPr lang="en-GB" altLang="ru-RU" sz="1600" dirty="0">
              <a:solidFill>
                <a:schemeClr val="tx2"/>
              </a:solidFill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290214" y="1052736"/>
            <a:ext cx="8572500" cy="2936315"/>
            <a:chOff x="329538" y="1498245"/>
            <a:chExt cx="8572500" cy="2732337"/>
          </a:xfrm>
        </p:grpSpPr>
        <p:sp>
          <p:nvSpPr>
            <p:cNvPr id="19" name="Скругленный прямоугольник 18"/>
            <p:cNvSpPr>
              <a:spLocks noChangeArrowheads="1"/>
            </p:cNvSpPr>
            <p:nvPr/>
          </p:nvSpPr>
          <p:spPr bwMode="auto">
            <a:xfrm>
              <a:off x="329538" y="1498245"/>
              <a:ext cx="8572500" cy="686064"/>
            </a:xfrm>
            <a:prstGeom prst="roundRect">
              <a:avLst>
                <a:gd name="adj" fmla="val 16667"/>
              </a:avLst>
            </a:prstGeom>
            <a:noFill/>
            <a:ln w="25400" algn="ctr">
              <a:solidFill>
                <a:srgbClr val="F78E2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fontAlgn="base">
                <a:spcBef>
                  <a:spcPct val="0"/>
                </a:spcBef>
                <a:spcAft>
                  <a:spcPts val="0"/>
                </a:spcAft>
              </a:pPr>
              <a:r>
                <a:rPr lang="ru-RU" b="1" dirty="0">
                  <a:solidFill>
                    <a:srgbClr val="C0000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Цель </a:t>
              </a:r>
              <a:r>
                <a:rPr lang="ru-RU" b="1" dirty="0" smtClean="0">
                  <a:solidFill>
                    <a:srgbClr val="C0000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исследования</a:t>
              </a:r>
              <a:r>
                <a:rPr lang="ru-RU" dirty="0" smtClean="0">
                  <a:solidFill>
                    <a:schemeClr val="tx2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: </a:t>
              </a:r>
            </a:p>
            <a:p>
              <a:pPr lvl="0">
                <a:spcAft>
                  <a:spcPts val="0"/>
                </a:spcAft>
              </a:pPr>
              <a:r>
                <a:rPr lang="ru-RU" sz="2000" dirty="0" smtClean="0">
                  <a:solidFill>
                    <a:schemeClr val="tx2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Разработка </a:t>
              </a:r>
              <a:r>
                <a:rPr lang="ru-RU" sz="2000" dirty="0">
                  <a:solidFill>
                    <a:schemeClr val="tx2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проекта развития розничной сети Компании.</a:t>
              </a:r>
            </a:p>
          </p:txBody>
        </p:sp>
        <p:sp>
          <p:nvSpPr>
            <p:cNvPr id="21" name="Скругленный прямоугольник 20"/>
            <p:cNvSpPr>
              <a:spLocks noChangeArrowheads="1"/>
            </p:cNvSpPr>
            <p:nvPr/>
          </p:nvSpPr>
          <p:spPr bwMode="auto">
            <a:xfrm>
              <a:off x="768808" y="3522819"/>
              <a:ext cx="4151469" cy="707763"/>
            </a:xfrm>
            <a:prstGeom prst="roundRect">
              <a:avLst>
                <a:gd name="adj" fmla="val 16667"/>
              </a:avLst>
            </a:prstGeom>
            <a:noFill/>
            <a:ln w="25400" algn="ctr">
              <a:solidFill>
                <a:srgbClr val="F78E2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1000"/>
                </a:spcAft>
              </a:pPr>
              <a:r>
                <a:rPr lang="ru-RU" sz="1600" dirty="0" smtClean="0">
                  <a:solidFill>
                    <a:prstClr val="black"/>
                  </a:solidFill>
                  <a:latin typeface="Calibri"/>
                </a:rPr>
                <a:t>провести </a:t>
              </a:r>
              <a:r>
                <a:rPr lang="ru-RU" sz="1600" dirty="0">
                  <a:solidFill>
                    <a:prstClr val="black"/>
                  </a:solidFill>
                  <a:latin typeface="Calibri"/>
                </a:rPr>
                <a:t>анализ финансово-хозяйственной деятельности ПАО «НК «Роснефть</a:t>
              </a:r>
              <a:r>
                <a:rPr lang="ru-RU" sz="1600" dirty="0" smtClean="0">
                  <a:solidFill>
                    <a:prstClr val="black"/>
                  </a:solidFill>
                  <a:latin typeface="Calibri"/>
                </a:rPr>
                <a:t>» - Курганнефтепродукт»</a:t>
              </a:r>
              <a:endParaRPr lang="ru-RU" sz="16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" name="Скругленный прямоугольник 23"/>
            <p:cNvSpPr>
              <a:spLocks noChangeArrowheads="1"/>
            </p:cNvSpPr>
            <p:nvPr/>
          </p:nvSpPr>
          <p:spPr bwMode="auto">
            <a:xfrm>
              <a:off x="333493" y="2272838"/>
              <a:ext cx="4620947" cy="456202"/>
            </a:xfrm>
            <a:prstGeom prst="roundRect">
              <a:avLst>
                <a:gd name="adj" fmla="val 16667"/>
              </a:avLst>
            </a:prstGeom>
            <a:noFill/>
            <a:ln w="25400" algn="ctr">
              <a:solidFill>
                <a:srgbClr val="F78E2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R="0" indent="0">
                <a:lnSpc>
                  <a:spcPct val="100000"/>
                </a:lnSpc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ru-RU" b="1" dirty="0" smtClean="0">
                  <a:solidFill>
                    <a:srgbClr val="C0000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Задачи</a:t>
              </a:r>
              <a:r>
                <a:rPr lang="ru-RU" b="1" dirty="0">
                  <a:solidFill>
                    <a:srgbClr val="C0000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 </a:t>
              </a:r>
              <a:r>
                <a:rPr lang="ru-RU" b="1" dirty="0" smtClean="0">
                  <a:solidFill>
                    <a:srgbClr val="C0000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исследования</a:t>
              </a:r>
              <a:r>
                <a:rPr lang="ru-RU" sz="1600" dirty="0" smtClean="0">
                  <a:solidFill>
                    <a:prstClr val="black"/>
                  </a:solidFill>
                  <a:latin typeface="Calibri"/>
                </a:rPr>
                <a:t>:</a:t>
              </a:r>
              <a:endParaRPr lang="ru-RU" sz="16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" name="Скругленный прямоугольник 25"/>
            <p:cNvSpPr>
              <a:spLocks noChangeArrowheads="1"/>
            </p:cNvSpPr>
            <p:nvPr/>
          </p:nvSpPr>
          <p:spPr bwMode="auto">
            <a:xfrm>
              <a:off x="768808" y="2838361"/>
              <a:ext cx="4151469" cy="587089"/>
            </a:xfrm>
            <a:prstGeom prst="roundRect">
              <a:avLst>
                <a:gd name="adj" fmla="val 16667"/>
              </a:avLst>
            </a:prstGeom>
            <a:noFill/>
            <a:ln w="25400" algn="ctr">
              <a:solidFill>
                <a:srgbClr val="F78E25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spcAft>
                  <a:spcPts val="1000"/>
                </a:spcAft>
              </a:pPr>
              <a:r>
                <a:rPr lang="ru-RU" sz="1600" dirty="0" smtClean="0">
                  <a:solidFill>
                    <a:prstClr val="black"/>
                  </a:solidFill>
                  <a:latin typeface="Calibri"/>
                </a:rPr>
                <a:t>дать </a:t>
              </a:r>
              <a:r>
                <a:rPr lang="ru-RU" sz="1600" dirty="0">
                  <a:solidFill>
                    <a:prstClr val="black"/>
                  </a:solidFill>
                  <a:latin typeface="Calibri"/>
                </a:rPr>
                <a:t>характеристику текущей деятельности ПАО «НК «Роснефть»-Курганнефтепродукт</a:t>
              </a:r>
              <a:r>
                <a:rPr lang="ru-RU" sz="1600" dirty="0" smtClean="0">
                  <a:solidFill>
                    <a:prstClr val="black"/>
                  </a:solidFill>
                  <a:latin typeface="Calibri"/>
                </a:rPr>
                <a:t>»</a:t>
              </a:r>
              <a:endParaRPr lang="ru-RU" sz="16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3" name="Скругленный прямоугольник 32"/>
          <p:cNvSpPr>
            <a:spLocks noChangeArrowheads="1"/>
          </p:cNvSpPr>
          <p:nvPr/>
        </p:nvSpPr>
        <p:spPr bwMode="auto">
          <a:xfrm>
            <a:off x="746729" y="4077072"/>
            <a:ext cx="4146849" cy="678613"/>
          </a:xfrm>
          <a:prstGeom prst="roundRect">
            <a:avLst>
              <a:gd name="adj" fmla="val 16667"/>
            </a:avLst>
          </a:prstGeom>
          <a:noFill/>
          <a:ln w="25400" algn="ctr">
            <a:solidFill>
              <a:srgbClr val="F78E2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000"/>
              </a:spcAft>
            </a:pPr>
            <a:r>
              <a:rPr lang="ru-RU" sz="1600" dirty="0"/>
              <a:t>провести анализ потенциальных рынков развития розничной сети Компании</a:t>
            </a:r>
            <a:endParaRPr lang="ru-RU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>
            <a:spLocks noChangeArrowheads="1"/>
          </p:cNvSpPr>
          <p:nvPr/>
        </p:nvSpPr>
        <p:spPr bwMode="auto">
          <a:xfrm>
            <a:off x="756003" y="4880101"/>
            <a:ext cx="4151469" cy="565123"/>
          </a:xfrm>
          <a:prstGeom prst="roundRect">
            <a:avLst>
              <a:gd name="adj" fmla="val 16667"/>
            </a:avLst>
          </a:prstGeom>
          <a:noFill/>
          <a:ln w="25400" algn="ctr">
            <a:solidFill>
              <a:srgbClr val="F78E2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ru-RU" sz="1600" dirty="0" smtClean="0"/>
              <a:t>описать </a:t>
            </a:r>
            <a:r>
              <a:rPr lang="ru-RU" sz="1600" dirty="0"/>
              <a:t>внедрение проектного решения</a:t>
            </a:r>
            <a:endParaRPr lang="ru-RU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5" name="Скругленный прямоугольник 34"/>
          <p:cNvSpPr>
            <a:spLocks noChangeArrowheads="1"/>
          </p:cNvSpPr>
          <p:nvPr/>
        </p:nvSpPr>
        <p:spPr bwMode="auto">
          <a:xfrm>
            <a:off x="762357" y="5589240"/>
            <a:ext cx="4152759" cy="720080"/>
          </a:xfrm>
          <a:prstGeom prst="roundRect">
            <a:avLst>
              <a:gd name="adj" fmla="val 16667"/>
            </a:avLst>
          </a:prstGeom>
          <a:noFill/>
          <a:ln w="25400" algn="ctr">
            <a:solidFill>
              <a:srgbClr val="F78E2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000"/>
              </a:spcAft>
            </a:pPr>
            <a:r>
              <a:rPr lang="ru-RU" sz="1600" dirty="0" smtClean="0"/>
              <a:t>провести </a:t>
            </a:r>
            <a:r>
              <a:rPr lang="ru-RU" sz="1600" dirty="0"/>
              <a:t>коммерческую оценку и эффект при реализации инвестиционного проекта</a:t>
            </a:r>
            <a:endParaRPr lang="ru-RU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6" name="Скругленный прямоугольник 35"/>
          <p:cNvSpPr>
            <a:spLocks noChangeArrowheads="1"/>
          </p:cNvSpPr>
          <p:nvPr/>
        </p:nvSpPr>
        <p:spPr bwMode="auto">
          <a:xfrm>
            <a:off x="5220072" y="1885155"/>
            <a:ext cx="3635898" cy="823765"/>
          </a:xfrm>
          <a:prstGeom prst="roundRect">
            <a:avLst>
              <a:gd name="adj" fmla="val 16667"/>
            </a:avLst>
          </a:prstGeom>
          <a:noFill/>
          <a:ln w="25400" algn="ctr">
            <a:solidFill>
              <a:srgbClr val="F78E2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бъект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исследования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: </a:t>
            </a:r>
          </a:p>
          <a:p>
            <a:pPr lvl="0">
              <a:spcAft>
                <a:spcPts val="0"/>
              </a:spcAft>
            </a:pPr>
            <a:r>
              <a:rPr lang="ru-RU" sz="1600" dirty="0" smtClean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АО «НК «Роснефть»-Курганнефтепродукт»</a:t>
            </a:r>
            <a:endParaRPr lang="ru-RU" dirty="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7" name="Скругленный прямоугольник 36"/>
          <p:cNvSpPr>
            <a:spLocks noChangeArrowheads="1"/>
          </p:cNvSpPr>
          <p:nvPr/>
        </p:nvSpPr>
        <p:spPr bwMode="auto">
          <a:xfrm>
            <a:off x="5220072" y="2852936"/>
            <a:ext cx="3638535" cy="1504758"/>
          </a:xfrm>
          <a:prstGeom prst="roundRect">
            <a:avLst>
              <a:gd name="adj" fmla="val 16667"/>
            </a:avLst>
          </a:prstGeom>
          <a:noFill/>
          <a:ln w="25400" algn="ctr">
            <a:solidFill>
              <a:srgbClr val="F78E2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Aft>
                <a:spcPts val="0"/>
              </a:spcAft>
            </a:pPr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едмет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исследования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: </a:t>
            </a:r>
          </a:p>
          <a:p>
            <a:pPr lvl="0">
              <a:spcAft>
                <a:spcPts val="0"/>
              </a:spcAft>
            </a:pPr>
            <a:r>
              <a:rPr lang="ru-RU" sz="1600" dirty="0" smtClean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вышение 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эффективности Общества </a:t>
            </a:r>
            <a:r>
              <a:rPr lang="ru-RU" sz="1600" dirty="0" smtClean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средством реализации инвестиционного 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оекта развития розничной сети АЗС/АЗ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 bwMode="auto">
          <a:xfrm>
            <a:off x="467544" y="2375414"/>
            <a:ext cx="0" cy="3553132"/>
          </a:xfrm>
          <a:prstGeom prst="line">
            <a:avLst/>
          </a:prstGeom>
          <a:noFill/>
          <a:ln w="25400" cap="flat" cmpd="sng" algn="ctr">
            <a:solidFill>
              <a:srgbClr val="F78E2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Прямая соединительная линия 37"/>
          <p:cNvCxnSpPr>
            <a:stCxn id="26" idx="1"/>
          </p:cNvCxnSpPr>
          <p:nvPr/>
        </p:nvCxnSpPr>
        <p:spPr bwMode="auto">
          <a:xfrm flipH="1">
            <a:off x="467544" y="2808355"/>
            <a:ext cx="261940" cy="0"/>
          </a:xfrm>
          <a:prstGeom prst="line">
            <a:avLst/>
          </a:prstGeom>
          <a:noFill/>
          <a:ln w="25400" cap="flat" cmpd="sng" algn="ctr">
            <a:solidFill>
              <a:srgbClr val="F78E25"/>
            </a:solidFill>
            <a:prstDash val="solid"/>
            <a:round/>
            <a:headEnd type="oval" w="med" len="med"/>
            <a:tailEnd type="none" w="med" len="med"/>
          </a:ln>
          <a:effectLst/>
        </p:spPr>
      </p:cxnSp>
      <p:cxnSp>
        <p:nvCxnSpPr>
          <p:cNvPr id="44" name="Прямая соединительная линия 43"/>
          <p:cNvCxnSpPr/>
          <p:nvPr/>
        </p:nvCxnSpPr>
        <p:spPr bwMode="auto">
          <a:xfrm flipH="1">
            <a:off x="467544" y="3608751"/>
            <a:ext cx="261940" cy="0"/>
          </a:xfrm>
          <a:prstGeom prst="line">
            <a:avLst/>
          </a:prstGeom>
          <a:noFill/>
          <a:ln w="25400" cap="flat" cmpd="sng" algn="ctr">
            <a:solidFill>
              <a:srgbClr val="F78E25"/>
            </a:solidFill>
            <a:prstDash val="solid"/>
            <a:round/>
            <a:headEnd type="oval" w="med" len="med"/>
            <a:tailEnd type="none" w="med" len="med"/>
          </a:ln>
          <a:effectLst/>
        </p:spPr>
      </p:cxnSp>
      <p:cxnSp>
        <p:nvCxnSpPr>
          <p:cNvPr id="45" name="Прямая соединительная линия 44"/>
          <p:cNvCxnSpPr/>
          <p:nvPr/>
        </p:nvCxnSpPr>
        <p:spPr bwMode="auto">
          <a:xfrm flipH="1">
            <a:off x="467544" y="4418940"/>
            <a:ext cx="261940" cy="0"/>
          </a:xfrm>
          <a:prstGeom prst="line">
            <a:avLst/>
          </a:prstGeom>
          <a:noFill/>
          <a:ln w="25400" cap="flat" cmpd="sng" algn="ctr">
            <a:solidFill>
              <a:srgbClr val="F78E25"/>
            </a:solidFill>
            <a:prstDash val="solid"/>
            <a:round/>
            <a:headEnd type="oval" w="med" len="med"/>
            <a:tailEnd type="none" w="med" len="med"/>
          </a:ln>
          <a:effectLst/>
        </p:spPr>
      </p:cxnSp>
      <p:cxnSp>
        <p:nvCxnSpPr>
          <p:cNvPr id="46" name="Прямая соединительная линия 45"/>
          <p:cNvCxnSpPr/>
          <p:nvPr/>
        </p:nvCxnSpPr>
        <p:spPr bwMode="auto">
          <a:xfrm flipH="1">
            <a:off x="484789" y="5154338"/>
            <a:ext cx="261940" cy="0"/>
          </a:xfrm>
          <a:prstGeom prst="line">
            <a:avLst/>
          </a:prstGeom>
          <a:noFill/>
          <a:ln w="25400" cap="flat" cmpd="sng" algn="ctr">
            <a:solidFill>
              <a:srgbClr val="F78E25"/>
            </a:solidFill>
            <a:prstDash val="solid"/>
            <a:round/>
            <a:headEnd type="oval" w="med" len="med"/>
            <a:tailEnd type="none" w="med" len="med"/>
          </a:ln>
          <a:effectLst/>
        </p:spPr>
      </p:cxnSp>
      <p:cxnSp>
        <p:nvCxnSpPr>
          <p:cNvPr id="47" name="Прямая соединительная линия 46"/>
          <p:cNvCxnSpPr/>
          <p:nvPr/>
        </p:nvCxnSpPr>
        <p:spPr bwMode="auto">
          <a:xfrm flipH="1">
            <a:off x="467544" y="5928546"/>
            <a:ext cx="261940" cy="0"/>
          </a:xfrm>
          <a:prstGeom prst="line">
            <a:avLst/>
          </a:prstGeom>
          <a:noFill/>
          <a:ln w="25400" cap="flat" cmpd="sng" algn="ctr">
            <a:solidFill>
              <a:srgbClr val="F78E25"/>
            </a:solidFill>
            <a:prstDash val="solid"/>
            <a:round/>
            <a:headEnd type="oval" w="med" len="med"/>
            <a:tailEnd type="none" w="med" len="med"/>
          </a:ln>
          <a:effectLst/>
        </p:spPr>
      </p:cxnSp>
      <p:pic>
        <p:nvPicPr>
          <p:cNvPr id="1026" name="Picture 2" descr="C:\Users\aakorjukina\Desktop\ИНФОРМАЦИЯ\Офис композит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50674" y="4435725"/>
            <a:ext cx="3605295" cy="1778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444854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Номер слайда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661563" y="6429396"/>
            <a:ext cx="1196717" cy="28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</a:rPr>
              <a:t>Слайд 2</a:t>
            </a:r>
            <a:endParaRPr lang="en-GB" altLang="ru-RU" sz="1600" dirty="0">
              <a:solidFill>
                <a:schemeClr val="tx2"/>
              </a:solidFill>
            </a:endParaRPr>
          </a:p>
        </p:txBody>
      </p:sp>
      <p:sp>
        <p:nvSpPr>
          <p:cNvPr id="14447" name="TextBox 36"/>
          <p:cNvSpPr txBox="1">
            <a:spLocks noChangeArrowheads="1"/>
          </p:cNvSpPr>
          <p:nvPr/>
        </p:nvSpPr>
        <p:spPr bwMode="auto">
          <a:xfrm>
            <a:off x="291582" y="3919696"/>
            <a:ext cx="4442181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dirty="0"/>
              <a:t>По состоянию на конец 2020 года география розничного бизнеса Компании Роснефть охватывала 66 регионов России, кроме </a:t>
            </a:r>
            <a:r>
              <a:rPr lang="ru-RU" altLang="ru-RU" dirty="0" smtClean="0"/>
              <a:t>того в </a:t>
            </a:r>
            <a:r>
              <a:rPr lang="ru-RU" altLang="ru-RU" dirty="0"/>
              <a:t>большинстве регионов своего присутствия Роснефть занимает одну из лидирующих позиций. </a:t>
            </a:r>
            <a:br>
              <a:rPr lang="ru-RU" altLang="ru-RU" dirty="0"/>
            </a:br>
            <a:endParaRPr lang="ru-RU" altLang="ru-RU" dirty="0"/>
          </a:p>
          <a:p>
            <a:r>
              <a:rPr lang="ru-RU" altLang="ru-RU" dirty="0"/>
              <a:t>На 31 декабря 2020 года сеть действующих АЗС Компании включала в себя 3 057 станций, в том числе 61 АЗС в Республике Беларусь, на территории Абхазии и в Киргизии. </a:t>
            </a:r>
          </a:p>
          <a:p>
            <a:endParaRPr lang="ru-RU" altLang="ru-RU" dirty="0"/>
          </a:p>
          <a:p>
            <a:r>
              <a:rPr lang="ru-RU" altLang="ru-RU" dirty="0" smtClean="0"/>
              <a:t>Розничный </a:t>
            </a:r>
            <a:r>
              <a:rPr lang="ru-RU" altLang="ru-RU" dirty="0"/>
              <a:t>объем реализации Компании в 2020 году составил 13,3 млн т, при этом реализация нефтепродуктов на одной АЗС составила в среднем 11,7 т/</a:t>
            </a:r>
            <a:r>
              <a:rPr lang="ru-RU" altLang="ru-RU" dirty="0" err="1"/>
              <a:t>сут</a:t>
            </a:r>
            <a:r>
              <a:rPr lang="ru-RU" altLang="ru-RU" dirty="0"/>
              <a:t>.</a:t>
            </a:r>
          </a:p>
        </p:txBody>
      </p:sp>
      <p:sp>
        <p:nvSpPr>
          <p:cNvPr id="14" name="Заголовок 15"/>
          <p:cNvSpPr txBox="1">
            <a:spLocks/>
          </p:cNvSpPr>
          <p:nvPr/>
        </p:nvSpPr>
        <p:spPr bwMode="auto">
          <a:xfrm>
            <a:off x="295442" y="260648"/>
            <a:ext cx="5429287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altLang="ru-RU" sz="2000" kern="0" dirty="0" smtClean="0"/>
              <a:t>Розничный </a:t>
            </a:r>
            <a:r>
              <a:rPr lang="ru-RU" altLang="ru-RU" sz="2000" kern="0" dirty="0"/>
              <a:t>бизнес ПАО «НК «Роснефть»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EB6F8DA7-2876-41BA-A681-65B58373FCE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15616" y="1014214"/>
            <a:ext cx="7236296" cy="291884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91D557B0-C57F-462B-81A2-F614CC284373}"/>
              </a:ext>
            </a:extLst>
          </p:cNvPr>
          <p:cNvSpPr txBox="1"/>
          <p:nvPr/>
        </p:nvSpPr>
        <p:spPr>
          <a:xfrm>
            <a:off x="5292080" y="4023741"/>
            <a:ext cx="324458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i="0" dirty="0">
                <a:solidFill>
                  <a:srgbClr val="000000"/>
                </a:solidFill>
                <a:effectLst/>
                <a:latin typeface="+mn-lt"/>
              </a:rPr>
              <a:t>В настоящее время «Роснефти» </a:t>
            </a:r>
          </a:p>
          <a:p>
            <a:pPr algn="ctr"/>
            <a:r>
              <a:rPr lang="ru-RU" sz="1200" b="1" i="0" dirty="0">
                <a:solidFill>
                  <a:srgbClr val="000000"/>
                </a:solidFill>
                <a:effectLst/>
                <a:latin typeface="+mn-lt"/>
              </a:rPr>
              <a:t>принадлежат следующие бренды АЗС</a:t>
            </a:r>
            <a:endParaRPr lang="ru-RU" sz="1200" b="1" dirty="0">
              <a:latin typeface="+mn-lt"/>
            </a:endParaRPr>
          </a:p>
        </p:txBody>
      </p:sp>
      <p:pic>
        <p:nvPicPr>
          <p:cNvPr id="1026" name="Picture 2" descr="Компания «Самаранефтегаз», которая входит в группу компаний «Роснефть», выи...">
            <a:extLst>
              <a:ext uri="{FF2B5EF4-FFF2-40B4-BE49-F238E27FC236}">
                <a16:creationId xmlns="" xmlns:a16="http://schemas.microsoft.com/office/drawing/2014/main" id="{17C3D12B-716C-4D79-BADB-34365782EE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97359" y="4532979"/>
            <a:ext cx="1421904" cy="947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ТНК-Транс.">
            <a:extLst>
              <a:ext uri="{FF2B5EF4-FFF2-40B4-BE49-F238E27FC236}">
                <a16:creationId xmlns="" xmlns:a16="http://schemas.microsoft.com/office/drawing/2014/main" id="{44063D77-C0E4-4846-ABF7-858B52A22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68193" y="5677614"/>
            <a:ext cx="786623" cy="786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ФОто: сайт BP.">
            <a:extLst>
              <a:ext uri="{FF2B5EF4-FFF2-40B4-BE49-F238E27FC236}">
                <a16:creationId xmlns="" xmlns:a16="http://schemas.microsoft.com/office/drawing/2014/main" id="{DB7770DE-DEAE-49C6-9456-17FAA6058D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25097" y="5612759"/>
            <a:ext cx="1338644" cy="819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сеть АЗС &amp;quot;Башнефть&amp;quot; .">
            <a:extLst>
              <a:ext uri="{FF2B5EF4-FFF2-40B4-BE49-F238E27FC236}">
                <a16:creationId xmlns="" xmlns:a16="http://schemas.microsoft.com/office/drawing/2014/main" id="{266C2AAC-F2D2-4BB9-8512-967009B724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75869" y="4669860"/>
            <a:ext cx="1376043" cy="942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Логотип с 2014 по 2021 гг. ">
            <a:extLst>
              <a:ext uri="{FF2B5EF4-FFF2-40B4-BE49-F238E27FC236}">
                <a16:creationId xmlns="" xmlns:a16="http://schemas.microsoft.com/office/drawing/2014/main" id="{17105287-AEBB-486E-9A41-5B607E1DA6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38473" y="5480915"/>
            <a:ext cx="994486" cy="99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91374591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2"/>
          <p:cNvSpPr>
            <a:spLocks noGrp="1"/>
          </p:cNvSpPr>
          <p:nvPr>
            <p:ph type="title"/>
          </p:nvPr>
        </p:nvSpPr>
        <p:spPr>
          <a:xfrm>
            <a:off x="320975" y="332656"/>
            <a:ext cx="7215238" cy="432048"/>
          </a:xfrm>
        </p:spPr>
        <p:txBody>
          <a:bodyPr/>
          <a:lstStyle/>
          <a:p>
            <a:pPr eaLnBrk="1" hangingPunct="1"/>
            <a:r>
              <a:rPr lang="ru-RU" sz="2000" dirty="0" smtClean="0">
                <a:latin typeface="+mn-lt"/>
                <a:cs typeface="Calibri" panose="020F0502020204030204" pitchFamily="34" charset="0"/>
              </a:rPr>
              <a:t>ПАО </a:t>
            </a:r>
            <a:r>
              <a:rPr lang="ru-RU" sz="2000" dirty="0">
                <a:latin typeface="+mn-lt"/>
                <a:cs typeface="Calibri" panose="020F0502020204030204" pitchFamily="34" charset="0"/>
              </a:rPr>
              <a:t>«НК «Роснефть»-Курганнефтепродукт» (РН-КурганНП)</a:t>
            </a:r>
            <a:endParaRPr lang="ru-RU" altLang="ru-RU" sz="2000" dirty="0">
              <a:latin typeface="+mn-lt"/>
              <a:cs typeface="Calibri" panose="020F0502020204030204" pitchFamily="34" charset="0"/>
            </a:endParaRPr>
          </a:p>
        </p:txBody>
      </p:sp>
      <p:pic>
        <p:nvPicPr>
          <p:cNvPr id="1026" name="Picture 2" descr="https://www.rosneft.ru/upload/site1/document_images/Md3rxOC70x-800xx60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0975" y="1700808"/>
            <a:ext cx="2387758" cy="1781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912911" y="1700808"/>
            <a:ext cx="2691537" cy="1794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50255" y="1706908"/>
            <a:ext cx="2664296" cy="178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896512" y="971698"/>
            <a:ext cx="52789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Основные направления деятельности РН-КурганНП  </a:t>
            </a:r>
          </a:p>
        </p:txBody>
      </p:sp>
      <p:cxnSp>
        <p:nvCxnSpPr>
          <p:cNvPr id="5" name="Прямая со стрелкой 4"/>
          <p:cNvCxnSpPr/>
          <p:nvPr/>
        </p:nvCxnSpPr>
        <p:spPr bwMode="auto">
          <a:xfrm>
            <a:off x="1619672" y="1310252"/>
            <a:ext cx="0" cy="288032"/>
          </a:xfrm>
          <a:prstGeom prst="straightConnector1">
            <a:avLst/>
          </a:prstGeom>
          <a:noFill/>
          <a:ln w="25400" cap="flat" cmpd="sng" algn="ctr">
            <a:solidFill>
              <a:srgbClr val="F78E25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1" name="Прямая со стрелкой 40"/>
          <p:cNvCxnSpPr/>
          <p:nvPr/>
        </p:nvCxnSpPr>
        <p:spPr bwMode="auto">
          <a:xfrm>
            <a:off x="7452320" y="1310252"/>
            <a:ext cx="0" cy="288032"/>
          </a:xfrm>
          <a:prstGeom prst="straightConnector1">
            <a:avLst/>
          </a:prstGeom>
          <a:noFill/>
          <a:ln w="25400" cap="flat" cmpd="sng" algn="ctr">
            <a:solidFill>
              <a:srgbClr val="F78E25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2" name="Прямая со стрелкой 41"/>
          <p:cNvCxnSpPr/>
          <p:nvPr/>
        </p:nvCxnSpPr>
        <p:spPr bwMode="auto">
          <a:xfrm>
            <a:off x="4335692" y="1310252"/>
            <a:ext cx="0" cy="288032"/>
          </a:xfrm>
          <a:prstGeom prst="straightConnector1">
            <a:avLst/>
          </a:prstGeom>
          <a:noFill/>
          <a:ln w="25400" cap="flat" cmpd="sng" algn="ctr">
            <a:solidFill>
              <a:srgbClr val="F78E25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" name="Прямая соединительная линия 6"/>
          <p:cNvCxnSpPr/>
          <p:nvPr/>
        </p:nvCxnSpPr>
        <p:spPr bwMode="auto">
          <a:xfrm>
            <a:off x="1619672" y="1310252"/>
            <a:ext cx="5832648" cy="0"/>
          </a:xfrm>
          <a:prstGeom prst="line">
            <a:avLst/>
          </a:prstGeom>
          <a:noFill/>
          <a:ln w="25400" cap="flat" cmpd="sng" algn="ctr">
            <a:solidFill>
              <a:srgbClr val="F78E2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Прямоугольник 44"/>
          <p:cNvSpPr/>
          <p:nvPr/>
        </p:nvSpPr>
        <p:spPr>
          <a:xfrm>
            <a:off x="340372" y="3576000"/>
            <a:ext cx="25034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/>
              <a:t>Розничная реализация нефтепродуктов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3039548" y="3576000"/>
            <a:ext cx="25922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/>
              <a:t>Розничная реализация товаров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5686865" y="3577237"/>
            <a:ext cx="320295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/>
              <a:t>Реализация нефтепродуктов мелким оптом</a:t>
            </a:r>
          </a:p>
        </p:txBody>
      </p:sp>
      <p:sp>
        <p:nvSpPr>
          <p:cNvPr id="8" name="Левая фигурная скобка 7"/>
          <p:cNvSpPr/>
          <p:nvPr/>
        </p:nvSpPr>
        <p:spPr bwMode="auto">
          <a:xfrm rot="16200000">
            <a:off x="2665353" y="3148116"/>
            <a:ext cx="432048" cy="2628292"/>
          </a:xfrm>
          <a:prstGeom prst="leftBrace">
            <a:avLst>
              <a:gd name="adj1" fmla="val 128131"/>
              <a:gd name="adj2" fmla="val 50985"/>
            </a:avLst>
          </a:prstGeom>
          <a:noFill/>
          <a:ln w="25400" cap="flat" cmpd="sng" algn="ctr">
            <a:solidFill>
              <a:srgbClr val="F78E2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7718" tIns="48860" rIns="97718" bIns="4886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8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5112506" y="4726468"/>
            <a:ext cx="3887035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3 </a:t>
            </a:r>
            <a:r>
              <a:rPr lang="ru-RU" sz="1600" b="1" dirty="0"/>
              <a:t>объекта </a:t>
            </a:r>
            <a:r>
              <a:rPr lang="ru-RU" sz="1600" b="1" dirty="0" err="1"/>
              <a:t>нефтебазового</a:t>
            </a:r>
            <a:r>
              <a:rPr lang="ru-RU" sz="1600" b="1" dirty="0"/>
              <a:t> хозяйства</a:t>
            </a:r>
          </a:p>
          <a:p>
            <a:pPr algn="ctr"/>
            <a:endParaRPr lang="ru-RU" sz="1600" b="1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нефтебаза в г. Курган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нефтебаза в г. Шадринск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раздаточный блок </a:t>
            </a:r>
            <a:r>
              <a:rPr lang="ru-RU" sz="1400" dirty="0" err="1"/>
              <a:t>Колесниково</a:t>
            </a:r>
            <a:endParaRPr lang="ru-RU" sz="1400" dirty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 лаборатория </a:t>
            </a:r>
            <a:endParaRPr lang="ru-RU" sz="1600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1628604" y="4732140"/>
            <a:ext cx="284330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/>
              <a:t>48 объектов АЗС/АЗК</a:t>
            </a:r>
          </a:p>
          <a:p>
            <a:pPr algn="ctr"/>
            <a:endParaRPr lang="ru-RU" sz="1400" b="1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39 АЗК с торговым залом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9 АЗС формата «киоск»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4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Курганская обл. – 44 объекта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Челябинская обл. – 3 объекта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400" dirty="0"/>
              <a:t>Свердловская обл. – 1 объект</a:t>
            </a:r>
          </a:p>
          <a:p>
            <a:pPr algn="ctr"/>
            <a:endParaRPr lang="ru-RU" sz="1600" dirty="0"/>
          </a:p>
        </p:txBody>
      </p:sp>
      <p:sp>
        <p:nvSpPr>
          <p:cNvPr id="19" name="Левая фигурная скобка 18">
            <a:extLst>
              <a:ext uri="{FF2B5EF4-FFF2-40B4-BE49-F238E27FC236}">
                <a16:creationId xmlns="" xmlns:a16="http://schemas.microsoft.com/office/drawing/2014/main" id="{2EDEE668-6007-4E9A-9F1F-52F858B3CB4D}"/>
              </a:ext>
            </a:extLst>
          </p:cNvPr>
          <p:cNvSpPr/>
          <p:nvPr/>
        </p:nvSpPr>
        <p:spPr bwMode="auto">
          <a:xfrm rot="16200000">
            <a:off x="7011033" y="3108461"/>
            <a:ext cx="432048" cy="2628292"/>
          </a:xfrm>
          <a:prstGeom prst="leftBrace">
            <a:avLst>
              <a:gd name="adj1" fmla="val 128131"/>
              <a:gd name="adj2" fmla="val 50985"/>
            </a:avLst>
          </a:prstGeom>
          <a:noFill/>
          <a:ln w="25400" cap="flat" cmpd="sng" algn="ctr">
            <a:solidFill>
              <a:srgbClr val="F78E2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7718" tIns="48860" rIns="97718" bIns="4886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8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Номер слайда 5"/>
          <p:cNvSpPr txBox="1">
            <a:spLocks/>
          </p:cNvSpPr>
          <p:nvPr/>
        </p:nvSpPr>
        <p:spPr bwMode="auto">
          <a:xfrm>
            <a:off x="7786710" y="6357958"/>
            <a:ext cx="1071570" cy="28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</a:rPr>
              <a:t>Слайд  3</a:t>
            </a:r>
            <a:endParaRPr lang="en-GB" altLang="ru-RU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58383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2"/>
          <p:cNvSpPr>
            <a:spLocks noGrp="1"/>
          </p:cNvSpPr>
          <p:nvPr>
            <p:ph type="title"/>
          </p:nvPr>
        </p:nvSpPr>
        <p:spPr>
          <a:xfrm>
            <a:off x="428596" y="116632"/>
            <a:ext cx="7858180" cy="647700"/>
          </a:xfrm>
        </p:spPr>
        <p:txBody>
          <a:bodyPr/>
          <a:lstStyle/>
          <a:p>
            <a:r>
              <a:rPr lang="ru-RU" altLang="ru-RU" sz="2000" dirty="0" smtClean="0"/>
              <a:t>Анализ </a:t>
            </a:r>
            <a:r>
              <a:rPr lang="ru-RU" altLang="ru-RU" sz="2000" dirty="0"/>
              <a:t>розничного рынка автомобильных </a:t>
            </a:r>
            <a:r>
              <a:rPr lang="ru-RU" altLang="ru-RU" sz="2000" dirty="0" smtClean="0"/>
              <a:t>топлив          Курганской </a:t>
            </a:r>
            <a:r>
              <a:rPr lang="ru-RU" altLang="ru-RU" sz="2000" dirty="0"/>
              <a:t>области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06225" y="987098"/>
            <a:ext cx="85315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dirty="0"/>
              <a:t>     На розничном рынке Курганской области  Общество представлено 44 объектами </a:t>
            </a:r>
            <a:r>
              <a:rPr lang="ru-RU" sz="1200" dirty="0" smtClean="0"/>
              <a:t>АЗС/АЗК, </a:t>
            </a:r>
            <a:r>
              <a:rPr lang="ru-RU" sz="1200" dirty="0"/>
              <a:t>равномерно расположенными во всех районах области, что обеспечивает доступность нефтепродуктов и услуг под брендом «Роснефть» </a:t>
            </a:r>
            <a:r>
              <a:rPr lang="ru-RU" sz="1200" dirty="0" smtClean="0"/>
              <a:t>для всех </a:t>
            </a:r>
            <a:r>
              <a:rPr lang="ru-RU" sz="1200" dirty="0"/>
              <a:t>категорий покупателей.  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="" xmlns:a16="http://schemas.microsoft.com/office/drawing/2014/main" id="{BDFDF397-C28D-4333-BAE3-7756B1F19F31}"/>
              </a:ext>
            </a:extLst>
          </p:cNvPr>
          <p:cNvGrpSpPr/>
          <p:nvPr/>
        </p:nvGrpSpPr>
        <p:grpSpPr bwMode="auto">
          <a:xfrm>
            <a:off x="395536" y="1919605"/>
            <a:ext cx="4144448" cy="3018790"/>
            <a:chOff x="0" y="0"/>
            <a:chExt cx="3442968" cy="2413652"/>
          </a:xfrm>
          <a:solidFill>
            <a:srgbClr val="FFC000"/>
          </a:solidFill>
        </p:grpSpPr>
        <p:pic>
          <p:nvPicPr>
            <p:cNvPr id="12" name="Picture 6">
              <a:extLst>
                <a:ext uri="{FF2B5EF4-FFF2-40B4-BE49-F238E27FC236}">
                  <a16:creationId xmlns="" xmlns:a16="http://schemas.microsoft.com/office/drawing/2014/main" id="{A12C1A41-CF8F-40CD-8702-CE44FF2150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3442968" cy="241365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3" name="Group 309">
              <a:extLst>
                <a:ext uri="{FF2B5EF4-FFF2-40B4-BE49-F238E27FC236}">
                  <a16:creationId xmlns="" xmlns:a16="http://schemas.microsoft.com/office/drawing/2014/main" id="{B63775DE-AA86-48BB-B739-D0C88E5AD6A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327080" y="147890"/>
              <a:ext cx="930785" cy="116810"/>
              <a:chOff x="2327080" y="92203"/>
              <a:chExt cx="930785" cy="148626"/>
            </a:xfrm>
            <a:grpFill/>
          </p:grpSpPr>
          <p:sp>
            <p:nvSpPr>
              <p:cNvPr id="64" name="Text Box 51">
                <a:extLst>
                  <a:ext uri="{FF2B5EF4-FFF2-40B4-BE49-F238E27FC236}">
                    <a16:creationId xmlns="" xmlns:a16="http://schemas.microsoft.com/office/drawing/2014/main" id="{A0A59192-33E1-48EB-A0A8-E19293C65BD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487450" y="92203"/>
                <a:ext cx="770415" cy="14862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noAutofit/>
              </a:bodyPr>
              <a:lstStyle/>
              <a:p>
                <a:pPr fontAlgn="base"/>
                <a:r>
                  <a:rPr lang="ru-RU" sz="800" kern="1200" dirty="0">
                    <a:solidFill>
                      <a:srgbClr val="000000"/>
                    </a:solidFill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АЗС Роснефть</a:t>
                </a:r>
                <a:endParaRPr lang="ru-RU" sz="12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65" name="Овал 64">
                <a:extLst>
                  <a:ext uri="{FF2B5EF4-FFF2-40B4-BE49-F238E27FC236}">
                    <a16:creationId xmlns="" xmlns:a16="http://schemas.microsoft.com/office/drawing/2014/main" id="{B82B4798-7FB8-4D8F-91BA-14066FB9E6F9}"/>
                  </a:ext>
                </a:extLst>
              </p:cNvPr>
              <p:cNvSpPr/>
              <p:nvPr/>
            </p:nvSpPr>
            <p:spPr bwMode="auto">
              <a:xfrm>
                <a:off x="2327080" y="92203"/>
                <a:ext cx="130398" cy="14862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5720" rIns="45720" anchor="ctr"/>
              <a:lstStyle/>
              <a:p>
                <a:endParaRPr lang="ru-RU"/>
              </a:p>
            </p:txBody>
          </p:sp>
        </p:grpSp>
        <p:sp>
          <p:nvSpPr>
            <p:cNvPr id="14" name="Овал 13">
              <a:extLst>
                <a:ext uri="{FF2B5EF4-FFF2-40B4-BE49-F238E27FC236}">
                  <a16:creationId xmlns="" xmlns:a16="http://schemas.microsoft.com/office/drawing/2014/main" id="{16D0CA32-654E-4445-AF10-6D3564663B1E}"/>
                </a:ext>
              </a:extLst>
            </p:cNvPr>
            <p:cNvSpPr/>
            <p:nvPr/>
          </p:nvSpPr>
          <p:spPr bwMode="auto">
            <a:xfrm>
              <a:off x="520778" y="466544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15" name="Овал 14">
              <a:extLst>
                <a:ext uri="{FF2B5EF4-FFF2-40B4-BE49-F238E27FC236}">
                  <a16:creationId xmlns="" xmlns:a16="http://schemas.microsoft.com/office/drawing/2014/main" id="{1A5D73A7-F0B6-4480-B44A-31B334577EDE}"/>
                </a:ext>
              </a:extLst>
            </p:cNvPr>
            <p:cNvSpPr/>
            <p:nvPr/>
          </p:nvSpPr>
          <p:spPr bwMode="auto">
            <a:xfrm>
              <a:off x="2870628" y="1620210"/>
              <a:ext cx="68273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16" name="Овал 15">
              <a:extLst>
                <a:ext uri="{FF2B5EF4-FFF2-40B4-BE49-F238E27FC236}">
                  <a16:creationId xmlns="" xmlns:a16="http://schemas.microsoft.com/office/drawing/2014/main" id="{68B67C25-F1B0-41E2-86AB-EF5512A2856E}"/>
                </a:ext>
              </a:extLst>
            </p:cNvPr>
            <p:cNvSpPr/>
            <p:nvPr/>
          </p:nvSpPr>
          <p:spPr bwMode="auto">
            <a:xfrm>
              <a:off x="1686177" y="1294898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17" name="Овал 16">
              <a:extLst>
                <a:ext uri="{FF2B5EF4-FFF2-40B4-BE49-F238E27FC236}">
                  <a16:creationId xmlns="" xmlns:a16="http://schemas.microsoft.com/office/drawing/2014/main" id="{3A699E47-AC9E-41C9-9594-3948DA5B6985}"/>
                </a:ext>
              </a:extLst>
            </p:cNvPr>
            <p:cNvSpPr/>
            <p:nvPr/>
          </p:nvSpPr>
          <p:spPr bwMode="auto">
            <a:xfrm>
              <a:off x="1692528" y="1206032"/>
              <a:ext cx="68273" cy="68237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18" name="Овал 17">
              <a:extLst>
                <a:ext uri="{FF2B5EF4-FFF2-40B4-BE49-F238E27FC236}">
                  <a16:creationId xmlns="" xmlns:a16="http://schemas.microsoft.com/office/drawing/2014/main" id="{5EB5B696-327F-4F46-9F22-0655F72AC51D}"/>
                </a:ext>
              </a:extLst>
            </p:cNvPr>
            <p:cNvSpPr/>
            <p:nvPr/>
          </p:nvSpPr>
          <p:spPr bwMode="auto">
            <a:xfrm>
              <a:off x="2624530" y="1428196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19" name="Овал 18">
              <a:extLst>
                <a:ext uri="{FF2B5EF4-FFF2-40B4-BE49-F238E27FC236}">
                  <a16:creationId xmlns="" xmlns:a16="http://schemas.microsoft.com/office/drawing/2014/main" id="{49A2B7BF-18CE-4502-BBB7-CC2B183E72E3}"/>
                </a:ext>
              </a:extLst>
            </p:cNvPr>
            <p:cNvSpPr/>
            <p:nvPr/>
          </p:nvSpPr>
          <p:spPr bwMode="auto">
            <a:xfrm>
              <a:off x="1733809" y="1264748"/>
              <a:ext cx="69860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20" name="Овал 19">
              <a:extLst>
                <a:ext uri="{FF2B5EF4-FFF2-40B4-BE49-F238E27FC236}">
                  <a16:creationId xmlns="" xmlns:a16="http://schemas.microsoft.com/office/drawing/2014/main" id="{D48C8639-5637-464B-A587-03F0821F3A94}"/>
                </a:ext>
              </a:extLst>
            </p:cNvPr>
            <p:cNvSpPr/>
            <p:nvPr/>
          </p:nvSpPr>
          <p:spPr bwMode="auto">
            <a:xfrm>
              <a:off x="2005312" y="1288550"/>
              <a:ext cx="68272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21" name="Овал 20">
              <a:extLst>
                <a:ext uri="{FF2B5EF4-FFF2-40B4-BE49-F238E27FC236}">
                  <a16:creationId xmlns="" xmlns:a16="http://schemas.microsoft.com/office/drawing/2014/main" id="{B06DA609-A3EF-49A5-A2FF-20C45814BB38}"/>
                </a:ext>
              </a:extLst>
            </p:cNvPr>
            <p:cNvSpPr/>
            <p:nvPr/>
          </p:nvSpPr>
          <p:spPr bwMode="auto">
            <a:xfrm>
              <a:off x="1568684" y="1734465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22" name="Овал 21">
              <a:extLst>
                <a:ext uri="{FF2B5EF4-FFF2-40B4-BE49-F238E27FC236}">
                  <a16:creationId xmlns="" xmlns:a16="http://schemas.microsoft.com/office/drawing/2014/main" id="{DD98B7E1-1A4E-479E-85B3-6151CB86D053}"/>
                </a:ext>
              </a:extLst>
            </p:cNvPr>
            <p:cNvSpPr/>
            <p:nvPr/>
          </p:nvSpPr>
          <p:spPr bwMode="auto">
            <a:xfrm>
              <a:off x="1629018" y="1491672"/>
              <a:ext cx="68273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23" name="Овал 22">
              <a:extLst>
                <a:ext uri="{FF2B5EF4-FFF2-40B4-BE49-F238E27FC236}">
                  <a16:creationId xmlns="" xmlns:a16="http://schemas.microsoft.com/office/drawing/2014/main" id="{F1A03C69-F4BA-492F-8CF5-A9D33DDAC4D7}"/>
                </a:ext>
              </a:extLst>
            </p:cNvPr>
            <p:cNvSpPr/>
            <p:nvPr/>
          </p:nvSpPr>
          <p:spPr bwMode="auto">
            <a:xfrm>
              <a:off x="992336" y="1323462"/>
              <a:ext cx="68272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24" name="Овал 23">
              <a:extLst>
                <a:ext uri="{FF2B5EF4-FFF2-40B4-BE49-F238E27FC236}">
                  <a16:creationId xmlns="" xmlns:a16="http://schemas.microsoft.com/office/drawing/2014/main" id="{CE7D4C22-FF2E-4EB8-A4A6-9AB96F1199AE}"/>
                </a:ext>
              </a:extLst>
            </p:cNvPr>
            <p:cNvSpPr/>
            <p:nvPr/>
          </p:nvSpPr>
          <p:spPr bwMode="auto">
            <a:xfrm>
              <a:off x="408049" y="1423436"/>
              <a:ext cx="69860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25" name="Овал 24">
              <a:extLst>
                <a:ext uri="{FF2B5EF4-FFF2-40B4-BE49-F238E27FC236}">
                  <a16:creationId xmlns="" xmlns:a16="http://schemas.microsoft.com/office/drawing/2014/main" id="{77C03FA6-48BD-46F9-B4C3-279105461629}"/>
                </a:ext>
              </a:extLst>
            </p:cNvPr>
            <p:cNvSpPr/>
            <p:nvPr/>
          </p:nvSpPr>
          <p:spPr bwMode="auto">
            <a:xfrm>
              <a:off x="841501" y="671253"/>
              <a:ext cx="68273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26" name="Овал 25">
              <a:extLst>
                <a:ext uri="{FF2B5EF4-FFF2-40B4-BE49-F238E27FC236}">
                  <a16:creationId xmlns="" xmlns:a16="http://schemas.microsoft.com/office/drawing/2014/main" id="{8F6936BD-5FD9-45C0-87D4-7C594B039C35}"/>
                </a:ext>
              </a:extLst>
            </p:cNvPr>
            <p:cNvSpPr/>
            <p:nvPr/>
          </p:nvSpPr>
          <p:spPr bwMode="auto">
            <a:xfrm>
              <a:off x="538243" y="760118"/>
              <a:ext cx="68272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27" name="Овал 26">
              <a:extLst>
                <a:ext uri="{FF2B5EF4-FFF2-40B4-BE49-F238E27FC236}">
                  <a16:creationId xmlns="" xmlns:a16="http://schemas.microsoft.com/office/drawing/2014/main" id="{64E18A90-728E-4C40-8902-75637D7C37C5}"/>
                </a:ext>
              </a:extLst>
            </p:cNvPr>
            <p:cNvSpPr/>
            <p:nvPr/>
          </p:nvSpPr>
          <p:spPr bwMode="auto">
            <a:xfrm>
              <a:off x="319136" y="449089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28" name="Овал 27">
              <a:extLst>
                <a:ext uri="{FF2B5EF4-FFF2-40B4-BE49-F238E27FC236}">
                  <a16:creationId xmlns="" xmlns:a16="http://schemas.microsoft.com/office/drawing/2014/main" id="{360950E3-8454-4390-9B35-A5CC45487B84}"/>
                </a:ext>
              </a:extLst>
            </p:cNvPr>
            <p:cNvSpPr/>
            <p:nvPr/>
          </p:nvSpPr>
          <p:spPr bwMode="auto">
            <a:xfrm>
              <a:off x="558883" y="485587"/>
              <a:ext cx="68273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29" name="Овал 28">
              <a:extLst>
                <a:ext uri="{FF2B5EF4-FFF2-40B4-BE49-F238E27FC236}">
                  <a16:creationId xmlns="" xmlns:a16="http://schemas.microsoft.com/office/drawing/2014/main" id="{4F578820-C663-4DF7-81E1-3E4B6E7407DD}"/>
                </a:ext>
              </a:extLst>
            </p:cNvPr>
            <p:cNvSpPr/>
            <p:nvPr/>
          </p:nvSpPr>
          <p:spPr bwMode="auto">
            <a:xfrm>
              <a:off x="2199016" y="837875"/>
              <a:ext cx="69860" cy="68237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30" name="Овал 29">
              <a:extLst>
                <a:ext uri="{FF2B5EF4-FFF2-40B4-BE49-F238E27FC236}">
                  <a16:creationId xmlns="" xmlns:a16="http://schemas.microsoft.com/office/drawing/2014/main" id="{117556B3-F8AA-4E58-9892-290F59EDF945}"/>
                </a:ext>
              </a:extLst>
            </p:cNvPr>
            <p:cNvSpPr/>
            <p:nvPr/>
          </p:nvSpPr>
          <p:spPr bwMode="auto">
            <a:xfrm>
              <a:off x="1638545" y="1172708"/>
              <a:ext cx="68273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31" name="Овал 30">
              <a:extLst>
                <a:ext uri="{FF2B5EF4-FFF2-40B4-BE49-F238E27FC236}">
                  <a16:creationId xmlns="" xmlns:a16="http://schemas.microsoft.com/office/drawing/2014/main" id="{654BE7F1-AF7B-464D-B92A-6C5CACD2A0A2}"/>
                </a:ext>
              </a:extLst>
            </p:cNvPr>
            <p:cNvSpPr/>
            <p:nvPr/>
          </p:nvSpPr>
          <p:spPr bwMode="auto">
            <a:xfrm>
              <a:off x="284205" y="1607515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32" name="Овал 31">
              <a:extLst>
                <a:ext uri="{FF2B5EF4-FFF2-40B4-BE49-F238E27FC236}">
                  <a16:creationId xmlns="" xmlns:a16="http://schemas.microsoft.com/office/drawing/2014/main" id="{D68BBC79-2BDE-4216-B04F-34861BA816EF}"/>
                </a:ext>
              </a:extLst>
            </p:cNvPr>
            <p:cNvSpPr/>
            <p:nvPr/>
          </p:nvSpPr>
          <p:spPr bwMode="auto">
            <a:xfrm>
              <a:off x="917712" y="652210"/>
              <a:ext cx="69860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33" name="Овал 32">
              <a:extLst>
                <a:ext uri="{FF2B5EF4-FFF2-40B4-BE49-F238E27FC236}">
                  <a16:creationId xmlns="" xmlns:a16="http://schemas.microsoft.com/office/drawing/2014/main" id="{F433C8C1-77CA-4F77-BC2C-446715A90530}"/>
                </a:ext>
              </a:extLst>
            </p:cNvPr>
            <p:cNvSpPr/>
            <p:nvPr/>
          </p:nvSpPr>
          <p:spPr bwMode="auto">
            <a:xfrm>
              <a:off x="849440" y="634754"/>
              <a:ext cx="68272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34" name="Овал 33">
              <a:extLst>
                <a:ext uri="{FF2B5EF4-FFF2-40B4-BE49-F238E27FC236}">
                  <a16:creationId xmlns="" xmlns:a16="http://schemas.microsoft.com/office/drawing/2014/main" id="{5156C47A-D548-4553-AA1D-F67BC1434750}"/>
                </a:ext>
              </a:extLst>
            </p:cNvPr>
            <p:cNvSpPr/>
            <p:nvPr/>
          </p:nvSpPr>
          <p:spPr bwMode="auto">
            <a:xfrm>
              <a:off x="787518" y="1677338"/>
              <a:ext cx="68273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35" name="Овал 34">
              <a:extLst>
                <a:ext uri="{FF2B5EF4-FFF2-40B4-BE49-F238E27FC236}">
                  <a16:creationId xmlns="" xmlns:a16="http://schemas.microsoft.com/office/drawing/2014/main" id="{C91365AF-BE3A-405B-8405-B648D6A8A9CA}"/>
                </a:ext>
              </a:extLst>
            </p:cNvPr>
            <p:cNvSpPr/>
            <p:nvPr/>
          </p:nvSpPr>
          <p:spPr bwMode="auto">
            <a:xfrm>
              <a:off x="687491" y="1444065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36" name="Овал 35">
              <a:extLst>
                <a:ext uri="{FF2B5EF4-FFF2-40B4-BE49-F238E27FC236}">
                  <a16:creationId xmlns="" xmlns:a16="http://schemas.microsoft.com/office/drawing/2014/main" id="{26BDCD7B-5CD2-4077-BCA7-2B12DD2A8F48}"/>
                </a:ext>
              </a:extLst>
            </p:cNvPr>
            <p:cNvSpPr/>
            <p:nvPr/>
          </p:nvSpPr>
          <p:spPr bwMode="auto">
            <a:xfrm>
              <a:off x="652560" y="1388525"/>
              <a:ext cx="69860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37" name="Овал 36">
              <a:extLst>
                <a:ext uri="{FF2B5EF4-FFF2-40B4-BE49-F238E27FC236}">
                  <a16:creationId xmlns="" xmlns:a16="http://schemas.microsoft.com/office/drawing/2014/main" id="{CECD60EC-4951-4079-B4DE-ED4DE52C520A}"/>
                </a:ext>
              </a:extLst>
            </p:cNvPr>
            <p:cNvSpPr/>
            <p:nvPr/>
          </p:nvSpPr>
          <p:spPr bwMode="auto">
            <a:xfrm>
              <a:off x="631919" y="1455174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38" name="Овал 37">
              <a:extLst>
                <a:ext uri="{FF2B5EF4-FFF2-40B4-BE49-F238E27FC236}">
                  <a16:creationId xmlns="" xmlns:a16="http://schemas.microsoft.com/office/drawing/2014/main" id="{95AE7172-E65E-4284-925C-8827497006F5}"/>
                </a:ext>
              </a:extLst>
            </p:cNvPr>
            <p:cNvSpPr/>
            <p:nvPr/>
          </p:nvSpPr>
          <p:spPr bwMode="auto">
            <a:xfrm>
              <a:off x="855791" y="2097861"/>
              <a:ext cx="69860" cy="68237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39" name="Овал 38">
              <a:extLst>
                <a:ext uri="{FF2B5EF4-FFF2-40B4-BE49-F238E27FC236}">
                  <a16:creationId xmlns="" xmlns:a16="http://schemas.microsoft.com/office/drawing/2014/main" id="{590E1F95-F600-4D4E-9638-33D9E9598676}"/>
                </a:ext>
              </a:extLst>
            </p:cNvPr>
            <p:cNvSpPr/>
            <p:nvPr/>
          </p:nvSpPr>
          <p:spPr bwMode="auto">
            <a:xfrm>
              <a:off x="2040242" y="1810636"/>
              <a:ext cx="68272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40" name="Овал 39">
              <a:extLst>
                <a:ext uri="{FF2B5EF4-FFF2-40B4-BE49-F238E27FC236}">
                  <a16:creationId xmlns="" xmlns:a16="http://schemas.microsoft.com/office/drawing/2014/main" id="{5C019670-65DD-46E7-A2A1-9239D99BCCB1}"/>
                </a:ext>
              </a:extLst>
            </p:cNvPr>
            <p:cNvSpPr/>
            <p:nvPr/>
          </p:nvSpPr>
          <p:spPr bwMode="auto">
            <a:xfrm>
              <a:off x="1736984" y="1332983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41" name="Овал 40">
              <a:extLst>
                <a:ext uri="{FF2B5EF4-FFF2-40B4-BE49-F238E27FC236}">
                  <a16:creationId xmlns="" xmlns:a16="http://schemas.microsoft.com/office/drawing/2014/main" id="{C72A36BB-B52A-4216-BFF2-60B07C78BE71}"/>
                </a:ext>
              </a:extLst>
            </p:cNvPr>
            <p:cNvSpPr/>
            <p:nvPr/>
          </p:nvSpPr>
          <p:spPr bwMode="auto">
            <a:xfrm>
              <a:off x="1265427" y="785508"/>
              <a:ext cx="68272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42" name="Овал 41">
              <a:extLst>
                <a:ext uri="{FF2B5EF4-FFF2-40B4-BE49-F238E27FC236}">
                  <a16:creationId xmlns="" xmlns:a16="http://schemas.microsoft.com/office/drawing/2014/main" id="{FF6DC5F0-0223-4980-BD2B-7EA99C3471FF}"/>
                </a:ext>
              </a:extLst>
            </p:cNvPr>
            <p:cNvSpPr/>
            <p:nvPr/>
          </p:nvSpPr>
          <p:spPr bwMode="auto">
            <a:xfrm>
              <a:off x="1398797" y="430046"/>
              <a:ext cx="69860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43" name="Овал 42">
              <a:extLst>
                <a:ext uri="{FF2B5EF4-FFF2-40B4-BE49-F238E27FC236}">
                  <a16:creationId xmlns="" xmlns:a16="http://schemas.microsoft.com/office/drawing/2014/main" id="{A96D5B65-4917-45BC-9909-6C50C709E62D}"/>
                </a:ext>
              </a:extLst>
            </p:cNvPr>
            <p:cNvSpPr/>
            <p:nvPr/>
          </p:nvSpPr>
          <p:spPr bwMode="auto">
            <a:xfrm>
              <a:off x="2981770" y="1121928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44" name="Овал 43">
              <a:extLst>
                <a:ext uri="{FF2B5EF4-FFF2-40B4-BE49-F238E27FC236}">
                  <a16:creationId xmlns="" xmlns:a16="http://schemas.microsoft.com/office/drawing/2014/main" id="{2EBCBCA3-61A5-42ED-B025-CB654808E991}"/>
                </a:ext>
              </a:extLst>
            </p:cNvPr>
            <p:cNvSpPr/>
            <p:nvPr/>
          </p:nvSpPr>
          <p:spPr bwMode="auto">
            <a:xfrm>
              <a:off x="2981770" y="1550387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45" name="Овал 44">
              <a:extLst>
                <a:ext uri="{FF2B5EF4-FFF2-40B4-BE49-F238E27FC236}">
                  <a16:creationId xmlns="" xmlns:a16="http://schemas.microsoft.com/office/drawing/2014/main" id="{24F3FD84-D8FB-41F7-823B-C8F11F05444B}"/>
                </a:ext>
              </a:extLst>
            </p:cNvPr>
            <p:cNvSpPr/>
            <p:nvPr/>
          </p:nvSpPr>
          <p:spPr bwMode="auto">
            <a:xfrm>
              <a:off x="3169123" y="1548799"/>
              <a:ext cx="68273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46" name="Овал 45">
              <a:extLst>
                <a:ext uri="{FF2B5EF4-FFF2-40B4-BE49-F238E27FC236}">
                  <a16:creationId xmlns="" xmlns:a16="http://schemas.microsoft.com/office/drawing/2014/main" id="{DA3EDC6E-634D-43AA-BFFF-8657D118AC69}"/>
                </a:ext>
              </a:extLst>
            </p:cNvPr>
            <p:cNvSpPr/>
            <p:nvPr/>
          </p:nvSpPr>
          <p:spPr bwMode="auto">
            <a:xfrm>
              <a:off x="1454367" y="2102623"/>
              <a:ext cx="68273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47" name="Овал 46">
              <a:extLst>
                <a:ext uri="{FF2B5EF4-FFF2-40B4-BE49-F238E27FC236}">
                  <a16:creationId xmlns="" xmlns:a16="http://schemas.microsoft.com/office/drawing/2014/main" id="{50F3744D-E7BA-4FA4-AC13-440B8A3122D1}"/>
                </a:ext>
              </a:extLst>
            </p:cNvPr>
            <p:cNvSpPr/>
            <p:nvPr/>
          </p:nvSpPr>
          <p:spPr bwMode="auto">
            <a:xfrm>
              <a:off x="1195566" y="1743987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48" name="Овал 47">
              <a:extLst>
                <a:ext uri="{FF2B5EF4-FFF2-40B4-BE49-F238E27FC236}">
                  <a16:creationId xmlns="" xmlns:a16="http://schemas.microsoft.com/office/drawing/2014/main" id="{C5DF85D8-525D-4071-B276-85C16788721E}"/>
                </a:ext>
              </a:extLst>
            </p:cNvPr>
            <p:cNvSpPr/>
            <p:nvPr/>
          </p:nvSpPr>
          <p:spPr bwMode="auto">
            <a:xfrm>
              <a:off x="1265427" y="1707488"/>
              <a:ext cx="68272" cy="68237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49" name="Овал 48">
              <a:extLst>
                <a:ext uri="{FF2B5EF4-FFF2-40B4-BE49-F238E27FC236}">
                  <a16:creationId xmlns="" xmlns:a16="http://schemas.microsoft.com/office/drawing/2014/main" id="{B5F4E151-9662-4544-BDBD-F9AA008EED4A}"/>
                </a:ext>
              </a:extLst>
            </p:cNvPr>
            <p:cNvSpPr/>
            <p:nvPr/>
          </p:nvSpPr>
          <p:spPr bwMode="auto">
            <a:xfrm>
              <a:off x="1295593" y="1309180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50" name="Овал 49">
              <a:extLst>
                <a:ext uri="{FF2B5EF4-FFF2-40B4-BE49-F238E27FC236}">
                  <a16:creationId xmlns="" xmlns:a16="http://schemas.microsoft.com/office/drawing/2014/main" id="{19857DD2-2EBE-4C6C-80BD-E2D1EB763C65}"/>
                </a:ext>
              </a:extLst>
            </p:cNvPr>
            <p:cNvSpPr/>
            <p:nvPr/>
          </p:nvSpPr>
          <p:spPr bwMode="auto">
            <a:xfrm>
              <a:off x="1419437" y="871200"/>
              <a:ext cx="68273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51" name="Овал 50">
              <a:extLst>
                <a:ext uri="{FF2B5EF4-FFF2-40B4-BE49-F238E27FC236}">
                  <a16:creationId xmlns="" xmlns:a16="http://schemas.microsoft.com/office/drawing/2014/main" id="{56253C03-62FC-4E96-A8ED-FC4EED1129E1}"/>
                </a:ext>
              </a:extLst>
            </p:cNvPr>
            <p:cNvSpPr/>
            <p:nvPr/>
          </p:nvSpPr>
          <p:spPr bwMode="auto">
            <a:xfrm>
              <a:off x="1806845" y="887069"/>
              <a:ext cx="68273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52" name="Овал 51">
              <a:extLst>
                <a:ext uri="{FF2B5EF4-FFF2-40B4-BE49-F238E27FC236}">
                  <a16:creationId xmlns="" xmlns:a16="http://schemas.microsoft.com/office/drawing/2014/main" id="{2A8BB482-A696-4134-BAD6-65DBE6109FB5}"/>
                </a:ext>
              </a:extLst>
            </p:cNvPr>
            <p:cNvSpPr/>
            <p:nvPr/>
          </p:nvSpPr>
          <p:spPr bwMode="auto">
            <a:xfrm>
              <a:off x="2302219" y="1255226"/>
              <a:ext cx="68273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53" name="Овал 52">
              <a:extLst>
                <a:ext uri="{FF2B5EF4-FFF2-40B4-BE49-F238E27FC236}">
                  <a16:creationId xmlns="" xmlns:a16="http://schemas.microsoft.com/office/drawing/2014/main" id="{373542C4-3FFD-4BEF-9814-82DB11A56AA7}"/>
                </a:ext>
              </a:extLst>
            </p:cNvPr>
            <p:cNvSpPr/>
            <p:nvPr/>
          </p:nvSpPr>
          <p:spPr bwMode="auto">
            <a:xfrm>
              <a:off x="2676924" y="1410741"/>
              <a:ext cx="69860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54" name="Овал 53">
              <a:extLst>
                <a:ext uri="{FF2B5EF4-FFF2-40B4-BE49-F238E27FC236}">
                  <a16:creationId xmlns="" xmlns:a16="http://schemas.microsoft.com/office/drawing/2014/main" id="{46E79328-3009-44B4-807C-3E4021EA064C}"/>
                </a:ext>
              </a:extLst>
            </p:cNvPr>
            <p:cNvSpPr/>
            <p:nvPr/>
          </p:nvSpPr>
          <p:spPr bwMode="auto">
            <a:xfrm>
              <a:off x="1711580" y="1171121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55" name="Овал 54">
              <a:extLst>
                <a:ext uri="{FF2B5EF4-FFF2-40B4-BE49-F238E27FC236}">
                  <a16:creationId xmlns="" xmlns:a16="http://schemas.microsoft.com/office/drawing/2014/main" id="{3E734560-A208-41A3-8D89-AB71D909D3CF}"/>
                </a:ext>
              </a:extLst>
            </p:cNvPr>
            <p:cNvSpPr/>
            <p:nvPr/>
          </p:nvSpPr>
          <p:spPr bwMode="auto">
            <a:xfrm>
              <a:off x="1711580" y="1218727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56" name="Овал 55">
              <a:extLst>
                <a:ext uri="{FF2B5EF4-FFF2-40B4-BE49-F238E27FC236}">
                  <a16:creationId xmlns="" xmlns:a16="http://schemas.microsoft.com/office/drawing/2014/main" id="{C60324D6-51A4-4178-AF6B-F76FA7E9C070}"/>
                </a:ext>
              </a:extLst>
            </p:cNvPr>
            <p:cNvSpPr/>
            <p:nvPr/>
          </p:nvSpPr>
          <p:spPr bwMode="auto">
            <a:xfrm>
              <a:off x="1670299" y="1245705"/>
              <a:ext cx="69860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57" name="Овал 56">
              <a:extLst>
                <a:ext uri="{FF2B5EF4-FFF2-40B4-BE49-F238E27FC236}">
                  <a16:creationId xmlns="" xmlns:a16="http://schemas.microsoft.com/office/drawing/2014/main" id="{7D63E5A8-BFBE-46D7-8EAB-E4BAB1AB057B}"/>
                </a:ext>
              </a:extLst>
            </p:cNvPr>
            <p:cNvSpPr/>
            <p:nvPr/>
          </p:nvSpPr>
          <p:spPr bwMode="auto">
            <a:xfrm>
              <a:off x="1630606" y="1231422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58" name="Овал 57">
              <a:extLst>
                <a:ext uri="{FF2B5EF4-FFF2-40B4-BE49-F238E27FC236}">
                  <a16:creationId xmlns="" xmlns:a16="http://schemas.microsoft.com/office/drawing/2014/main" id="{9832A07F-04FF-4A66-850F-777EE61CFF34}"/>
                </a:ext>
              </a:extLst>
            </p:cNvPr>
            <p:cNvSpPr/>
            <p:nvPr/>
          </p:nvSpPr>
          <p:spPr bwMode="auto">
            <a:xfrm>
              <a:off x="1606790" y="1210793"/>
              <a:ext cx="68273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59" name="Овал 58">
              <a:extLst>
                <a:ext uri="{FF2B5EF4-FFF2-40B4-BE49-F238E27FC236}">
                  <a16:creationId xmlns="" xmlns:a16="http://schemas.microsoft.com/office/drawing/2014/main" id="{C809A53E-6E24-4741-AABC-9A9D0D3AE6C8}"/>
                </a:ext>
              </a:extLst>
            </p:cNvPr>
            <p:cNvSpPr/>
            <p:nvPr/>
          </p:nvSpPr>
          <p:spPr bwMode="auto">
            <a:xfrm>
              <a:off x="1778265" y="1239357"/>
              <a:ext cx="69860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60" name="Овал 59">
              <a:extLst>
                <a:ext uri="{FF2B5EF4-FFF2-40B4-BE49-F238E27FC236}">
                  <a16:creationId xmlns="" xmlns:a16="http://schemas.microsoft.com/office/drawing/2014/main" id="{27F9CAD4-8C2F-49C3-A5A3-A99BD5104665}"/>
                </a:ext>
              </a:extLst>
            </p:cNvPr>
            <p:cNvSpPr/>
            <p:nvPr/>
          </p:nvSpPr>
          <p:spPr bwMode="auto">
            <a:xfrm>
              <a:off x="1959267" y="1283790"/>
              <a:ext cx="69860" cy="68236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61" name="Овал 60">
              <a:extLst>
                <a:ext uri="{FF2B5EF4-FFF2-40B4-BE49-F238E27FC236}">
                  <a16:creationId xmlns="" xmlns:a16="http://schemas.microsoft.com/office/drawing/2014/main" id="{207A735B-C8CA-4DDC-B359-A55A7B001FB7}"/>
                </a:ext>
              </a:extLst>
            </p:cNvPr>
            <p:cNvSpPr/>
            <p:nvPr/>
          </p:nvSpPr>
          <p:spPr bwMode="auto">
            <a:xfrm>
              <a:off x="1768739" y="1198098"/>
              <a:ext cx="68273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62" name="Овал 61">
              <a:extLst>
                <a:ext uri="{FF2B5EF4-FFF2-40B4-BE49-F238E27FC236}">
                  <a16:creationId xmlns="" xmlns:a16="http://schemas.microsoft.com/office/drawing/2014/main" id="{22E1900F-8754-4FBC-A003-4FD3941580D3}"/>
                </a:ext>
              </a:extLst>
            </p:cNvPr>
            <p:cNvSpPr/>
            <p:nvPr/>
          </p:nvSpPr>
          <p:spPr bwMode="auto">
            <a:xfrm>
              <a:off x="2281578" y="1379003"/>
              <a:ext cx="68272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  <p:sp>
          <p:nvSpPr>
            <p:cNvPr id="63" name="Овал 62">
              <a:extLst>
                <a:ext uri="{FF2B5EF4-FFF2-40B4-BE49-F238E27FC236}">
                  <a16:creationId xmlns="" xmlns:a16="http://schemas.microsoft.com/office/drawing/2014/main" id="{A91A356F-BDDD-429A-9CD3-866CE73ECC76}"/>
                </a:ext>
              </a:extLst>
            </p:cNvPr>
            <p:cNvSpPr/>
            <p:nvPr/>
          </p:nvSpPr>
          <p:spPr bwMode="auto">
            <a:xfrm>
              <a:off x="2532758" y="1413915"/>
              <a:ext cx="68273" cy="69823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5720" rIns="45720" anchor="ctr"/>
            <a:lstStyle/>
            <a:p>
              <a:endParaRPr lang="ru-RU"/>
            </a:p>
          </p:txBody>
        </p:sp>
      </p:grpSp>
      <p:graphicFrame>
        <p:nvGraphicFramePr>
          <p:cNvPr id="66" name="Диаграмма 65">
            <a:extLst>
              <a:ext uri="{FF2B5EF4-FFF2-40B4-BE49-F238E27FC236}">
                <a16:creationId xmlns="" xmlns:a16="http://schemas.microsoft.com/office/drawing/2014/main" id="{F6342218-A433-40A7-8C0F-757667C8F5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817284324"/>
              </p:ext>
            </p:extLst>
          </p:nvPr>
        </p:nvGraphicFramePr>
        <p:xfrm>
          <a:off x="4615888" y="2012743"/>
          <a:ext cx="43434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7" name="Диаграмма 66">
            <a:extLst>
              <a:ext uri="{FF2B5EF4-FFF2-40B4-BE49-F238E27FC236}">
                <a16:creationId xmlns="" xmlns:a16="http://schemas.microsoft.com/office/drawing/2014/main" id="{9083331B-D680-4395-9CB3-B01D5DDE0A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716689593"/>
              </p:ext>
            </p:extLst>
          </p:nvPr>
        </p:nvGraphicFramePr>
        <p:xfrm>
          <a:off x="1616162" y="4997937"/>
          <a:ext cx="6120130" cy="17443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8A39C780-1A1F-4458-B68C-8E31725B6E3A}"/>
              </a:ext>
            </a:extLst>
          </p:cNvPr>
          <p:cNvSpPr txBox="1"/>
          <p:nvPr/>
        </p:nvSpPr>
        <p:spPr>
          <a:xfrm>
            <a:off x="3707355" y="4799895"/>
            <a:ext cx="18170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effectLst/>
                <a:latin typeface="+mn-lt"/>
                <a:ea typeface="Times New Roman" panose="02020603050405020304" pitchFamily="18" charset="0"/>
              </a:rPr>
              <a:t>Количество АЗС/АЗК</a:t>
            </a:r>
            <a:endParaRPr lang="ru-RU" sz="1200" b="1" dirty="0">
              <a:latin typeface="+mn-lt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CF61C0C5-FAEE-4E2C-937D-8C178F6476B0}"/>
              </a:ext>
            </a:extLst>
          </p:cNvPr>
          <p:cNvSpPr txBox="1"/>
          <p:nvPr/>
        </p:nvSpPr>
        <p:spPr>
          <a:xfrm>
            <a:off x="5411819" y="1753247"/>
            <a:ext cx="27515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effectLst/>
                <a:latin typeface="+mn-lt"/>
                <a:ea typeface="Times New Roman" panose="02020603050405020304" pitchFamily="18" charset="0"/>
              </a:rPr>
              <a:t>Доли рынка розничных продаж </a:t>
            </a:r>
            <a:endParaRPr lang="ru-RU" sz="1200" b="1" dirty="0">
              <a:latin typeface="+mn-lt"/>
            </a:endParaRPr>
          </a:p>
        </p:txBody>
      </p:sp>
      <p:sp>
        <p:nvSpPr>
          <p:cNvPr id="69" name="Номер слайда 5"/>
          <p:cNvSpPr txBox="1">
            <a:spLocks/>
          </p:cNvSpPr>
          <p:nvPr/>
        </p:nvSpPr>
        <p:spPr bwMode="auto">
          <a:xfrm>
            <a:off x="7929586" y="6357958"/>
            <a:ext cx="1000132" cy="327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</a:rPr>
              <a:t>Слайд 4</a:t>
            </a:r>
            <a:endParaRPr lang="en-GB" altLang="ru-RU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43285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2"/>
          <p:cNvSpPr>
            <a:spLocks noGrp="1"/>
          </p:cNvSpPr>
          <p:nvPr>
            <p:ph type="title"/>
          </p:nvPr>
        </p:nvSpPr>
        <p:spPr>
          <a:xfrm>
            <a:off x="179512" y="116632"/>
            <a:ext cx="7561262" cy="669162"/>
          </a:xfrm>
        </p:spPr>
        <p:txBody>
          <a:bodyPr/>
          <a:lstStyle/>
          <a:p>
            <a:r>
              <a:rPr lang="ru-RU" sz="2000" dirty="0" smtClean="0"/>
              <a:t>Основные показатели </a:t>
            </a:r>
            <a:r>
              <a:rPr lang="ru-RU" sz="2000" dirty="0"/>
              <a:t>деятельности </a:t>
            </a:r>
            <a:r>
              <a:rPr lang="ru-RU" sz="2000" dirty="0" err="1" smtClean="0"/>
              <a:t>РН-КурганНП</a:t>
            </a:r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 smtClean="0"/>
              <a:t>в </a:t>
            </a:r>
            <a:r>
              <a:rPr lang="ru-RU" sz="2000" dirty="0"/>
              <a:t>2018 – 2020гг., </a:t>
            </a:r>
            <a:r>
              <a:rPr lang="ru-RU" sz="2000" dirty="0" smtClean="0"/>
              <a:t>тыс. р.</a:t>
            </a:r>
            <a:endParaRPr lang="ru-RU" sz="20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7544" y="4010593"/>
            <a:ext cx="7930899" cy="2592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60974" y="1574545"/>
            <a:ext cx="3842117" cy="23052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5225603" y="1112880"/>
            <a:ext cx="3456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Доли продуктов в общем </a:t>
            </a:r>
            <a:endParaRPr lang="ru-RU" sz="1200" dirty="0" smtClean="0"/>
          </a:p>
          <a:p>
            <a:pPr algn="ctr"/>
            <a:r>
              <a:rPr lang="ru-RU" sz="1200" dirty="0" smtClean="0"/>
              <a:t>объеме </a:t>
            </a:r>
            <a:r>
              <a:rPr lang="ru-RU" sz="1200" dirty="0"/>
              <a:t>выручки от реализации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83568" y="1131710"/>
            <a:ext cx="3456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Продажи продуктов и общий объем </a:t>
            </a:r>
            <a:r>
              <a:rPr lang="ru-RU" sz="1200" dirty="0"/>
              <a:t>выручки от реализации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60602866"/>
              </p:ext>
            </p:extLst>
          </p:nvPr>
        </p:nvGraphicFramePr>
        <p:xfrm>
          <a:off x="323529" y="1772816"/>
          <a:ext cx="4824537" cy="1512168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224135"/>
                <a:gridCol w="1200134"/>
                <a:gridCol w="1200134"/>
                <a:gridCol w="1200134"/>
              </a:tblGrid>
              <a:tr h="2880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Показатель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2018 г.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2019 г.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2020 г.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089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Нефтепродукты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9 881 175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1 1 532 162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9 598 961</a:t>
                      </a:r>
                      <a:endParaRPr lang="ru-RU" sz="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089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Сопутствующие</a:t>
                      </a:r>
                      <a:endParaRPr lang="ru-RU" sz="8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товары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287 359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308 777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324 811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0625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Итого</a:t>
                      </a:r>
                      <a:endParaRPr lang="ru-RU" sz="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10 168 534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308 777</a:t>
                      </a:r>
                      <a:endParaRPr lang="ru-RU" sz="8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9 923 772</a:t>
                      </a:r>
                      <a:endParaRPr lang="ru-RU" sz="8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24" name="Номер слайда 5"/>
          <p:cNvSpPr txBox="1">
            <a:spLocks/>
          </p:cNvSpPr>
          <p:nvPr/>
        </p:nvSpPr>
        <p:spPr bwMode="auto">
          <a:xfrm>
            <a:off x="7858148" y="6286520"/>
            <a:ext cx="1053841" cy="358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</a:rPr>
              <a:t>Слайд  5</a:t>
            </a:r>
            <a:endParaRPr lang="en-GB" altLang="ru-RU" sz="1600" dirty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2910" y="3714752"/>
            <a:ext cx="75724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Основные показатели деятельности</a:t>
            </a:r>
            <a:endParaRPr lang="ru-RU" sz="1200" dirty="0"/>
          </a:p>
        </p:txBody>
      </p:sp>
      <p:sp>
        <p:nvSpPr>
          <p:cNvPr id="10" name="TextBox 9"/>
          <p:cNvSpPr txBox="1"/>
          <p:nvPr/>
        </p:nvSpPr>
        <p:spPr>
          <a:xfrm>
            <a:off x="4429124" y="5855633"/>
            <a:ext cx="1857388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/>
              <a:t>Коммерческие и управленческие расходы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xmlns="" val="12672898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2"/>
          <p:cNvSpPr>
            <a:spLocks noGrp="1"/>
          </p:cNvSpPr>
          <p:nvPr>
            <p:ph type="title"/>
          </p:nvPr>
        </p:nvSpPr>
        <p:spPr>
          <a:xfrm>
            <a:off x="386843" y="260648"/>
            <a:ext cx="7312178" cy="432048"/>
          </a:xfrm>
        </p:spPr>
        <p:txBody>
          <a:bodyPr/>
          <a:lstStyle/>
          <a:p>
            <a:pPr eaLnBrk="1" hangingPunct="1"/>
            <a:r>
              <a:rPr lang="ru-RU" alt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ритетные регионы развития сети Компании</a:t>
            </a:r>
            <a:endParaRPr lang="ru-RU" alt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34371776"/>
              </p:ext>
            </p:extLst>
          </p:nvPr>
        </p:nvGraphicFramePr>
        <p:xfrm>
          <a:off x="683568" y="5179060"/>
          <a:ext cx="7920879" cy="975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60240"/>
                <a:gridCol w="2304256"/>
                <a:gridCol w="3456383"/>
              </a:tblGrid>
              <a:tr h="188377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/>
                        <a:t>Регион</a:t>
                      </a:r>
                      <a:endParaRPr lang="ru-RU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/>
                        <a:t>Бренд</a:t>
                      </a:r>
                      <a:endParaRPr lang="ru-RU" sz="1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/>
                        <a:t>Количество АЗС / Доля рынка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 объему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родаж</a:t>
                      </a:r>
                      <a:endParaRPr lang="ru-RU" sz="1000" b="1" dirty="0"/>
                    </a:p>
                  </a:txBody>
                  <a:tcPr/>
                </a:tc>
              </a:tr>
              <a:tr h="188377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Челябинская область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Башнефть, Роснефть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БН –</a:t>
                      </a:r>
                      <a:r>
                        <a:rPr lang="ru-RU" sz="1000" baseline="0" dirty="0" smtClean="0"/>
                        <a:t> 37 АЗС, РН – 3 АЗС </a:t>
                      </a:r>
                      <a:r>
                        <a:rPr lang="ru-RU" sz="1000" b="1" baseline="0" dirty="0" smtClean="0"/>
                        <a:t>Доля рынка: 11%</a:t>
                      </a:r>
                      <a:endParaRPr lang="ru-RU" sz="1000" b="1" dirty="0"/>
                    </a:p>
                  </a:txBody>
                  <a:tcPr/>
                </a:tc>
              </a:tr>
              <a:tr h="1883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Свердловская область 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Башнефть, Роснефть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БН –</a:t>
                      </a:r>
                      <a:r>
                        <a:rPr lang="ru-RU" sz="1000" baseline="0" dirty="0" smtClean="0"/>
                        <a:t> 36 АЗС, РН – 1 АЗС </a:t>
                      </a:r>
                      <a:r>
                        <a:rPr lang="ru-RU" sz="1000" b="1" baseline="0" dirty="0" smtClean="0"/>
                        <a:t>Доля рынка: 8%</a:t>
                      </a:r>
                      <a:endParaRPr lang="ru-RU" sz="1000" dirty="0"/>
                    </a:p>
                  </a:txBody>
                  <a:tcPr/>
                </a:tc>
              </a:tr>
              <a:tr h="188377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Тюменская область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-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-</a:t>
                      </a:r>
                      <a:endParaRPr lang="ru-RU" sz="1000" dirty="0"/>
                    </a:p>
                  </a:txBody>
                  <a:tcPr/>
                </a:tc>
              </a:tr>
            </a:tbl>
          </a:graphicData>
        </a:graphic>
      </p:graphicFrame>
      <p:grpSp>
        <p:nvGrpSpPr>
          <p:cNvPr id="20" name="Группа 19"/>
          <p:cNvGrpSpPr/>
          <p:nvPr/>
        </p:nvGrpSpPr>
        <p:grpSpPr>
          <a:xfrm>
            <a:off x="1043608" y="1068398"/>
            <a:ext cx="7293470" cy="3944778"/>
            <a:chOff x="1043608" y="1068398"/>
            <a:chExt cx="7293470" cy="3944778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1043608" y="1068398"/>
              <a:ext cx="7293470" cy="3944778"/>
              <a:chOff x="539107" y="972879"/>
              <a:chExt cx="8315972" cy="4396757"/>
            </a:xfrm>
          </p:grpSpPr>
          <p:pic>
            <p:nvPicPr>
              <p:cNvPr id="5" name="Picture 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9107" y="972879"/>
                <a:ext cx="8315972" cy="439675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4" name="Picture 8" descr="сеть АЗС &amp;quot;Башнефть&amp;quot; .">
                <a:extLst>
                  <a:ext uri="{FF2B5EF4-FFF2-40B4-BE49-F238E27FC236}">
                    <a16:creationId xmlns="" xmlns:a16="http://schemas.microsoft.com/office/drawing/2014/main" id="{266C2AAC-F2D2-4BB9-8512-967009B724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91116" y="2132856"/>
                <a:ext cx="735606" cy="5040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Picture 2" descr="Компания «Самаранефтегаз», которая входит в группу компаний «Роснефть», выи...">
                <a:extLst>
                  <a:ext uri="{FF2B5EF4-FFF2-40B4-BE49-F238E27FC236}">
                    <a16:creationId xmlns="" xmlns:a16="http://schemas.microsoft.com/office/drawing/2014/main" id="{17C3D12B-716C-4D79-BADB-34365782EE7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53865" y="3402943"/>
                <a:ext cx="557990" cy="3719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" name="Picture 8" descr="сеть АЗС &amp;quot;Башнефть&amp;quot; .">
                <a:extLst>
                  <a:ext uri="{FF2B5EF4-FFF2-40B4-BE49-F238E27FC236}">
                    <a16:creationId xmlns="" xmlns:a16="http://schemas.microsoft.com/office/drawing/2014/main" id="{266C2AAC-F2D2-4BB9-8512-967009B724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37994" y="4406535"/>
                <a:ext cx="636370" cy="43605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Picture 8" descr="сеть АЗС &amp;quot;Башнефть&amp;quot; .">
                <a:extLst>
                  <a:ext uri="{FF2B5EF4-FFF2-40B4-BE49-F238E27FC236}">
                    <a16:creationId xmlns="" xmlns:a16="http://schemas.microsoft.com/office/drawing/2014/main" id="{266C2AAC-F2D2-4BB9-8512-967009B724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64088" y="3626911"/>
                <a:ext cx="432048" cy="2960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2" name="Picture 2" descr="Компания «Самаранефтегаз», которая входит в группу компаний «Роснефть», выи...">
              <a:extLst>
                <a:ext uri="{FF2B5EF4-FFF2-40B4-BE49-F238E27FC236}">
                  <a16:creationId xmlns="" xmlns:a16="http://schemas.microsoft.com/office/drawing/2014/main" id="{17C3D12B-716C-4D79-BADB-34365782EE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9322" y="2492896"/>
              <a:ext cx="489382" cy="3337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Компания «Самаранефтегаз», которая входит в группу компаний «Роснефть», выи...">
              <a:extLst>
                <a:ext uri="{FF2B5EF4-FFF2-40B4-BE49-F238E27FC236}">
                  <a16:creationId xmlns="" xmlns:a16="http://schemas.microsoft.com/office/drawing/2014/main" id="{17C3D12B-716C-4D79-BADB-34365782EE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2017" y="3714185"/>
              <a:ext cx="489382" cy="3337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Номер слайда 5"/>
          <p:cNvSpPr txBox="1">
            <a:spLocks/>
          </p:cNvSpPr>
          <p:nvPr/>
        </p:nvSpPr>
        <p:spPr bwMode="auto">
          <a:xfrm>
            <a:off x="7929586" y="6286520"/>
            <a:ext cx="1000132" cy="398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</a:rPr>
              <a:t>Слайд 6</a:t>
            </a:r>
            <a:endParaRPr lang="en-GB" altLang="ru-RU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72672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1"/>
          <p:cNvSpPr txBox="1">
            <a:spLocks noChangeArrowheads="1"/>
          </p:cNvSpPr>
          <p:nvPr/>
        </p:nvSpPr>
        <p:spPr bwMode="auto">
          <a:xfrm>
            <a:off x="285720" y="116632"/>
            <a:ext cx="738349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>
              <a:defRPr/>
            </a:pPr>
            <a:r>
              <a:rPr lang="ru-RU" sz="2000" kern="0" dirty="0" smtClean="0">
                <a:solidFill>
                  <a:srgbClr val="000000"/>
                </a:solidFill>
                <a:latin typeface="Arial"/>
              </a:rPr>
              <a:t>Основные </a:t>
            </a:r>
            <a:r>
              <a:rPr lang="ru-RU" sz="2000" kern="0" dirty="0">
                <a:solidFill>
                  <a:srgbClr val="000000"/>
                </a:solidFill>
                <a:latin typeface="Arial"/>
              </a:rPr>
              <a:t>данные о регионе </a:t>
            </a:r>
            <a:r>
              <a:rPr lang="ru-RU" sz="2000" kern="0" dirty="0" smtClean="0">
                <a:solidFill>
                  <a:srgbClr val="000000"/>
                </a:solidFill>
                <a:latin typeface="Arial"/>
              </a:rPr>
              <a:t>развития</a:t>
            </a:r>
          </a:p>
          <a:p>
            <a:pPr>
              <a:defRPr/>
            </a:pPr>
            <a:r>
              <a:rPr lang="ru-RU" sz="2000" kern="0" dirty="0" smtClean="0">
                <a:solidFill>
                  <a:srgbClr val="000000"/>
                </a:solidFill>
                <a:latin typeface="Arial"/>
              </a:rPr>
              <a:t>(Тюменская </a:t>
            </a:r>
            <a:r>
              <a:rPr lang="ru-RU" sz="2000" kern="0" dirty="0">
                <a:solidFill>
                  <a:srgbClr val="000000"/>
                </a:solidFill>
                <a:latin typeface="Arial"/>
              </a:rPr>
              <a:t>область)</a:t>
            </a:r>
          </a:p>
        </p:txBody>
      </p:sp>
      <p:sp>
        <p:nvSpPr>
          <p:cNvPr id="8" name="Rectangle 51"/>
          <p:cNvSpPr txBox="1">
            <a:spLocks noChangeArrowheads="1"/>
          </p:cNvSpPr>
          <p:nvPr/>
        </p:nvSpPr>
        <p:spPr bwMode="auto">
          <a:xfrm>
            <a:off x="250829" y="981075"/>
            <a:ext cx="756126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>
              <a:defRPr/>
            </a:pPr>
            <a:r>
              <a:rPr lang="ru-RU" sz="1200" kern="0" dirty="0" smtClean="0">
                <a:solidFill>
                  <a:srgbClr val="000000"/>
                </a:solidFill>
                <a:latin typeface="Arial"/>
              </a:rPr>
              <a:t>1) Социально-экономические </a:t>
            </a:r>
            <a:r>
              <a:rPr lang="ru-RU" sz="1200" kern="0" dirty="0">
                <a:solidFill>
                  <a:srgbClr val="000000"/>
                </a:solidFill>
                <a:latin typeface="Arial"/>
              </a:rPr>
              <a:t>и демографические показатели*</a:t>
            </a:r>
          </a:p>
        </p:txBody>
      </p:sp>
      <p:sp>
        <p:nvSpPr>
          <p:cNvPr id="9" name="Rectangle 51"/>
          <p:cNvSpPr txBox="1">
            <a:spLocks noChangeArrowheads="1"/>
          </p:cNvSpPr>
          <p:nvPr/>
        </p:nvSpPr>
        <p:spPr bwMode="auto">
          <a:xfrm>
            <a:off x="256729" y="3166230"/>
            <a:ext cx="7561263" cy="309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>
              <a:defRPr/>
            </a:pPr>
            <a:r>
              <a:rPr lang="ru-RU" sz="1200" kern="0" dirty="0" smtClean="0">
                <a:solidFill>
                  <a:srgbClr val="000000"/>
                </a:solidFill>
                <a:latin typeface="Arial"/>
              </a:rPr>
              <a:t>2) </a:t>
            </a:r>
            <a:r>
              <a:rPr lang="ru-RU" sz="1200" kern="0" dirty="0">
                <a:solidFill>
                  <a:srgbClr val="000000"/>
                </a:solidFill>
                <a:latin typeface="Arial"/>
              </a:rPr>
              <a:t>Структура транспортного парка Тюменской области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23018450"/>
              </p:ext>
            </p:extLst>
          </p:nvPr>
        </p:nvGraphicFramePr>
        <p:xfrm>
          <a:off x="264894" y="3429000"/>
          <a:ext cx="5702508" cy="1887203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9504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5041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5041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5041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5041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5041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88031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/>
                        <a:t>Структура автомобильного парка региона, тыс. ед.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2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94962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/>
                        <a:t>Г</a:t>
                      </a:r>
                      <a:r>
                        <a:rPr lang="ru-RU" sz="900" u="none" strike="noStrike" dirty="0" smtClean="0"/>
                        <a:t>од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/>
                        <a:t>В</a:t>
                      </a:r>
                      <a:r>
                        <a:rPr lang="ru-RU" sz="900" u="none" strike="noStrike" dirty="0" smtClean="0"/>
                        <a:t>сего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/>
                        <a:t>Л</a:t>
                      </a:r>
                      <a:r>
                        <a:rPr lang="ru-RU" sz="900" u="none" strike="noStrike" dirty="0" smtClean="0"/>
                        <a:t>егковые </a:t>
                      </a:r>
                    </a:p>
                    <a:p>
                      <a:pPr algn="ctr" fontAlgn="b"/>
                      <a:r>
                        <a:rPr lang="ru-RU" sz="900" u="none" strike="noStrike" dirty="0" smtClean="0"/>
                        <a:t>АТС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/>
                        <a:t>Г</a:t>
                      </a:r>
                      <a:r>
                        <a:rPr lang="ru-RU" sz="900" u="none" strike="noStrike" dirty="0" smtClean="0"/>
                        <a:t>рузовые </a:t>
                      </a:r>
                    </a:p>
                    <a:p>
                      <a:pPr algn="ctr" fontAlgn="b"/>
                      <a:r>
                        <a:rPr lang="ru-RU" sz="900" u="none" strike="noStrike" dirty="0" smtClean="0"/>
                        <a:t>АТС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kern="1200" dirty="0"/>
                        <a:t>А</a:t>
                      </a:r>
                      <a:r>
                        <a:rPr lang="ru-RU" sz="900" u="none" strike="noStrike" kern="1200" dirty="0" smtClean="0"/>
                        <a:t>втобусы </a:t>
                      </a:r>
                      <a:r>
                        <a:rPr lang="ru-RU" sz="900" u="none" strike="noStrike" kern="1200" dirty="0" err="1" smtClean="0"/>
                        <a:t>эксплуатацион-ные</a:t>
                      </a:r>
                      <a:r>
                        <a:rPr lang="ru-RU" sz="900" u="none" strike="noStrike" kern="1200" dirty="0"/>
                        <a:t>, общего пользования</a:t>
                      </a:r>
                      <a:endParaRPr lang="ru-RU" sz="9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/>
                        <a:t>А</a:t>
                      </a:r>
                      <a:r>
                        <a:rPr lang="ru-RU" sz="900" u="none" strike="noStrike" dirty="0" smtClean="0"/>
                        <a:t>втобусы </a:t>
                      </a:r>
                      <a:r>
                        <a:rPr lang="ru-RU" sz="900" u="none" strike="noStrike" dirty="0"/>
                        <a:t>пассажирски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2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08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/>
                        <a:t>201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/>
                        <a:t>469,8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456,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9,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2,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1,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008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/>
                        <a:t>2017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/>
                        <a:t>483,5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71,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7,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2,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1,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008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/>
                        <a:t>2018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/>
                        <a:t>488,6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76,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7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2,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1,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008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/>
                        <a:t>201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/>
                        <a:t>499,1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487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7,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2,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>
                          <a:effectLst/>
                        </a:rPr>
                        <a:t>1,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008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/>
                        <a:t>2020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2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u="none" strike="noStrike" kern="1200" dirty="0"/>
                        <a:t>515,1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503,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7,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2,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>
                          <a:effectLst/>
                        </a:rPr>
                        <a:t>1,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2" name="Скругленный прямоугольник 11"/>
          <p:cNvSpPr/>
          <p:nvPr/>
        </p:nvSpPr>
        <p:spPr bwMode="auto">
          <a:xfrm>
            <a:off x="6084167" y="1052517"/>
            <a:ext cx="2809007" cy="1944436"/>
          </a:xfrm>
          <a:prstGeom prst="roundRect">
            <a:avLst/>
          </a:prstGeom>
          <a:noFill/>
          <a:ln w="9525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7718" tIns="48860" rIns="97718" bIns="48860" anchor="ctr"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2340" name="TextBox 13"/>
          <p:cNvSpPr txBox="1">
            <a:spLocks noChangeArrowheads="1"/>
          </p:cNvSpPr>
          <p:nvPr/>
        </p:nvSpPr>
        <p:spPr bwMode="auto">
          <a:xfrm>
            <a:off x="6300192" y="1196975"/>
            <a:ext cx="2571672" cy="1785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sz="1000" dirty="0">
                <a:solidFill>
                  <a:srgbClr val="000000"/>
                </a:solidFill>
              </a:rPr>
              <a:t>Комментарии.</a:t>
            </a:r>
          </a:p>
          <a:p>
            <a:endParaRPr lang="ru-RU" altLang="ru-RU" sz="1000" dirty="0">
              <a:solidFill>
                <a:srgbClr val="000000"/>
              </a:solidFill>
            </a:endParaRPr>
          </a:p>
          <a:p>
            <a:r>
              <a:rPr lang="ru-RU" altLang="ru-RU" sz="1000" i="1" dirty="0" smtClean="0">
                <a:solidFill>
                  <a:srgbClr val="000000"/>
                </a:solidFill>
              </a:rPr>
              <a:t>Валовой </a:t>
            </a:r>
            <a:r>
              <a:rPr lang="ru-RU" altLang="ru-RU" sz="1000" i="1" dirty="0">
                <a:solidFill>
                  <a:srgbClr val="000000"/>
                </a:solidFill>
              </a:rPr>
              <a:t>региональный продукт Тюменской области** за 2016-2019 года вырос на 29,8</a:t>
            </a:r>
            <a:r>
              <a:rPr lang="ru-RU" altLang="ru-RU" sz="1000" i="1" dirty="0" smtClean="0">
                <a:solidFill>
                  <a:srgbClr val="000000"/>
                </a:solidFill>
              </a:rPr>
              <a:t>%</a:t>
            </a:r>
            <a:endParaRPr lang="ru-RU" altLang="ru-RU" sz="1000" i="1" dirty="0">
              <a:solidFill>
                <a:srgbClr val="000000"/>
              </a:solidFill>
            </a:endParaRPr>
          </a:p>
          <a:p>
            <a:endParaRPr lang="ru-RU" altLang="ru-RU" sz="1000" i="1" dirty="0">
              <a:solidFill>
                <a:srgbClr val="000000"/>
              </a:solidFill>
            </a:endParaRPr>
          </a:p>
          <a:p>
            <a:r>
              <a:rPr lang="ru-RU" altLang="ru-RU" sz="1000" i="1" dirty="0">
                <a:solidFill>
                  <a:srgbClr val="000000"/>
                </a:solidFill>
              </a:rPr>
              <a:t>Среднедушевой доход населения за 2016-2019 года вырос на 13</a:t>
            </a:r>
            <a:r>
              <a:rPr lang="ru-RU" altLang="ru-RU" sz="1000" i="1" dirty="0" smtClean="0">
                <a:solidFill>
                  <a:srgbClr val="000000"/>
                </a:solidFill>
              </a:rPr>
              <a:t>%</a:t>
            </a:r>
            <a:endParaRPr lang="ru-RU" altLang="ru-RU" sz="1000" i="1" dirty="0">
              <a:solidFill>
                <a:srgbClr val="000000"/>
              </a:solidFill>
            </a:endParaRPr>
          </a:p>
          <a:p>
            <a:endParaRPr lang="ru-RU" altLang="ru-RU" sz="1000" i="1" dirty="0">
              <a:solidFill>
                <a:srgbClr val="000000"/>
              </a:solidFill>
            </a:endParaRPr>
          </a:p>
          <a:p>
            <a:r>
              <a:rPr lang="ru-RU" sz="1000" i="1" dirty="0">
                <a:solidFill>
                  <a:srgbClr val="000000"/>
                </a:solidFill>
              </a:rPr>
              <a:t>Численность постоянного населения выросла за 4 года на 4</a:t>
            </a:r>
            <a:r>
              <a:rPr lang="ru-RU" sz="1000" i="1" dirty="0" smtClean="0">
                <a:solidFill>
                  <a:srgbClr val="000000"/>
                </a:solidFill>
              </a:rPr>
              <a:t>%</a:t>
            </a:r>
            <a:endParaRPr lang="ru-RU" altLang="ru-RU" sz="1000" i="1" dirty="0">
              <a:solidFill>
                <a:srgbClr val="000000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6062852" y="3429000"/>
            <a:ext cx="2809012" cy="1922730"/>
          </a:xfrm>
          <a:prstGeom prst="roundRect">
            <a:avLst/>
          </a:prstGeom>
          <a:noFill/>
          <a:ln w="9525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7718" tIns="48860" rIns="97718" bIns="48860" anchor="ctr"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12342" name="TextBox 16"/>
          <p:cNvSpPr txBox="1">
            <a:spLocks noChangeArrowheads="1"/>
          </p:cNvSpPr>
          <p:nvPr/>
        </p:nvSpPr>
        <p:spPr bwMode="auto">
          <a:xfrm>
            <a:off x="6243840" y="3574757"/>
            <a:ext cx="2611239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Blip>
                <a:blip r:embed="rId2"/>
              </a:buBlip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00" dirty="0">
                <a:solidFill>
                  <a:srgbClr val="000000"/>
                </a:solidFill>
              </a:rPr>
              <a:t>Комментарии.</a:t>
            </a: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endParaRPr lang="ru-RU" altLang="ru-RU" sz="1000" dirty="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00" i="1" dirty="0">
                <a:solidFill>
                  <a:srgbClr val="000000"/>
                </a:solidFill>
              </a:rPr>
              <a:t>Численность автомобильного парка Тюменской области выросла за период с 2016 по 2020 год на 10</a:t>
            </a:r>
            <a:r>
              <a:rPr lang="ru-RU" altLang="ru-RU" sz="1000" i="1" dirty="0" smtClean="0">
                <a:solidFill>
                  <a:srgbClr val="000000"/>
                </a:solidFill>
              </a:rPr>
              <a:t>% </a:t>
            </a:r>
            <a:endParaRPr lang="ru-RU" altLang="ru-RU" sz="1000" i="1" dirty="0">
              <a:solidFill>
                <a:srgbClr val="000000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000" i="1" dirty="0">
                <a:solidFill>
                  <a:srgbClr val="000000"/>
                </a:solidFill>
              </a:rPr>
              <a:t>Среднегодовой рост автотранспортного парка в регионе** составил 2,3%, в </a:t>
            </a:r>
            <a:r>
              <a:rPr lang="ru-RU" altLang="ru-RU" sz="1000" i="1" dirty="0" err="1">
                <a:solidFill>
                  <a:srgbClr val="000000"/>
                </a:solidFill>
              </a:rPr>
              <a:t>т.ч</a:t>
            </a:r>
            <a:r>
              <a:rPr lang="ru-RU" altLang="ru-RU" sz="1000" i="1" dirty="0">
                <a:solidFill>
                  <a:srgbClr val="000000"/>
                </a:solidFill>
              </a:rPr>
              <a:t>.:</a:t>
            </a:r>
          </a:p>
          <a:p>
            <a:pPr marL="171450" indent="-171450" eaLnBrk="1" hangingPunct="1">
              <a:spcBef>
                <a:spcPct val="0"/>
              </a:spcBef>
              <a:buFontTx/>
              <a:buChar char="-"/>
              <a:defRPr/>
            </a:pPr>
            <a:r>
              <a:rPr lang="ru-RU" altLang="ru-RU" sz="1000" i="1" dirty="0">
                <a:solidFill>
                  <a:srgbClr val="000000"/>
                </a:solidFill>
              </a:rPr>
              <a:t>Легковых АТС – 3</a:t>
            </a:r>
            <a:r>
              <a:rPr lang="ru-RU" altLang="ru-RU" sz="1000" i="1" dirty="0" smtClean="0">
                <a:solidFill>
                  <a:srgbClr val="000000"/>
                </a:solidFill>
              </a:rPr>
              <a:t>%</a:t>
            </a:r>
            <a:endParaRPr lang="ru-RU" altLang="ru-RU" sz="1000" i="1" dirty="0">
              <a:solidFill>
                <a:srgbClr val="000000"/>
              </a:solidFill>
            </a:endParaRPr>
          </a:p>
          <a:p>
            <a:pPr marL="171450" indent="-171450" eaLnBrk="1" hangingPunct="1">
              <a:spcBef>
                <a:spcPct val="0"/>
              </a:spcBef>
              <a:buFontTx/>
              <a:buChar char="-"/>
              <a:defRPr/>
            </a:pPr>
            <a:r>
              <a:rPr lang="ru-RU" altLang="ru-RU" sz="1000" i="1" dirty="0">
                <a:solidFill>
                  <a:srgbClr val="000000"/>
                </a:solidFill>
              </a:rPr>
              <a:t>Автобусов пассажирских – 3</a:t>
            </a:r>
            <a:r>
              <a:rPr lang="ru-RU" altLang="ru-RU" sz="1000" i="1" dirty="0" smtClean="0">
                <a:solidFill>
                  <a:srgbClr val="000000"/>
                </a:solidFill>
              </a:rPr>
              <a:t>%</a:t>
            </a:r>
            <a:endParaRPr lang="ru-RU" altLang="ru-RU" sz="1000" i="1" dirty="0">
              <a:solidFill>
                <a:srgbClr val="000000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55417829"/>
              </p:ext>
            </p:extLst>
          </p:nvPr>
        </p:nvGraphicFramePr>
        <p:xfrm>
          <a:off x="251903" y="1341440"/>
          <a:ext cx="5633753" cy="1439488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0239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2196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2196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52196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2196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52196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26102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/>
                        <a:t>Показатель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/>
                        <a:t>2016 г.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/>
                        <a:t>2017г.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/>
                        <a:t>2018 г.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/>
                        <a:t>2019 г.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/>
                        <a:t>2020 г.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4370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/>
                        <a:t>Валовый региональный продукт (ВРП), </a:t>
                      </a:r>
                      <a:r>
                        <a:rPr lang="ru-RU" sz="900" u="none" strike="noStrike" dirty="0" err="1" smtClean="0"/>
                        <a:t>млрд</a:t>
                      </a:r>
                      <a:r>
                        <a:rPr lang="ru-RU" sz="900" u="none" strike="noStrike" dirty="0" smtClean="0"/>
                        <a:t> р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/>
                        <a:t> </a:t>
                      </a:r>
                      <a:r>
                        <a:rPr lang="ru-RU" sz="900" u="none" strike="noStrike" dirty="0" smtClean="0"/>
                        <a:t>96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/>
                        <a:t>108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/>
                        <a:t>131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/>
                        <a:t>125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/>
                        <a:t>-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2741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kern="1200" dirty="0"/>
                        <a:t>Численность постоянного населения в среднем за год (</a:t>
                      </a:r>
                      <a:r>
                        <a:rPr lang="ru-RU" sz="900" u="none" strike="noStrike" kern="1200" dirty="0" err="1" smtClean="0"/>
                        <a:t>млн</a:t>
                      </a:r>
                      <a:r>
                        <a:rPr lang="ru-RU" sz="900" u="none" strike="noStrike" kern="1200" baseline="0" dirty="0" smtClean="0"/>
                        <a:t> </a:t>
                      </a:r>
                      <a:r>
                        <a:rPr lang="ru-RU" sz="900" u="none" strike="noStrike" kern="1200" dirty="0" smtClean="0"/>
                        <a:t>чел</a:t>
                      </a:r>
                      <a:r>
                        <a:rPr lang="ru-RU" sz="900" u="none" strike="noStrike" kern="1200" dirty="0"/>
                        <a:t>.)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/>
                        <a:t>1,4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/>
                        <a:t>1,4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/>
                        <a:t>1,5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 smtClean="0"/>
                        <a:t>1,53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900" u="none" strike="noStrike" kern="1200" dirty="0" smtClean="0"/>
                        <a:t>1,54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7952" marR="7952" marT="7951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2065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/>
                        <a:t>Индекс производительности</a:t>
                      </a:r>
                      <a:r>
                        <a:rPr lang="ru-RU" sz="900" u="none" strike="noStrike" baseline="0" dirty="0"/>
                        <a:t> труда</a:t>
                      </a:r>
                      <a:r>
                        <a:rPr lang="ru-RU" sz="900" u="none" strike="noStrike" dirty="0"/>
                        <a:t>, в % к предыдущему году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kern="1200" dirty="0"/>
                        <a:t>101,1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kern="1200" dirty="0"/>
                        <a:t>108,9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kern="1200" dirty="0"/>
                        <a:t>108,1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kern="1200" dirty="0"/>
                        <a:t>96,8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kern="1200" dirty="0"/>
                        <a:t>-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u="none" strike="noStrike" dirty="0"/>
                        <a:t>Среднедушевой доход населения, </a:t>
                      </a:r>
                      <a:r>
                        <a:rPr lang="ru-RU" sz="900" u="none" strike="noStrike" dirty="0" smtClean="0"/>
                        <a:t>р. </a:t>
                      </a:r>
                      <a:r>
                        <a:rPr lang="ru-RU" sz="900" u="none" strike="noStrike" dirty="0"/>
                        <a:t>в месяц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/>
                        <a:t>2704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/>
                        <a:t>2767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/>
                        <a:t>2916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/>
                        <a:t>3066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u="none" strike="noStrike" dirty="0"/>
                        <a:t>30829*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952" marR="7952" marT="7951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50829" y="2827676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"/>
            <a:r>
              <a:rPr lang="ru-RU" sz="800" dirty="0">
                <a:solidFill>
                  <a:srgbClr val="000000"/>
                </a:solidFill>
                <a:latin typeface="Calibri"/>
              </a:rPr>
              <a:t>* предварительные </a:t>
            </a:r>
            <a:r>
              <a:rPr lang="ru-RU" sz="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е</a:t>
            </a:r>
          </a:p>
          <a:p>
            <a:r>
              <a:rPr lang="ru-RU" altLang="ru-RU" sz="800" i="1" dirty="0">
                <a:solidFill>
                  <a:srgbClr val="000000"/>
                </a:solidFill>
              </a:rPr>
              <a:t>** без учета автономных округов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95535" y="5510861"/>
            <a:ext cx="818844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Емкость розничного рынка автомобильных топлив Тюменской области по итогам </a:t>
            </a:r>
            <a:r>
              <a:rPr lang="ru-RU" sz="1200" dirty="0" smtClean="0"/>
              <a:t>2021 </a:t>
            </a:r>
            <a:r>
              <a:rPr lang="ru-RU" sz="1200" dirty="0"/>
              <a:t>г. составляет </a:t>
            </a:r>
            <a:r>
              <a:rPr lang="ru-RU" sz="1200" b="1" dirty="0" smtClean="0">
                <a:solidFill>
                  <a:srgbClr val="C00000"/>
                </a:solidFill>
              </a:rPr>
              <a:t>754 тыс.т</a:t>
            </a:r>
          </a:p>
          <a:p>
            <a:pPr algn="ctr"/>
            <a:endParaRPr lang="ru-RU" sz="600" b="1" dirty="0" smtClean="0">
              <a:solidFill>
                <a:srgbClr val="C00000"/>
              </a:solidFill>
            </a:endParaRPr>
          </a:p>
          <a:p>
            <a:r>
              <a:rPr lang="ru-RU" sz="1200" i="1" dirty="0" smtClean="0"/>
              <a:t>Основными факторами влияющими на этот показатель являются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 smtClean="0"/>
              <a:t>положительная демографическая динамика региона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 smtClean="0"/>
              <a:t>рост реальных доходов населен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 smtClean="0"/>
              <a:t>увеличение численности автомобильного парка</a:t>
            </a:r>
            <a:endParaRPr lang="ru-RU" sz="1200" dirty="0"/>
          </a:p>
        </p:txBody>
      </p:sp>
      <p:sp>
        <p:nvSpPr>
          <p:cNvPr id="15" name="Номер слайда 5"/>
          <p:cNvSpPr txBox="1">
            <a:spLocks/>
          </p:cNvSpPr>
          <p:nvPr/>
        </p:nvSpPr>
        <p:spPr bwMode="auto">
          <a:xfrm>
            <a:off x="7858148" y="6286520"/>
            <a:ext cx="1060143" cy="358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</a:rPr>
              <a:t>Слайд 7</a:t>
            </a:r>
            <a:endParaRPr lang="en-GB" altLang="ru-RU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77051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Заголовок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7886730" cy="360338"/>
          </a:xfrm>
        </p:spPr>
        <p:txBody>
          <a:bodyPr/>
          <a:lstStyle/>
          <a:p>
            <a:r>
              <a:rPr lang="ru-RU" altLang="ru-RU" sz="2000" dirty="0" smtClean="0"/>
              <a:t>Карта </a:t>
            </a:r>
            <a:r>
              <a:rPr lang="ru-RU" altLang="ru-RU" sz="2000" dirty="0"/>
              <a:t>стратегических групп конкурентов</a:t>
            </a:r>
          </a:p>
        </p:txBody>
      </p:sp>
      <p:sp>
        <p:nvSpPr>
          <p:cNvPr id="13401" name="TextBox 8"/>
          <p:cNvSpPr txBox="1">
            <a:spLocks noChangeArrowheads="1"/>
          </p:cNvSpPr>
          <p:nvPr/>
        </p:nvSpPr>
        <p:spPr bwMode="auto">
          <a:xfrm>
            <a:off x="395536" y="5390327"/>
            <a:ext cx="8371337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ru-RU" altLang="ru-RU" dirty="0" smtClean="0"/>
              <a:t>Комментарий</a:t>
            </a:r>
            <a:endParaRPr lang="ru-RU" altLang="ru-RU" dirty="0"/>
          </a:p>
          <a:p>
            <a:pPr>
              <a:lnSpc>
                <a:spcPct val="150000"/>
              </a:lnSpc>
            </a:pPr>
            <a:r>
              <a:rPr lang="ru-RU" altLang="ru-RU" dirty="0"/>
              <a:t>В группу с ближайшими (одинаковыми) характеристиками, попадающими в одну стратегическую область, включены сети АЗС: Лукойл, НГСС ФР Лукойл, Новый </a:t>
            </a:r>
            <a:r>
              <a:rPr lang="ru-RU" altLang="ru-RU" dirty="0" smtClean="0"/>
              <a:t>поток</a:t>
            </a:r>
            <a:endParaRPr lang="ru-RU" altLang="ru-RU" dirty="0"/>
          </a:p>
        </p:txBody>
      </p:sp>
      <p:pic>
        <p:nvPicPr>
          <p:cNvPr id="6178" name="Picture 3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9058" y="1339295"/>
            <a:ext cx="4926020" cy="3397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39905491"/>
              </p:ext>
            </p:extLst>
          </p:nvPr>
        </p:nvGraphicFramePr>
        <p:xfrm>
          <a:off x="250669" y="3573016"/>
          <a:ext cx="3384377" cy="1507107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355632"/>
                <a:gridCol w="936104"/>
                <a:gridCol w="1092641"/>
              </a:tblGrid>
              <a:tr h="23050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Наименование сети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Количество АЗС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Доля рынка реализации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3304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Газпромнефть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78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33%</a:t>
                      </a:r>
                      <a:endParaRPr lang="ru-RU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3304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Лукойл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21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12%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3304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НГСС ФР Лукойл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18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9%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3304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АЗС-Н1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0</a:t>
                      </a:r>
                      <a:endParaRPr lang="ru-RU" sz="11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5%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3964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Новый поток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26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10%</a:t>
                      </a:r>
                      <a:endParaRPr lang="ru-RU" sz="11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8" y="1223151"/>
            <a:ext cx="3632648" cy="2186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TextBox 8"/>
          <p:cNvSpPr txBox="1">
            <a:spLocks noChangeArrowheads="1"/>
          </p:cNvSpPr>
          <p:nvPr/>
        </p:nvSpPr>
        <p:spPr bwMode="auto">
          <a:xfrm>
            <a:off x="971600" y="1003041"/>
            <a:ext cx="19239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ru-RU" altLang="ru-RU" dirty="0"/>
              <a:t>Доля </a:t>
            </a:r>
            <a:r>
              <a:rPr lang="ru-RU" altLang="ru-RU" dirty="0" smtClean="0"/>
              <a:t>рынка продаж НП</a:t>
            </a:r>
            <a:endParaRPr lang="ru-RU" altLang="ru-RU" dirty="0"/>
          </a:p>
        </p:txBody>
      </p:sp>
      <p:sp>
        <p:nvSpPr>
          <p:cNvPr id="33" name="Номер слайда 5"/>
          <p:cNvSpPr txBox="1">
            <a:spLocks/>
          </p:cNvSpPr>
          <p:nvPr/>
        </p:nvSpPr>
        <p:spPr bwMode="auto">
          <a:xfrm>
            <a:off x="7929586" y="6357958"/>
            <a:ext cx="982403" cy="287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/>
            <a:r>
              <a:rPr lang="ru-RU" altLang="ru-RU" sz="1600" dirty="0" smtClean="0">
                <a:solidFill>
                  <a:schemeClr val="tx2"/>
                </a:solidFill>
              </a:rPr>
              <a:t>Слайд 8</a:t>
            </a:r>
            <a:endParaRPr lang="en-GB" altLang="ru-RU" sz="1600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ZMovomp0yKQqzifuiFK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4WVc3T1UCjASq1EM7x9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51V8_82E2QN2mlwlkN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4gcFKLN0Sw_za9FmeB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0LNNyvGEePBJOdWG_y7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BBRkaaHUqfULnSSoXW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Zhbd9fBUGFktT2j6Lo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wqpSsMQE.UaprpRLU6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whXHi4x0WB3cjm_L0f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CKxAFFZ0yM6hWFu6jxp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MlOyOaHkukOaEXxcb4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LramvcMEiATWd9zKJ5h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nkG5bWfUG.5oYr7Nbq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l8vxa5aEGAFcYIWH.n8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LuM4_BH0uXaWUmr7Wy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lMzEf_w02taeS1VYt_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x8FRLCW021PLNfOzkx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UYZxBhPUm86r1QVCw5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CCcBpeAkyKbPCaB0q.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2X3ikjQ0qPh6XRcK6Vm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sZqMkGr0mdaBJNrx.N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.1s7xyC06vbEwDbHei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OL36S2AEGNjC7rRFe3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ryXm6WE0.Y31dTEb6w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s6B6Q7AkO_EmeqKkdP2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ZV3vL0EEGUOzLdImGd2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R5uuV7vkSbj9ljKb2hs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LU5rZKFk6WNvumtC5.9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Q7UuS82EG0oUeWelkp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RY1FYel0qs.n8yGx0Nr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0ejkyqj0.JekA7LJvQr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Z8QBAAsUa67d7SEd9AJ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aUpOGEikyGVskdDSBg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iHP.b.eESlIx6Q.OIXP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nmli6sRE._N2zo3UsR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4nNJ6eckCKk2K15iStw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wC6j80xkKg5B6rCIieB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MfnsrerUOWBb80cxWyC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yERlMOMEyflJ1lfhTJl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zfO2MTck24izW.gTYF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cNTLzXrEmCSS3HqPaW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v4xag5Y0W8bycJnigO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Uzpr2gtkG.TUbzZv1Zk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i1kBdlzU6.IFO4IeJp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zcYtC7LkKTM0CjZm0fB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BHuU5p20COHVR9KW7l8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osw4NkQkKQgUNuWHlJu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WtzetdIEGOstaJLI8uZ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yKuoHb9EqAwOZXCxfeo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1khvI_kiLAxUAhlh11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uGwFrO_0ykSasH6az2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d0S1bNgEKfxIyK8EnoP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uGXFKpZUmbhqhSknDAQ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AYdhRIXUG8E_yq5V3U9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wy0r9GqUChz3ZUW8bR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i0NTYOUUG1uupyH9Cc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Yoqrco1k.YsTt9jdFT2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KykZzfqE6Lj3LDWZNt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ZFuwxE5kyCafVXSv4EC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_MfGGkLEGsKu5zfmXqj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rqsjpmY0Cm5e.4BkTBJ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g76ZIEaUSZ.fPux6_SA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Cuu7_S0OSwu_ubmED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P8xeGx2k.Na8vrVNJB4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x2wqwHnkOrDhsXyB6lV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s8VYHx8kynlFfPOJrw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HjETEjEUiqqmbiwyLfe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_FvkmfEUSHJANNXQ1gA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Aa75IGb0qL4uelg1E62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8OCr1Fy0SEqHFtuuYU0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k_WlKusEm3cI6QNTFSl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G186HZKk6TIdWl8mD1t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H8rLUsukCTxarpF2Wd4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zkVWXyh0Cgjf6vY5A0X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vS5Qz0zkSKPW8O.P_z.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vOWUg15k6ujv8U0bgX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ofBKYlwkSphGIFFRxf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vJ9DjiVEyseXS1Xjczz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71.JAizkSRukNZg7mTc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.RwZkK.UqUAKiylB9uZ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GkCrmP.EixOxn1DqIBw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kXmM1kYUir9mJuKYowS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kzmMEEa0e__Y2gC4ow6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ryp.NtL0CodzrcJ6G4Q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YYnmyWG0i3SMSoehteA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Q1h4ElkypiTP3zLZoc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rSAJ.wGku1N4SMO7zuI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WNmsLkKEOC44SAj9yt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i0NTYOUUG1uupyH9CcG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N0VzBTNkCtuPDZYGch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lPBn4iIkeBbUTr2ml6W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jZ.RjwtE2GEy6juseBc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aCMdr5HUSe69xw4ZWQl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PlVu8nVk.vNvPNHk912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C1AAYqf0e4V3U_mzQLj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7FnzKGB0CpHyiKo3cpH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hOKU4SR0ey05f2gV7x_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UBgVZdQkmKrDkZ6oUwu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2JMdivGkCtHJeHCyBFng"/>
</p:tagLst>
</file>

<file path=ppt/theme/theme1.xml><?xml version="1.0" encoding="utf-8"?>
<a:theme xmlns:a="http://schemas.openxmlformats.org/drawingml/2006/main" name="титульный слайд 2">
  <a:themeElements>
    <a:clrScheme name="титульный слайд 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титульный слайд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титульный слайд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Последний слайд">
  <a:themeElements>
    <a:clrScheme name="Последний слайд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Последний слайд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Последний слайд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оследний слайд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оследний слайд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оследний слайд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оследний слайд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оследний слайд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оследний слайд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оследний слайд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оследний слайд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оследний слайд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оследний слайд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оследний слайд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внутренни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титульный слайд 2">
  <a:themeElements>
    <a:clrScheme name="титульный слайд 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титульный слайд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титульный слайд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ьный слайд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ьный слайд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22.03.12</Template>
  <TotalTime>21901</TotalTime>
  <Words>1459</Words>
  <Application>Microsoft Office PowerPoint</Application>
  <PresentationFormat>Экран (4:3)</PresentationFormat>
  <Paragraphs>528</Paragraphs>
  <Slides>15</Slides>
  <Notes>10</Notes>
  <HiddenSlides>0</HiddenSlides>
  <MMClips>0</MMClips>
  <ScaleCrop>false</ScaleCrop>
  <HeadingPairs>
    <vt:vector size="4" baseType="variant">
      <vt:variant>
        <vt:lpstr>Тема</vt:lpstr>
      </vt:variant>
      <vt:variant>
        <vt:i4>6</vt:i4>
      </vt:variant>
      <vt:variant>
        <vt:lpstr>Заголовки слайдов</vt:lpstr>
      </vt:variant>
      <vt:variant>
        <vt:i4>15</vt:i4>
      </vt:variant>
    </vt:vector>
  </HeadingPairs>
  <TitlesOfParts>
    <vt:vector size="21" baseType="lpstr">
      <vt:lpstr>титульный слайд 2</vt:lpstr>
      <vt:lpstr>1_Внутренний слайд с текстом</vt:lpstr>
      <vt:lpstr>Последний слайд</vt:lpstr>
      <vt:lpstr>внутренний слайд</vt:lpstr>
      <vt:lpstr>2_Внутренний слайд с текстом</vt:lpstr>
      <vt:lpstr>1_титульный слайд 2</vt:lpstr>
      <vt:lpstr>Слайд 1</vt:lpstr>
      <vt:lpstr>Цель и задачи исследования </vt:lpstr>
      <vt:lpstr>Слайд 3</vt:lpstr>
      <vt:lpstr>ПАО «НК «Роснефть»-Курганнефтепродукт» (РН-КурганНП)</vt:lpstr>
      <vt:lpstr>Анализ розничного рынка автомобильных топлив          Курганской области</vt:lpstr>
      <vt:lpstr>Основные показатели деятельности РН-КурганНП в 2018 – 2020гг., тыс. р.</vt:lpstr>
      <vt:lpstr>Приоритетные регионы развития сети Компании</vt:lpstr>
      <vt:lpstr>Слайд 8</vt:lpstr>
      <vt:lpstr>Карта стратегических групп конкурентов</vt:lpstr>
      <vt:lpstr>Анализ сетей АЗС НГСС и АЗС Новый поток </vt:lpstr>
      <vt:lpstr>Слайд 11</vt:lpstr>
      <vt:lpstr>Продвижение бренда Роснефть</vt:lpstr>
      <vt:lpstr>Слайд 13</vt:lpstr>
      <vt:lpstr>Слайд 14</vt:lpstr>
      <vt:lpstr>Слайд 15</vt:lpstr>
    </vt:vector>
  </TitlesOfParts>
  <Company>ОАО "НК "Роснефть"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етевой план рационализации розничной сети АЗС/АЗК ______ наименование общества в  _________ крае/области на 2013 г. (шрифт Arial 20 pt)</dc:title>
  <dc:creator>assmirnova</dc:creator>
  <cp:lastModifiedBy>1</cp:lastModifiedBy>
  <cp:revision>647</cp:revision>
  <cp:lastPrinted>2022-04-22T11:49:35Z</cp:lastPrinted>
  <dcterms:created xsi:type="dcterms:W3CDTF">2012-04-09T06:54:58Z</dcterms:created>
  <dcterms:modified xsi:type="dcterms:W3CDTF">2022-12-15T14:22:44Z</dcterms:modified>
</cp:coreProperties>
</file>